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2.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3.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4.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7.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8.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9.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10.xml" ContentType="application/vnd.openxmlformats-officedocument.theme+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comments/modernComment_7FFFF8BA_B330A6F8.xml" ContentType="application/vnd.ms-powerpoint.comments+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notesSlides/notesSlide26.xml" ContentType="application/vnd.openxmlformats-officedocument.presentationml.notesSlide+xml"/>
  <Override PartName="/ppt/tags/tag35.xml" ContentType="application/vnd.openxmlformats-officedocument.presentationml.tags+xml"/>
  <Override PartName="/ppt/notesSlides/notesSlide27.xml" ContentType="application/vnd.openxmlformats-officedocument.presentationml.notesSlide+xml"/>
  <Override PartName="/ppt/tags/tag36.xml" ContentType="application/vnd.openxmlformats-officedocument.presentationml.tags+xml"/>
  <Override PartName="/ppt/notesSlides/notesSlide2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9.xml" ContentType="application/vnd.openxmlformats-officedocument.presentationml.notesSlide+xml"/>
  <Override PartName="/ppt/tags/tag39.xml" ContentType="application/vnd.openxmlformats-officedocument.presentationml.tags+xml"/>
  <Override PartName="/ppt/notesSlides/notesSlide30.xml" ContentType="application/vnd.openxmlformats-officedocument.presentationml.notesSlide+xml"/>
  <Override PartName="/ppt/tags/tag40.xml" ContentType="application/vnd.openxmlformats-officedocument.presentationml.tags+xml"/>
  <Override PartName="/ppt/notesSlides/notesSlide31.xml" ContentType="application/vnd.openxmlformats-officedocument.presentationml.notesSlide+xml"/>
  <Override PartName="/ppt/tags/tag41.xml" ContentType="application/vnd.openxmlformats-officedocument.presentationml.tags+xml"/>
  <Override PartName="/ppt/notesSlides/notesSlide32.xml" ContentType="application/vnd.openxmlformats-officedocument.presentationml.notesSlide+xml"/>
  <Override PartName="/ppt/tags/tag42.xml" ContentType="application/vnd.openxmlformats-officedocument.presentationml.tags+xml"/>
  <Override PartName="/ppt/notesSlides/notesSlide3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34.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35.xml" ContentType="application/vnd.openxmlformats-officedocument.presentationml.notesSlide+xml"/>
  <Override PartName="/ppt/tags/tag47.xml" ContentType="application/vnd.openxmlformats-officedocument.presentationml.tags+xml"/>
  <Override PartName="/ppt/notesSlides/notesSlide36.xml" ContentType="application/vnd.openxmlformats-officedocument.presentationml.notesSlide+xml"/>
  <Override PartName="/ppt/tags/tag48.xml" ContentType="application/vnd.openxmlformats-officedocument.presentationml.tags+xml"/>
  <Override PartName="/ppt/notesSlides/notesSlide37.xml" ContentType="application/vnd.openxmlformats-officedocument.presentationml.notesSlide+xml"/>
  <Override PartName="/ppt/tags/tag49.xml" ContentType="application/vnd.openxmlformats-officedocument.presentationml.tags+xml"/>
  <Override PartName="/ppt/notesSlides/notesSlide38.xml" ContentType="application/vnd.openxmlformats-officedocument.presentationml.notesSlide+xml"/>
  <Override PartName="/ppt/tags/tag50.xml" ContentType="application/vnd.openxmlformats-officedocument.presentationml.tags+xml"/>
  <Override PartName="/ppt/notesSlides/notesSlide39.xml" ContentType="application/vnd.openxmlformats-officedocument.presentationml.notesSlide+xml"/>
  <Override PartName="/ppt/tags/tag51.xml" ContentType="application/vnd.openxmlformats-officedocument.presentationml.tags+xml"/>
  <Override PartName="/ppt/notesSlides/notesSlide40.xml" ContentType="application/vnd.openxmlformats-officedocument.presentationml.notesSlide+xml"/>
  <Override PartName="/ppt/tags/tag52.xml" ContentType="application/vnd.openxmlformats-officedocument.presentationml.tags+xml"/>
  <Override PartName="/ppt/notesSlides/notesSlide41.xml" ContentType="application/vnd.openxmlformats-officedocument.presentationml.notesSlide+xml"/>
  <Override PartName="/ppt/tags/tag53.xml" ContentType="application/vnd.openxmlformats-officedocument.presentationml.tags+xml"/>
  <Override PartName="/ppt/notesSlides/notesSlide4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704" r:id="rId5"/>
    <p:sldMasterId id="2147483660" r:id="rId6"/>
    <p:sldMasterId id="2147483786" r:id="rId7"/>
    <p:sldMasterId id="2147483998" r:id="rId8"/>
    <p:sldMasterId id="2147484089" r:id="rId9"/>
    <p:sldMasterId id="2147484143" r:id="rId10"/>
    <p:sldMasterId id="2147484172" r:id="rId11"/>
    <p:sldMasterId id="2147484211" r:id="rId12"/>
    <p:sldMasterId id="2147484244" r:id="rId13"/>
    <p:sldMasterId id="2147484363" r:id="rId14"/>
  </p:sldMasterIdLst>
  <p:notesMasterIdLst>
    <p:notesMasterId r:id="rId57"/>
  </p:notesMasterIdLst>
  <p:handoutMasterIdLst>
    <p:handoutMasterId r:id="rId58"/>
  </p:handoutMasterIdLst>
  <p:sldIdLst>
    <p:sldId id="2076138181" r:id="rId15"/>
    <p:sldId id="2147481749" r:id="rId16"/>
    <p:sldId id="2147481750" r:id="rId17"/>
    <p:sldId id="2147481757" r:id="rId18"/>
    <p:sldId id="2147481766" r:id="rId19"/>
    <p:sldId id="2147481765" r:id="rId20"/>
    <p:sldId id="2147481768" r:id="rId21"/>
    <p:sldId id="257" r:id="rId22"/>
    <p:sldId id="258" r:id="rId23"/>
    <p:sldId id="262" r:id="rId24"/>
    <p:sldId id="2147481769" r:id="rId25"/>
    <p:sldId id="2147481751" r:id="rId26"/>
    <p:sldId id="266" r:id="rId27"/>
    <p:sldId id="273" r:id="rId28"/>
    <p:sldId id="2147481745" r:id="rId29"/>
    <p:sldId id="2147481786" r:id="rId30"/>
    <p:sldId id="2147481787" r:id="rId31"/>
    <p:sldId id="2147481778" r:id="rId32"/>
    <p:sldId id="2147481788" r:id="rId33"/>
    <p:sldId id="2147481789" r:id="rId34"/>
    <p:sldId id="2147481796" r:id="rId35"/>
    <p:sldId id="2147481785" r:id="rId36"/>
    <p:sldId id="2147481783" r:id="rId37"/>
    <p:sldId id="2147481752" r:id="rId38"/>
    <p:sldId id="2147481767" r:id="rId39"/>
    <p:sldId id="2147470659" r:id="rId40"/>
    <p:sldId id="2147470660" r:id="rId41"/>
    <p:sldId id="2147471584" r:id="rId42"/>
    <p:sldId id="2147471583" r:id="rId43"/>
    <p:sldId id="2147470663" r:id="rId44"/>
    <p:sldId id="2147470574" r:id="rId45"/>
    <p:sldId id="2147481710" r:id="rId46"/>
    <p:sldId id="2147471619" r:id="rId47"/>
    <p:sldId id="2147481711" r:id="rId48"/>
    <p:sldId id="2147471605" r:id="rId49"/>
    <p:sldId id="2147470647" r:id="rId50"/>
    <p:sldId id="2147481716" r:id="rId51"/>
    <p:sldId id="2147481654" r:id="rId52"/>
    <p:sldId id="2147481648" r:id="rId53"/>
    <p:sldId id="2147481713" r:id="rId54"/>
    <p:sldId id="2147481712" r:id="rId55"/>
    <p:sldId id="2147481714" r:id="rId56"/>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1_Gen_Welcome&amp;WorkshopOverview.pptx" id="{0427900E-D649-4EA7-A87B-FC645E8272C6}">
          <p14:sldIdLst>
            <p14:sldId id="2076138181"/>
          </p14:sldIdLst>
        </p14:section>
        <p14:section name="Common challenges related to exercises" id="{266ADBB0-E5D7-4E6C-AACC-5E682E622B4D}">
          <p14:sldIdLst>
            <p14:sldId id="2147481749"/>
            <p14:sldId id="2147481750"/>
            <p14:sldId id="2147481757"/>
            <p14:sldId id="2147481766"/>
            <p14:sldId id="2147481765"/>
            <p14:sldId id="2147481768"/>
            <p14:sldId id="257"/>
            <p14:sldId id="258"/>
            <p14:sldId id="262"/>
            <p14:sldId id="2147481769"/>
            <p14:sldId id="2147481751"/>
            <p14:sldId id="266"/>
            <p14:sldId id="273"/>
            <p14:sldId id="2147481745"/>
            <p14:sldId id="2147481786"/>
            <p14:sldId id="2147481787"/>
            <p14:sldId id="2147481778"/>
            <p14:sldId id="2147481788"/>
            <p14:sldId id="2147481789"/>
            <p14:sldId id="2147481796"/>
            <p14:sldId id="2147481785"/>
            <p14:sldId id="2147481783"/>
            <p14:sldId id="2147481752"/>
            <p14:sldId id="2147481767"/>
          </p14:sldIdLst>
        </p14:section>
        <p14:section name="Set up development environment" id="{707E2618-6733-43BB-9FA4-7CE813C87D4B}">
          <p14:sldIdLst>
            <p14:sldId id="2147470659"/>
            <p14:sldId id="2147470660"/>
            <p14:sldId id="2147471584"/>
            <p14:sldId id="2147471583"/>
            <p14:sldId id="2147470663"/>
          </p14:sldIdLst>
        </p14:section>
        <p14:section name="Start working in GitHub" id="{33BFC72C-4BE0-4709-9B24-B88974893A81}">
          <p14:sldIdLst>
            <p14:sldId id="2147470574"/>
            <p14:sldId id="2147481710"/>
            <p14:sldId id="2147471619"/>
            <p14:sldId id="2147481711"/>
            <p14:sldId id="2147471605"/>
            <p14:sldId id="2147470647"/>
            <p14:sldId id="2147481716"/>
            <p14:sldId id="2147481654"/>
          </p14:sldIdLst>
        </p14:section>
        <p14:section name="Improve and deploy your application (part 1)" id="{C201209A-F324-41AD-BDB0-5BD285B256B1}">
          <p14:sldIdLst>
            <p14:sldId id="2147481648"/>
            <p14:sldId id="2147481713"/>
            <p14:sldId id="2147481712"/>
            <p14:sldId id="214748171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05E"/>
    <a:srgbClr val="3F2D7B"/>
    <a:srgbClr val="20205E"/>
    <a:srgbClr val="53358D"/>
    <a:srgbClr val="005A9F"/>
    <a:srgbClr val="8661C5"/>
    <a:srgbClr val="8E6BCA"/>
    <a:srgbClr val="C9C2D5"/>
    <a:srgbClr val="E9EDF1"/>
    <a:srgbClr val="DFDC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A19835-5794-2216-AFDC-E64F4D12903C}" v="4" dt="2023-12-06T18:13:54.066"/>
    <p1510:client id="{9C2EF0BC-4558-C25F-0AD0-0899534596AA}" v="17" dt="2023-12-06T00:00:58.403"/>
    <p1510:client id="{D58A80EE-AA7E-409D-835F-B44848F9623E}" v="1" dt="2023-12-06T18:14:50.1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79532" autoAdjust="0"/>
  </p:normalViewPr>
  <p:slideViewPr>
    <p:cSldViewPr snapToGrid="0">
      <p:cViewPr varScale="1">
        <p:scale>
          <a:sx n="111" d="100"/>
          <a:sy n="111" d="100"/>
        </p:scale>
        <p:origin x="594"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handoutMaster" Target="handoutMasters/handoutMaster1.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tags" Target="tags/tag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s>
</file>

<file path=ppt/comments/modernComment_7FFFF8BA_B330A6F8.xml><?xml version="1.0" encoding="utf-8"?>
<p188:cmLst xmlns:a="http://schemas.openxmlformats.org/drawingml/2006/main" xmlns:r="http://schemas.openxmlformats.org/officeDocument/2006/relationships" xmlns:p188="http://schemas.microsoft.com/office/powerpoint/2018/8/main">
  <p188:cm id="{400BACD7-32B8-4126-9D83-1434284C595A}" authorId="{00000000-0000-0000-0000-000000000000}" status="resolved" created="2023-11-03T22:34:46.619">
    <pc:sldMkLst xmlns:pc="http://schemas.microsoft.com/office/powerpoint/2013/main/command">
      <pc:docMk/>
      <pc:sldMk cId="1593106413" sldId="2147481745"/>
    </pc:sldMkLst>
    <p188:replyLst>
      <p188:reply id="{399202F8-CCA4-4608-9330-DF893B9A6665}" authorId="{00000000-0000-0000-0000-000000000000}" created="2023-11-06T16:00:25.836">
        <p188:txBody>
          <a:bodyPr/>
          <a:lstStyle/>
          <a:p>
            <a:r>
              <a:rPr lang="en-US"/>
              <a:t>Replaced with 3 slides, board layout, table layout, map layout</a:t>
            </a:r>
          </a:p>
        </p188:txBody>
      </p188:reply>
    </p188:replyLst>
    <p188:txBody>
      <a:bodyPr/>
      <a:lstStyle/>
      <a:p>
        <a:r>
          <a:rPr lang="en-CA"/>
          <a:t>It may be good to have screenshots of the different ways GitHub Projects can be laid out as various board types rather than the text</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3/5/2024</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3/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dev.azure.com/OneCommercial/NoCode/_wiki/wikis/NoCode.wiki/12/Hybrid-Subscription"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microsoft.sharepoint.com/:p:/r/teams/GithubSales/_layouts/15/Doc.aspx?sourcedoc=%7B93265E57-6BCE-4174-ABC5-B75B6ABCB1A7%7D&amp;file=GitHub%20Enterprise%20Pitch%20Deck.pptx&amp;wdLOR=cDD3C50B1-D8DA-494A-B721-0FE2E5EFE3BD&amp;action=edit&amp;mobileredirect=tru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github.com/microsoft/TechExcel-Implementing-DevOps-practices-to-accelerate-developer-productivity/blob/main/CODE_OF_CONDUCT.md"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icrosoft.sharepoint.com/:p:/r/teams/GithubSales/_layouts/15/Doc.aspx?sourcedoc=%7B93265E57-6BCE-4174-ABC5-B75B6ABCB1A7%7D&amp;file=GitHub%20Enterprise%20Pitch%20Deck.pptx&amp;wdLOR=cDD3C50B1-D8DA-494A-B721-0FE2E5EFE3BD&amp;action=edit&amp;mobileredirect=true"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microsoft.sharepoint.com/:p:/r/teams/GithubSales/_layouts/15/Doc.aspx?sourcedoc=%7B93265E57-6BCE-4174-ABC5-B75B6ABCB1A7%7D&amp;file=GitHub%20Enterprise%20Pitch%20Deck.pptx&amp;wdLOR=cDD3C50B1-D8DA-494A-B721-0FE2E5EFE3BD&amp;action=edit&amp;mobileredirect=true"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github.com/en/issues/planning-and-tracking-with-projects/learning-about-projects/about-projects"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docs.github.com/en/issues/planning-and-tracking-with-projects/customizing-views-in-your-project/customizing-the-table-layout"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github.com/en/issues/planning-and-tracking-with-projects/learning-about-projects/about-projects"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docs.github.com/en/issues/planning-and-tracking-with-projects/customizing-views-in-your-project/customizing-the-board-layout"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github.com/en/issues/planning-and-tracking-with-projects/learning-about-projects/about-projects"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docs.github.com/en/issues/planning-and-tracking-with-projects/customizing-views-in-your-project/customizing-the-roadmap-layout"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learn.microsoft.com/en-us/azure/virtual-machines/generalize"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learn.microsoft.com/en-us/azure/dev-box/overview-what-is-microsoft-dev-box"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azure/dev-box/quickstart-create-dev-box?wt.mc_id=mdbservice_acomdoc02_webpage_cnl"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learn.microsoft.com/en-us/azure/deployment-environments/how-to-configure-managed-identity"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microsoft.sharepoint.com/sites/GitHubHelp?xsdata=MDV8MDF8fDE2MThjOTBmYjkxNTQ5Njc1YzVkMDhkYmQ5YTMwNGMyfDcyZjk4OGJmODZmMTQxYWY5MWFiMmQ3Y2QwMTFkYjQ3fDB8MHw2MzgzNDMwNjYzODU4MDAyODV8VW5rbm93bnxWR1ZoYlhOVFpXTjFjbWwwZVZObGNuWnBZMlY4ZXlKV0lqb2lNQzR3TGpBd01EQWlMQ0pRSWpvaVYybHVNeklpTENKQlRpSTZJazkwYUdWeUlpd2lWMVFpT2pFeGZRPT18MXxMMk5vWVhSekx6RTVPbTFsWlhScGJtZGZXbGRhYWs1NlFtaFpNbEYwVFcxV2FFNVRNREJhVjBreVRGZEdhMWt5UlhST2VrVTBUMWRaTkU1RVFUSk9SMFpvUUhSb2NtVmhaQzUyTWk5dFpYTnpZV2RsY3k4eE5qazROekE1T0RNNE1EQXl8MDBiNjgzOWUwZjVhNDI1ZTVjNWQwOGRiZDlhMzA0YzJ8MGQwZTdkNTBmMTY3NDllY2JhZDk4N2JmNDA3ZmQ4YjI%3D&amp;sdata=TG1HbEk5enM5Z2ZRVHEraGY0Q1NLRi90bkl2V0pyNy9BZy95dVYra0ozWT0%3D&amp;ovuser=72f988bf-86f1-41af-91ab-2d7cd011db47%2Cv-mcasipe%40microsoft.com"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microsoft.sharepoint.com/teams/GithubSales/SitePages/SalesTools.aspx?xsdata=MDV8MDF8fDE2MThjOTBmYjkxNTQ5Njc1YzVkMDhkYmQ5YTMwNGMyfDcyZjk4OGJmODZmMTQxYWY5MWFiMmQ3Y2QwMTFkYjQ3fDB8MHw2MzgzNDMwNjYzODU4MDAyODV8VW5rbm93bnxWR1ZoYlhOVFpXTjFjbWwwZVZObGNuWnBZMlY4ZXlKV0lqb2lNQzR3TGpBd01EQWlMQ0pRSWpvaVYybHVNeklpTENKQlRpSTZJazkwYUdWeUlpd2lWMVFpT2pFeGZRPT18MXxMMk5vWVhSekx6RTVPbTFsWlhScGJtZGZXbGRhYWs1NlFtaFpNbEYwVFcxV2FFNVRNREJhVjBreVRGZEdhMWt5UlhST2VrVTBUMWRaTkU1RVFUSk9SMFpvUUhSb2NtVmhaQzUyTWk5dFpYTnpZV2RsY3k4eE5qazROekE1T0RNNE1EQXl8MDBiNjgzOWUwZjVhNDI1ZTVjNWQwOGRiZDlhMzA0YzJ8MGQwZTdkNTBmMTY3NDllY2JhZDk4N2JmNDA3ZmQ4YjI%3D&amp;sdata=TFJ3Q0F0Vngzc1pKNWxJcjZVOWI1L2RlR2JqUkNQUFpZZlZqUE9VeUxwaz0%3D&amp;ovuser=72f988bf-86f1-41af-91ab-2d7cd011db47%2Cv-mcasipe%40microsoft.com#%3a~%3atext%3DCustomer%20Ready%20Pitch%20Decks%3a~%3atext=Customer%20Ready%20Pitch%20Deck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r>
              <a:rPr lang="en-US" b="1" i="0" dirty="0">
                <a:solidFill>
                  <a:srgbClr val="24292E"/>
                </a:solidFill>
                <a:effectLst/>
                <a:latin typeface="Segoe UI" panose="020B0502040204020203" pitchFamily="34" charset="0"/>
                <a:cs typeface="Segoe UI" panose="020B0502040204020203" pitchFamily="34" charset="0"/>
              </a:rPr>
              <a:t>Important notes:</a:t>
            </a:r>
          </a:p>
          <a:p>
            <a:pPr algn="l">
              <a:buFont typeface="+mj-lt"/>
              <a:buNone/>
            </a:pPr>
            <a:endParaRPr lang="en-US" b="0" i="0" dirty="0">
              <a:solidFill>
                <a:srgbClr val="24292E"/>
              </a:solidFill>
              <a:effectLst/>
              <a:latin typeface="-apple-system"/>
            </a:endParaRPr>
          </a:p>
          <a:p>
            <a:pPr algn="l">
              <a:buFont typeface="+mj-lt"/>
              <a:buNone/>
            </a:pPr>
            <a:r>
              <a:rPr lang="en-US" b="0" i="0" dirty="0">
                <a:solidFill>
                  <a:srgbClr val="24292E"/>
                </a:solidFill>
                <a:effectLst/>
                <a:latin typeface="-apple-system"/>
              </a:rPr>
              <a:t>Links to lab/exercises on GitHub</a:t>
            </a:r>
          </a:p>
          <a:p>
            <a:pPr algn="l">
              <a:buFont typeface="+mj-lt"/>
              <a:buNone/>
            </a:pPr>
            <a:endParaRPr lang="en-US" b="0" i="0" dirty="0">
              <a:solidFill>
                <a:srgbClr val="24292E"/>
              </a:solidFill>
              <a:effectLst/>
              <a:latin typeface="-apple-system"/>
            </a:endParaRPr>
          </a:p>
          <a:p>
            <a:pPr algn="l">
              <a:buFont typeface="+mj-lt"/>
              <a:buNone/>
            </a:pPr>
            <a:r>
              <a:rPr lang="en-US" b="0" i="0" dirty="0">
                <a:solidFill>
                  <a:srgbClr val="24292E"/>
                </a:solidFill>
                <a:effectLst/>
                <a:latin typeface="-apple-system"/>
              </a:rPr>
              <a:t>https://github.com/microsoft/TechExcel-Implementing-DevOps-practices-to-accelerate-developer-productivity-code</a:t>
            </a:r>
          </a:p>
          <a:p>
            <a:pPr algn="l">
              <a:buFont typeface="+mj-lt"/>
              <a:buNone/>
            </a:pPr>
            <a:r>
              <a:rPr lang="en-US" b="0" i="0" dirty="0">
                <a:solidFill>
                  <a:srgbClr val="24292E"/>
                </a:solidFill>
                <a:effectLst/>
                <a:latin typeface="-apple-system"/>
              </a:rPr>
              <a:t>https://github.com/microsoft/TechExcel-Implementing-DevOps-practices-to-accelerate-developer-productivit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algn="l">
              <a:buFont typeface="+mj-lt"/>
              <a:buNone/>
            </a:pPr>
            <a:endParaRPr lang="en-US" b="0" i="0" dirty="0">
              <a:solidFill>
                <a:srgbClr val="24292E"/>
              </a:solidFill>
              <a:effectLst/>
              <a:latin typeface="-apple-system"/>
            </a:endParaRPr>
          </a:p>
          <a:p>
            <a:pPr algn="l">
              <a:buFont typeface="+mj-lt"/>
              <a:buNone/>
            </a:pPr>
            <a:r>
              <a:rPr lang="en-US" b="0" i="0" dirty="0">
                <a:solidFill>
                  <a:srgbClr val="24292E"/>
                </a:solidFill>
                <a:effectLst/>
                <a:latin typeface="-apple-system"/>
              </a:rPr>
              <a:t>Hybrid subscription WIKI </a:t>
            </a:r>
            <a:br>
              <a:rPr lang="en-US" b="0" i="0" dirty="0">
                <a:solidFill>
                  <a:srgbClr val="24292E"/>
                </a:solidFill>
                <a:effectLst/>
                <a:latin typeface="-apple-system"/>
              </a:rPr>
            </a:br>
            <a:r>
              <a:rPr lang="en-US" dirty="0">
                <a:hlinkClick r:id="rId3"/>
              </a:rPr>
              <a:t>Hybrid Subscription - Overview (azure.com)</a:t>
            </a:r>
            <a:endParaRPr lang="en-US" b="0" i="0" dirty="0">
              <a:solidFill>
                <a:srgbClr val="24292E"/>
              </a:solidFill>
              <a:effectLst/>
              <a:latin typeface="-apple-system"/>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3201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0"/>
        <p:cNvGrpSpPr/>
        <p:nvPr/>
      </p:nvGrpSpPr>
      <p:grpSpPr>
        <a:xfrm>
          <a:off x="0" y="0"/>
          <a:ext cx="0" cy="0"/>
          <a:chOff x="0" y="0"/>
          <a:chExt cx="0" cy="0"/>
        </a:xfrm>
      </p:grpSpPr>
      <p:sp>
        <p:nvSpPr>
          <p:cNvPr id="3031" name="Google Shape;3031;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32" name="Google Shape;3032;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u="none" dirty="0">
                <a:solidFill>
                  <a:srgbClr val="20205E"/>
                </a:solidFill>
                <a:hlinkClick r:id="rId3">
                  <a:extLst>
                    <a:ext uri="{A12FA001-AC4F-418D-AE19-62706E023703}">
                      <ahyp:hlinkClr xmlns:ahyp="http://schemas.microsoft.com/office/drawing/2018/hyperlinkcolor" val="tx"/>
                    </a:ext>
                  </a:extLst>
                </a:hlinkClick>
              </a:rPr>
              <a:t>Speaker’s notes:</a:t>
            </a:r>
          </a:p>
          <a:p>
            <a:pPr marL="0" lvl="0" indent="0" algn="l" rtl="0">
              <a:spcBef>
                <a:spcPts val="0"/>
              </a:spcBef>
              <a:spcAft>
                <a:spcPts val="0"/>
              </a:spcAft>
              <a:buNone/>
            </a:pPr>
            <a:endParaRPr lang="en-US" sz="1200" dirty="0">
              <a:latin typeface="Arial"/>
              <a:ea typeface="Arial"/>
              <a:cs typeface="Arial"/>
              <a:sym typeface="Arial"/>
            </a:endParaRPr>
          </a:p>
          <a:p>
            <a:pPr marL="0" lvl="0" indent="0" algn="l" rtl="0">
              <a:spcBef>
                <a:spcPts val="0"/>
              </a:spcBef>
              <a:spcAft>
                <a:spcPts val="0"/>
              </a:spcAft>
              <a:buNone/>
            </a:pPr>
            <a:r>
              <a:rPr lang="en-US" sz="1200" dirty="0">
                <a:latin typeface="Arial"/>
                <a:ea typeface="Arial"/>
                <a:cs typeface="Arial"/>
                <a:sym typeface="Arial"/>
              </a:rPr>
              <a:t>GitHub Copilot is available where you want it. On your desktop using popular IDEs or in your browser using GitHub </a:t>
            </a:r>
            <a:r>
              <a:rPr lang="en-US" sz="1200" dirty="0" err="1">
                <a:latin typeface="Arial"/>
                <a:ea typeface="Arial"/>
                <a:cs typeface="Arial"/>
                <a:sym typeface="Arial"/>
              </a:rPr>
              <a:t>Codespaces</a:t>
            </a:r>
            <a:r>
              <a:rPr lang="en-US" sz="1200" dirty="0">
                <a:latin typeface="Arial"/>
                <a:ea typeface="Arial"/>
                <a:cs typeface="Arial"/>
                <a:sym typeface="Arial"/>
              </a:rPr>
              <a:t>.</a:t>
            </a:r>
            <a:endParaRPr sz="1200" dirty="0">
              <a:latin typeface="Arial"/>
              <a:ea typeface="Arial"/>
              <a:cs typeface="Arial"/>
              <a:sym typeface="Arial"/>
            </a:endParaRPr>
          </a:p>
        </p:txBody>
      </p:sp>
      <p:sp>
        <p:nvSpPr>
          <p:cNvPr id="3033" name="Google Shape;3033;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TechExcel-Implementing-DevOps-practices-to-accelerate-developer-productivity/CODE_OF_CONDUCT.md at main · </a:t>
            </a:r>
            <a:r>
              <a:rPr lang="en-US" dirty="0" err="1">
                <a:hlinkClick r:id="rId3"/>
              </a:rPr>
              <a:t>microsoft</a:t>
            </a:r>
            <a:r>
              <a:rPr lang="en-US" dirty="0">
                <a:hlinkClick r:id="rId3"/>
              </a:rPr>
              <a:t>/TechExcel-Implementing-DevOps-practices-to-accelerate-developer-productivity (github.com)</a:t>
            </a:r>
            <a:endParaRPr lang="en-US" b="1" dirty="0"/>
          </a:p>
          <a:p>
            <a:endParaRPr lang="en-US" b="1" dirty="0"/>
          </a:p>
          <a:p>
            <a:r>
              <a:rPr lang="en-US" b="1" dirty="0"/>
              <a:t>Speaker’s Notes:</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11</a:t>
            </a:fld>
            <a:endParaRPr lang="en-US"/>
          </a:p>
        </p:txBody>
      </p:sp>
    </p:spTree>
    <p:extLst>
      <p:ext uri="{BB962C8B-B14F-4D97-AF65-F5344CB8AC3E}">
        <p14:creationId xmlns:p14="http://schemas.microsoft.com/office/powerpoint/2010/main" val="1674661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12</a:t>
            </a:fld>
            <a:endParaRPr lang="en-US"/>
          </a:p>
        </p:txBody>
      </p:sp>
    </p:spTree>
    <p:extLst>
      <p:ext uri="{BB962C8B-B14F-4D97-AF65-F5344CB8AC3E}">
        <p14:creationId xmlns:p14="http://schemas.microsoft.com/office/powerpoint/2010/main" val="5526207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13"/>
        <p:cNvGrpSpPr/>
        <p:nvPr/>
      </p:nvGrpSpPr>
      <p:grpSpPr>
        <a:xfrm>
          <a:off x="0" y="0"/>
          <a:ext cx="0" cy="0"/>
          <a:chOff x="0" y="0"/>
          <a:chExt cx="0" cy="0"/>
        </a:xfrm>
      </p:grpSpPr>
      <p:sp>
        <p:nvSpPr>
          <p:cNvPr id="5214" name="Google Shape;5214;g1262c50b52c_0_38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15" name="Google Shape;5215;g1262c50b52c_0_38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hlinkClick r:id="rId3"/>
              </a:rPr>
              <a:t>GitHub Enterprise Pitch Deck.pptx (sharepoint.com)</a:t>
            </a:r>
            <a:endParaRPr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43"/>
        <p:cNvGrpSpPr/>
        <p:nvPr/>
      </p:nvGrpSpPr>
      <p:grpSpPr>
        <a:xfrm>
          <a:off x="0" y="0"/>
          <a:ext cx="0" cy="0"/>
          <a:chOff x="0" y="0"/>
          <a:chExt cx="0" cy="0"/>
        </a:xfrm>
      </p:grpSpPr>
      <p:sp>
        <p:nvSpPr>
          <p:cNvPr id="5344" name="Google Shape;5344;g1262c50b52c_0_39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45" name="Google Shape;5345;g1262c50b52c_0_39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US" b="1" i="0" dirty="0">
                <a:solidFill>
                  <a:srgbClr val="20205E"/>
                </a:solidFill>
                <a:hlinkClick r:id="rId3">
                  <a:extLst>
                    <a:ext uri="{A12FA001-AC4F-418D-AE19-62706E023703}">
                      <ahyp:hlinkClr xmlns:ahyp="http://schemas.microsoft.com/office/drawing/2018/hyperlinkcolor" val="tx"/>
                    </a:ext>
                  </a:extLst>
                </a:hlinkClick>
              </a:rPr>
              <a:t>Speaker’s notes:</a:t>
            </a:r>
          </a:p>
          <a:p>
            <a:pPr marL="0" lvl="0" indent="0" algn="l" rtl="0">
              <a:spcBef>
                <a:spcPts val="0"/>
              </a:spcBef>
              <a:spcAft>
                <a:spcPts val="0"/>
              </a:spcAft>
              <a:buClr>
                <a:schemeClr val="dk1"/>
              </a:buClr>
              <a:buSzPts val="1100"/>
              <a:buFont typeface="Arial"/>
              <a:buNone/>
            </a:pPr>
            <a:endParaRPr lang="en-US" dirty="0">
              <a:hlinkClick r:id="rId3"/>
            </a:endParaRPr>
          </a:p>
          <a:p>
            <a:pPr marL="0" lvl="0" indent="0" algn="l" rtl="0">
              <a:spcBef>
                <a:spcPts val="0"/>
              </a:spcBef>
              <a:spcAft>
                <a:spcPts val="0"/>
              </a:spcAft>
              <a:buClr>
                <a:schemeClr val="dk1"/>
              </a:buClr>
              <a:buSzPts val="1100"/>
              <a:buFont typeface="Arial"/>
              <a:buNone/>
            </a:pPr>
            <a:r>
              <a:rPr lang="en-US" dirty="0">
                <a:hlinkClick r:id="rId3"/>
              </a:rPr>
              <a:t>GitHub Enterprise Pitch Deck.pptx (sharepoint.com)</a:t>
            </a:r>
            <a:endParaRPr lang="en" sz="1200" b="1" u="sng"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endParaRPr lang="en" sz="1200" b="1" u="sng"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b="1" u="sng" dirty="0">
                <a:solidFill>
                  <a:schemeClr val="dk1"/>
                </a:solidFill>
                <a:latin typeface="Helvetica Neue"/>
                <a:ea typeface="Helvetica Neue"/>
                <a:cs typeface="Helvetica Neue"/>
                <a:sym typeface="Helvetica Neue"/>
              </a:rPr>
              <a:t>How We Do it Better</a:t>
            </a:r>
            <a:endParaRPr sz="1200" b="1" u="sng"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b="1" dirty="0">
                <a:solidFill>
                  <a:schemeClr val="dk1"/>
                </a:solidFill>
                <a:latin typeface="Helvetica Neue"/>
                <a:ea typeface="Helvetica Neue"/>
                <a:cs typeface="Helvetica Neue"/>
                <a:sym typeface="Helvetica Neue"/>
              </a:rPr>
              <a:t>(tie back to 3 opportunities) </a:t>
            </a:r>
            <a:endParaRPr sz="1200" b="1"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endParaRPr sz="1200" b="1"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400" b="1" dirty="0">
                <a:solidFill>
                  <a:schemeClr val="dk1"/>
                </a:solidFill>
                <a:latin typeface="Helvetica Neue"/>
                <a:ea typeface="Helvetica Neue"/>
                <a:cs typeface="Helvetica Neue"/>
                <a:sym typeface="Helvetica Neue"/>
              </a:rPr>
              <a:t>GitHub provides an end-to-end, centralized platform that accelerates high-quality software development</a:t>
            </a:r>
            <a:endParaRPr sz="1400" b="1"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400" b="1" dirty="0">
                <a:solidFill>
                  <a:schemeClr val="dk1"/>
                </a:solidFill>
                <a:latin typeface="Helvetica Neue"/>
                <a:ea typeface="Helvetica Neue"/>
                <a:cs typeface="Helvetica Neue"/>
                <a:sym typeface="Helvetica Neue"/>
              </a:rPr>
              <a:t>and delivery – Collaboration and innersourcing </a:t>
            </a:r>
            <a:endParaRPr sz="2100" b="1" dirty="0">
              <a:solidFill>
                <a:schemeClr val="lt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 Empower developers to build productively</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 Consolidate and scale as your teams and requirements grow</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 Collaborate across teams</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 Provide a secure, compliant platform without sacrificing speed</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 Access to cutting-edge innovation and industry leadership</a:t>
            </a:r>
            <a:endParaRPr sz="1200" b="1"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400" b="1" dirty="0">
                <a:solidFill>
                  <a:schemeClr val="dk1"/>
                </a:solidFill>
                <a:latin typeface="Helvetica Neue"/>
                <a:ea typeface="Helvetica Neue"/>
                <a:cs typeface="Helvetica Neue"/>
                <a:sym typeface="Helvetica Neue"/>
              </a:rPr>
              <a:t>Empower developers to build productively – Collaboration and innersourcing  </a:t>
            </a:r>
            <a:endParaRPr sz="1400" b="1"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Most developers learn to code on GitHub, they are familiar with GitHub and love the GitHub flow</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Single, intuitive platform with purposeful UI/UX for uninterrupted developer experience</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Instant pre-configured development environment shortens time-to-productivity</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10k+ community-generated reusable workflows created and increasing daily</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Be the first to benefit from the innovation that stems within the open source community</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400" b="1" dirty="0">
                <a:solidFill>
                  <a:schemeClr val="dk1"/>
                </a:solidFill>
                <a:latin typeface="Helvetica Neue"/>
                <a:ea typeface="Helvetica Neue"/>
                <a:cs typeface="Helvetica Neue"/>
                <a:sym typeface="Helvetica Neue"/>
              </a:rPr>
              <a:t>Consolidate and scale as your teams and requirements grow – Automation and development tools </a:t>
            </a:r>
            <a:endParaRPr sz="1400" b="1"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Extended and advanced git and architecture to meet the needs of the world’s largest teams</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Benefit from the lessons learned from hosting the world’s largest git community</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Architecture, complete capabilities, and deployment flexibility to support growing teams</a:t>
            </a:r>
            <a:endParaRPr sz="1200" b="1"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Scalable platform and permission structure that supports global deployments</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400" b="1" dirty="0">
                <a:solidFill>
                  <a:schemeClr val="dk1"/>
                </a:solidFill>
                <a:latin typeface="Helvetica Neue"/>
                <a:ea typeface="Helvetica Neue"/>
                <a:cs typeface="Helvetica Neue"/>
                <a:sym typeface="Helvetica Neue"/>
              </a:rPr>
              <a:t>Collaborate across teams – Collaboration and innersourcing</a:t>
            </a:r>
            <a:endParaRPr sz="1400" b="1"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Bring developers and non-developers together to collaborate on the same platform and workflow</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Benefit from the collaboration best practices from hosting the world’s largest open source community</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Enterprise collaboration from anywhere (Mobile access, Codespaces and web)</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Single, intuitive platform with purposeful UI/UX for uninterrupted developer experience, optimized to</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support collaboration</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400" b="1" dirty="0">
                <a:solidFill>
                  <a:schemeClr val="dk1"/>
                </a:solidFill>
                <a:latin typeface="Helvetica Neue"/>
                <a:ea typeface="Helvetica Neue"/>
                <a:cs typeface="Helvetica Neue"/>
                <a:sym typeface="Helvetica Neue"/>
              </a:rPr>
              <a:t>Provide a secure, compliant platform without sacrificing speed - Secure by design </a:t>
            </a:r>
            <a:endParaRPr sz="1400" b="1"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Customizable branch protection rules, auditable reviews, granular access and multiple reviewers to</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provide total control for the code base</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Enterprise grade logging and access control capabilities that satisfy security and compliance</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requirements</a:t>
            </a:r>
            <a:endParaRPr sz="1200"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r>
              <a:rPr lang="en" sz="1200" dirty="0">
                <a:solidFill>
                  <a:schemeClr val="dk1"/>
                </a:solidFill>
                <a:latin typeface="Helvetica Neue"/>
                <a:ea typeface="Helvetica Neue"/>
                <a:cs typeface="Helvetica Neue"/>
                <a:sym typeface="Helvetica Neue"/>
              </a:rPr>
              <a:t>o Multiple deployment options</a:t>
            </a:r>
            <a:endParaRPr sz="1200" b="1" u="sng" dirty="0">
              <a:solidFill>
                <a:schemeClr val="dk1"/>
              </a:solidFill>
              <a:latin typeface="Helvetica Neue"/>
              <a:ea typeface="Helvetica Neue"/>
              <a:cs typeface="Helvetica Neue"/>
              <a:sym typeface="Helvetica Neue"/>
            </a:endParaRPr>
          </a:p>
          <a:p>
            <a:pPr marL="0" lvl="0" indent="0" algn="l" rtl="0">
              <a:spcBef>
                <a:spcPts val="0"/>
              </a:spcBef>
              <a:spcAft>
                <a:spcPts val="0"/>
              </a:spcAft>
              <a:buClr>
                <a:schemeClr val="dk1"/>
              </a:buClr>
              <a:buSzPts val="1100"/>
              <a:buFont typeface="Arial"/>
              <a:buNone/>
            </a:pPr>
            <a:endParaRPr sz="1200" b="1" dirty="0">
              <a:solidFill>
                <a:schemeClr val="dk1"/>
              </a:solidFill>
              <a:latin typeface="Helvetica Neue"/>
              <a:ea typeface="Helvetica Neue"/>
              <a:cs typeface="Helvetica Neue"/>
              <a:sym typeface="Helvetica Neue"/>
            </a:endParaRPr>
          </a:p>
          <a:p>
            <a:pPr marL="0" lvl="0" indent="0" algn="l" rtl="0">
              <a:spcBef>
                <a:spcPts val="0"/>
              </a:spcBef>
              <a:spcAft>
                <a:spcPts val="0"/>
              </a:spcAft>
              <a:buNone/>
            </a:pPr>
            <a:endParaRPr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bout Projects - GitHub Docs</a:t>
            </a:r>
            <a:endParaRPr lang="en-US" dirty="0"/>
          </a:p>
          <a:p>
            <a:endParaRPr lang="en-US" dirty="0"/>
          </a:p>
          <a:p>
            <a:r>
              <a:rPr lang="en-US" b="1" dirty="0"/>
              <a:t>Speaker’s Notes:</a:t>
            </a:r>
          </a:p>
          <a:p>
            <a:endParaRPr lang="en-US" dirty="0"/>
          </a:p>
          <a:p>
            <a:r>
              <a:rPr lang="en-US" sz="1600" b="0" i="0" dirty="0">
                <a:solidFill>
                  <a:schemeClr val="accent3">
                    <a:lumMod val="50000"/>
                  </a:schemeClr>
                </a:solidFill>
                <a:effectLst/>
                <a:latin typeface="+mj-lt"/>
              </a:rPr>
              <a:t>Projects is an adaptable, flexible tool for planning and tracking work on GitHub.</a:t>
            </a:r>
          </a:p>
          <a:p>
            <a:pPr marL="342900" indent="-342900">
              <a:buFont typeface="Arial" panose="020B0604020202020204" pitchFamily="34" charset="0"/>
              <a:buChar char="•"/>
            </a:pPr>
            <a:r>
              <a:rPr lang="en-US" sz="1200" b="0" i="0" dirty="0">
                <a:solidFill>
                  <a:srgbClr val="1F2328"/>
                </a:solidFill>
                <a:effectLst/>
                <a:latin typeface="+mj-lt"/>
              </a:rPr>
              <a:t>A project is an adaptable spreadsheet, task-board, and road map that integrates with your issues and pull requests on GitHub to help you plan and track your work effectively. </a:t>
            </a:r>
          </a:p>
          <a:p>
            <a:pPr marL="342900" indent="-342900">
              <a:buFont typeface="Arial" panose="020B0604020202020204" pitchFamily="34" charset="0"/>
              <a:buChar char="•"/>
            </a:pPr>
            <a:r>
              <a:rPr lang="en-US" sz="1200" b="0" i="0" dirty="0">
                <a:solidFill>
                  <a:srgbClr val="1F2328"/>
                </a:solidFill>
                <a:effectLst/>
                <a:latin typeface="+mj-lt"/>
              </a:rPr>
              <a:t>You can create and customize multiple views by filtering, sorting, grouping your issues and pull requests, visualize work with configurable charts, and add custom fields to track metadata specific to your team. </a:t>
            </a:r>
          </a:p>
          <a:p>
            <a:pPr marL="342900" indent="-342900">
              <a:buFont typeface="Arial" panose="020B0604020202020204" pitchFamily="34" charset="0"/>
              <a:buChar char="•"/>
            </a:pPr>
            <a:r>
              <a:rPr lang="en-US" sz="1200" b="0" i="0" dirty="0">
                <a:solidFill>
                  <a:srgbClr val="1F2328"/>
                </a:solidFill>
                <a:effectLst/>
                <a:latin typeface="+mj-lt"/>
              </a:rPr>
              <a:t>Rather than enforcing a specific methodology, a project provides flexible features you can customize to your team’s needs and processes.</a:t>
            </a:r>
            <a:endParaRPr lang="en-US" sz="1050" dirty="0">
              <a:solidFill>
                <a:schemeClr val="accent3">
                  <a:lumMod val="50000"/>
                </a:schemeClr>
              </a:solidFill>
              <a:latin typeface="+mj-lt"/>
              <a:cs typeface="Segoe UI"/>
            </a:endParaRPr>
          </a:p>
          <a:p>
            <a:endParaRPr lang="en-US" dirty="0"/>
          </a:p>
          <a:p>
            <a:r>
              <a:rPr lang="en-US" b="1" i="0" dirty="0">
                <a:solidFill>
                  <a:srgbClr val="1F2328"/>
                </a:solidFill>
                <a:effectLst/>
                <a:latin typeface="-apple-system"/>
              </a:rPr>
              <a:t>SAY:</a:t>
            </a:r>
          </a:p>
          <a:p>
            <a:endParaRPr lang="en-US" b="0" i="0" dirty="0">
              <a:solidFill>
                <a:srgbClr val="1F2328"/>
              </a:solidFill>
              <a:effectLst/>
              <a:latin typeface="-apple-system"/>
            </a:endParaRPr>
          </a:p>
          <a:p>
            <a:r>
              <a:rPr lang="en-US" b="0" i="0" dirty="0">
                <a:solidFill>
                  <a:srgbClr val="1F2328"/>
                </a:solidFill>
                <a:effectLst/>
                <a:latin typeface="-apple-system"/>
              </a:rPr>
              <a:t>The table layout is a powerful and adaptable spreadsheet comprised of your issues, pull requests, and draft issues with metadata from GitHub and the custom fields you've added to your project. You can group, sort, and filter items, and show or hide fields in your table layouts to suit the needs of everyone on your team. For more information, see "</a:t>
            </a:r>
            <a:r>
              <a:rPr lang="en-US" b="0" i="0" u="sng" dirty="0">
                <a:effectLst/>
                <a:latin typeface="-apple-system"/>
                <a:hlinkClick r:id="rId4"/>
              </a:rPr>
              <a:t>Customizing the table layout</a:t>
            </a:r>
            <a:r>
              <a:rPr lang="en-US" b="0" i="0" dirty="0">
                <a:solidFill>
                  <a:srgbClr val="1F2328"/>
                </a:solidFill>
                <a:effectLst/>
                <a:latin typeface="-apple-system"/>
              </a:rPr>
              <a:t>."</a:t>
            </a:r>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15</a:t>
            </a:fld>
            <a:endParaRPr lang="en-US"/>
          </a:p>
        </p:txBody>
      </p:sp>
    </p:spTree>
    <p:extLst>
      <p:ext uri="{BB962C8B-B14F-4D97-AF65-F5344CB8AC3E}">
        <p14:creationId xmlns:p14="http://schemas.microsoft.com/office/powerpoint/2010/main" val="21157132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bout Projects - GitHub Docs</a:t>
            </a:r>
            <a:endParaRPr lang="en-US" dirty="0"/>
          </a:p>
          <a:p>
            <a:endParaRPr lang="en-US" dirty="0"/>
          </a:p>
          <a:p>
            <a:r>
              <a:rPr lang="en-US" b="1" dirty="0"/>
              <a:t>Speaker’s Notes:</a:t>
            </a:r>
          </a:p>
          <a:p>
            <a:endParaRPr lang="en-US" b="1" dirty="0"/>
          </a:p>
          <a:p>
            <a:r>
              <a:rPr lang="en-US" b="1" dirty="0"/>
              <a:t>SAY:</a:t>
            </a:r>
          </a:p>
          <a:p>
            <a:endParaRPr lang="en-US" dirty="0"/>
          </a:p>
          <a:p>
            <a:pPr algn="l"/>
            <a:r>
              <a:rPr lang="en-US" b="0" i="0" dirty="0">
                <a:solidFill>
                  <a:srgbClr val="1F2328"/>
                </a:solidFill>
                <a:effectLst/>
                <a:latin typeface="-apple-system"/>
              </a:rPr>
              <a:t>The board layout spreads your issues, pull requests, and draft issues across customizable columns. You can create a kanban board by setting your column field to a "Status" field or set any other single select or iteration field as the column field.</a:t>
            </a:r>
          </a:p>
          <a:p>
            <a:pPr algn="l"/>
            <a:r>
              <a:rPr lang="en-US" b="0" i="0" dirty="0">
                <a:solidFill>
                  <a:srgbClr val="1F2328"/>
                </a:solidFill>
                <a:effectLst/>
                <a:latin typeface="-apple-system"/>
              </a:rPr>
              <a:t>You can drag individual or multiple items from column to column and the value of those items will adjust to match the column you drag them to. For more information, see "</a:t>
            </a:r>
            <a:r>
              <a:rPr lang="en-US" b="0" i="0" u="sng" dirty="0">
                <a:solidFill>
                  <a:srgbClr val="1F2328"/>
                </a:solidFill>
                <a:effectLst/>
                <a:latin typeface="-apple-system"/>
                <a:hlinkClick r:id="rId4"/>
              </a:rPr>
              <a:t>Customizing the board layout</a:t>
            </a:r>
            <a:r>
              <a:rPr lang="en-US" b="0" i="0" dirty="0">
                <a:solidFill>
                  <a:srgbClr val="1F2328"/>
                </a:solidFill>
                <a:effectLst/>
                <a:latin typeface="-apple-system"/>
              </a:rPr>
              <a:t>."</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16</a:t>
            </a:fld>
            <a:endParaRPr lang="en-US"/>
          </a:p>
        </p:txBody>
      </p:sp>
    </p:spTree>
    <p:extLst>
      <p:ext uri="{BB962C8B-B14F-4D97-AF65-F5344CB8AC3E}">
        <p14:creationId xmlns:p14="http://schemas.microsoft.com/office/powerpoint/2010/main" val="8457515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bout Projects - GitHub Docs</a:t>
            </a:r>
            <a:endParaRPr lang="en-US" dirty="0"/>
          </a:p>
          <a:p>
            <a:endParaRPr lang="en-US" dirty="0"/>
          </a:p>
          <a:p>
            <a:r>
              <a:rPr lang="en-US" b="1" dirty="0"/>
              <a:t>Speaker’s Notes:</a:t>
            </a:r>
          </a:p>
          <a:p>
            <a:endParaRPr lang="en-US" dirty="0"/>
          </a:p>
          <a:p>
            <a:r>
              <a:rPr lang="en-US" b="1" dirty="0"/>
              <a:t>SAY:</a:t>
            </a:r>
          </a:p>
          <a:p>
            <a:endParaRPr lang="en-US" dirty="0"/>
          </a:p>
          <a:p>
            <a:pPr algn="l"/>
            <a:r>
              <a:rPr lang="en-US" b="0" i="0" dirty="0">
                <a:solidFill>
                  <a:srgbClr val="1F2328"/>
                </a:solidFill>
                <a:effectLst/>
                <a:latin typeface="-apple-system"/>
              </a:rPr>
              <a:t>The roadmap layout provides a high-level visualization of your project across a configurable timespan, and allows you to drag items to affect their start and target dates or selected iteration. Roadmaps use your custom date and iteration fields to position your issues, pull requests, and draft issues on a timeline, allowing you to track work over time and watch progress.</a:t>
            </a:r>
          </a:p>
          <a:p>
            <a:pPr algn="l"/>
            <a:r>
              <a:rPr lang="en-US" b="0" i="0" dirty="0">
                <a:solidFill>
                  <a:srgbClr val="1F2328"/>
                </a:solidFill>
                <a:effectLst/>
                <a:latin typeface="-apple-system"/>
              </a:rPr>
              <a:t>You can also display vertical lines to highlight key dates for your project, including iterations, milestones, and the dates of items in your project. These markers help you get a clear overview of your upcoming workload and how it's distributed across iterations or milestones. For more information, see "</a:t>
            </a:r>
            <a:r>
              <a:rPr lang="en-US" b="0" i="0" u="sng" dirty="0">
                <a:solidFill>
                  <a:srgbClr val="1F2328"/>
                </a:solidFill>
                <a:effectLst/>
                <a:latin typeface="-apple-system"/>
                <a:hlinkClick r:id="rId4"/>
              </a:rPr>
              <a:t>Customizing the roadmap layout</a:t>
            </a:r>
            <a:r>
              <a:rPr lang="en-US" b="0" i="0" dirty="0">
                <a:solidFill>
                  <a:srgbClr val="1F2328"/>
                </a:solidFill>
                <a:effectLst/>
                <a:latin typeface="-apple-system"/>
              </a:rPr>
              <a:t>."</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17</a:t>
            </a:fld>
            <a:endParaRPr lang="en-US"/>
          </a:p>
        </p:txBody>
      </p:sp>
    </p:spTree>
    <p:extLst>
      <p:ext uri="{BB962C8B-B14F-4D97-AF65-F5344CB8AC3E}">
        <p14:creationId xmlns:p14="http://schemas.microsoft.com/office/powerpoint/2010/main" val="31836320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effectLst/>
                <a:latin typeface="Segoe UI"/>
                <a:cs typeface="Segoe UI"/>
              </a:rPr>
              <a:t>Speaker’s notes:</a:t>
            </a:r>
          </a:p>
          <a:p>
            <a:endParaRPr lang="en-US" b="1" i="0" dirty="0">
              <a:effectLst/>
              <a:latin typeface="Segoe UI"/>
              <a:cs typeface="Segoe UI"/>
            </a:endParaRPr>
          </a:p>
          <a:p>
            <a:r>
              <a:rPr lang="en-US" b="1" i="0" dirty="0">
                <a:effectLst/>
                <a:latin typeface="Segoe UI"/>
                <a:cs typeface="Segoe UI"/>
              </a:rPr>
              <a:t>SAY:</a:t>
            </a:r>
          </a:p>
          <a:p>
            <a:endParaRPr lang="en-US" b="0" i="0" dirty="0">
              <a:effectLst/>
              <a:latin typeface="Segoe UI"/>
              <a:cs typeface="Segoe UI"/>
            </a:endParaRPr>
          </a:p>
          <a:p>
            <a:r>
              <a:rPr lang="en-US" b="0" i="0" dirty="0">
                <a:effectLst/>
                <a:latin typeface="Segoe UI"/>
                <a:cs typeface="Segoe UI"/>
              </a:rPr>
              <a:t>This exercise will focus on cloning the code repository into your environment, configuring a GitHub project and project board, and creating a GitHub Actions workflow.</a:t>
            </a:r>
            <a:endParaRPr lang="en-US" dirty="0"/>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18</a:t>
            </a:fld>
            <a:endParaRPr lang="en-US"/>
          </a:p>
        </p:txBody>
      </p:sp>
    </p:spTree>
    <p:extLst>
      <p:ext uri="{BB962C8B-B14F-4D97-AF65-F5344CB8AC3E}">
        <p14:creationId xmlns:p14="http://schemas.microsoft.com/office/powerpoint/2010/main" val="29252213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effectLst/>
                <a:latin typeface="Segoe UI"/>
                <a:cs typeface="Segoe UI"/>
              </a:rPr>
              <a:t>Speaker’s notes:</a:t>
            </a:r>
          </a:p>
          <a:p>
            <a:endParaRPr lang="en-US" b="1" i="0" dirty="0">
              <a:effectLst/>
              <a:latin typeface="Segoe UI"/>
              <a:cs typeface="Segoe UI"/>
            </a:endParaRPr>
          </a:p>
          <a:p>
            <a:r>
              <a:rPr lang="en-US" b="1" i="0" dirty="0">
                <a:effectLst/>
                <a:latin typeface="Segoe UI"/>
                <a:cs typeface="Segoe UI"/>
              </a:rPr>
              <a:t>SAY:</a:t>
            </a:r>
          </a:p>
          <a:p>
            <a:endParaRPr lang="en-US" b="0" i="0" dirty="0">
              <a:effectLst/>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Times New Roman" panose="02020603050405020304" pitchFamily="18" charset="0"/>
              </a:rPr>
              <a:t>GitHub Projects allow development teams and project managers to manage issues, using either a scrum or kanban motif.</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19</a:t>
            </a:fld>
            <a:endParaRPr lang="en-US"/>
          </a:p>
        </p:txBody>
      </p:sp>
    </p:spTree>
    <p:extLst>
      <p:ext uri="{BB962C8B-B14F-4D97-AF65-F5344CB8AC3E}">
        <p14:creationId xmlns:p14="http://schemas.microsoft.com/office/powerpoint/2010/main" val="2323899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s notes:</a:t>
            </a:r>
          </a:p>
          <a:p>
            <a:endParaRPr lang="en-US" b="1" dirty="0"/>
          </a:p>
          <a:p>
            <a:r>
              <a:rPr lang="en-US" b="1" dirty="0"/>
              <a:t>SAY:</a:t>
            </a:r>
          </a:p>
          <a:p>
            <a:endParaRPr lang="en-US" dirty="0"/>
          </a:p>
          <a:p>
            <a:pPr marL="171450" indent="-171450">
              <a:buFont typeface="Arial" panose="020B0604020202020204" pitchFamily="34" charset="0"/>
              <a:buChar char="•"/>
            </a:pPr>
            <a:r>
              <a:rPr lang="en-US" dirty="0"/>
              <a:t>Before we proceed to the different lab exercises, let’s look at the following section which covers common challenges you may expect or experience during the exercises. </a:t>
            </a:r>
          </a:p>
          <a:p>
            <a:pPr marL="171450" indent="-171450">
              <a:buFont typeface="Arial" panose="020B0604020202020204" pitchFamily="34" charset="0"/>
              <a:buChar char="•"/>
            </a:pPr>
            <a:r>
              <a:rPr lang="en-US" dirty="0"/>
              <a:t>The details and information will provide more technical depth and context for specific tasks you may not have done or performed before.</a:t>
            </a:r>
          </a:p>
          <a:p>
            <a:pPr marL="171450" indent="-171450">
              <a:buFont typeface="Arial" panose="020B0604020202020204" pitchFamily="34" charset="0"/>
              <a:buChar char="•"/>
            </a:pPr>
            <a:r>
              <a:rPr lang="en-US" dirty="0"/>
              <a:t>This discussion gives you a forum to clarify things and ask questions.</a:t>
            </a:r>
          </a:p>
        </p:txBody>
      </p:sp>
      <p:sp>
        <p:nvSpPr>
          <p:cNvPr id="4" name="Slide Number Placeholder 3"/>
          <p:cNvSpPr>
            <a:spLocks noGrp="1"/>
          </p:cNvSpPr>
          <p:nvPr>
            <p:ph type="sldNum" sz="quarter" idx="5"/>
          </p:nvPr>
        </p:nvSpPr>
        <p:spPr/>
        <p:txBody>
          <a:bodyPr/>
          <a:lstStyle/>
          <a:p>
            <a:fld id="{8FBFA05F-1A8C-432D-BC54-796887A51DAB}" type="slidenum">
              <a:rPr lang="en-US" smtClean="0"/>
              <a:t>2</a:t>
            </a:fld>
            <a:endParaRPr lang="en-US"/>
          </a:p>
        </p:txBody>
      </p:sp>
    </p:spTree>
    <p:extLst>
      <p:ext uri="{BB962C8B-B14F-4D97-AF65-F5344CB8AC3E}">
        <p14:creationId xmlns:p14="http://schemas.microsoft.com/office/powerpoint/2010/main" val="4217681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effectLst/>
                <a:latin typeface="Segoe UI"/>
                <a:cs typeface="Segoe UI"/>
              </a:rPr>
              <a:t>Speaker’s notes:</a:t>
            </a:r>
          </a:p>
          <a:p>
            <a:endParaRPr lang="en-US" b="1" i="0" dirty="0">
              <a:effectLst/>
              <a:latin typeface="Segoe UI"/>
              <a:cs typeface="Segoe UI"/>
            </a:endParaRPr>
          </a:p>
          <a:p>
            <a:r>
              <a:rPr lang="en-US" b="1" i="0" dirty="0">
                <a:effectLst/>
                <a:latin typeface="Segoe UI"/>
                <a:cs typeface="Segoe UI"/>
              </a:rPr>
              <a:t>SAY:</a:t>
            </a:r>
          </a:p>
          <a:p>
            <a:endParaRPr lang="en-US" b="0" i="0" dirty="0">
              <a:effectLst/>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create a series of issues on a project board and see how you can manipulate the board to keep track of the status of issues. You will assign issues to teammates and add a custom field to issu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endParaRPr lang="en-US" b="0" i="0" dirty="0">
              <a:effectLst/>
              <a:latin typeface="Segoe UI"/>
              <a:cs typeface="Segoe UI"/>
            </a:endParaRP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20</a:t>
            </a:fld>
            <a:endParaRPr lang="en-US"/>
          </a:p>
        </p:txBody>
      </p:sp>
    </p:spTree>
    <p:extLst>
      <p:ext uri="{BB962C8B-B14F-4D97-AF65-F5344CB8AC3E}">
        <p14:creationId xmlns:p14="http://schemas.microsoft.com/office/powerpoint/2010/main" val="11557243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dirty="0">
                <a:solidFill>
                  <a:schemeClr val="accent3">
                    <a:lumMod val="50000"/>
                  </a:schemeClr>
                </a:solidFill>
                <a:effectLst/>
                <a:latin typeface="+mj-lt"/>
              </a:rPr>
              <a:t>Speaker’s notes:</a:t>
            </a:r>
          </a:p>
          <a:p>
            <a:endParaRPr lang="en-US" sz="1200" b="0" i="0" dirty="0">
              <a:solidFill>
                <a:schemeClr val="accent3">
                  <a:lumMod val="50000"/>
                </a:schemeClr>
              </a:solidFill>
              <a:effectLst/>
              <a:latin typeface="+mj-lt"/>
            </a:endParaRPr>
          </a:p>
          <a:p>
            <a:r>
              <a:rPr lang="en-US" sz="1200" b="0" i="0" dirty="0">
                <a:solidFill>
                  <a:schemeClr val="accent3">
                    <a:lumMod val="50000"/>
                  </a:schemeClr>
                </a:solidFill>
                <a:effectLst/>
                <a:latin typeface="+mj-lt"/>
              </a:rPr>
              <a:t>Comment from Daniel: It might be worth showing an example of the solution GitHub workflow from the Coach material and annotating it with the various different sections of a workflow covering </a:t>
            </a:r>
          </a:p>
          <a:p>
            <a:pPr marL="457200" indent="-457200">
              <a:buFont typeface="Arial" panose="020B0604020202020204" pitchFamily="34" charset="0"/>
              <a:buChar char="•"/>
            </a:pPr>
            <a:r>
              <a:rPr lang="en-US" sz="1200" b="0" i="0" dirty="0">
                <a:solidFill>
                  <a:schemeClr val="accent3">
                    <a:lumMod val="50000"/>
                  </a:schemeClr>
                </a:solidFill>
                <a:effectLst/>
                <a:latin typeface="+mj-lt"/>
              </a:rPr>
              <a:t>Variables</a:t>
            </a:r>
          </a:p>
          <a:p>
            <a:pPr marL="457200" indent="-457200">
              <a:buFont typeface="Arial" panose="020B0604020202020204" pitchFamily="34" charset="0"/>
              <a:buChar char="•"/>
            </a:pPr>
            <a:r>
              <a:rPr lang="en-US" sz="1200" b="0" i="0" dirty="0">
                <a:solidFill>
                  <a:schemeClr val="accent3">
                    <a:lumMod val="50000"/>
                  </a:schemeClr>
                </a:solidFill>
                <a:effectLst/>
                <a:latin typeface="+mj-lt"/>
              </a:rPr>
              <a:t>Tasks</a:t>
            </a:r>
          </a:p>
          <a:p>
            <a:pPr marL="457200" indent="-457200">
              <a:buFont typeface="Arial" panose="020B0604020202020204" pitchFamily="34" charset="0"/>
              <a:buChar char="•"/>
            </a:pPr>
            <a:r>
              <a:rPr lang="en-US" sz="1200" b="0" i="0" dirty="0">
                <a:solidFill>
                  <a:schemeClr val="accent3">
                    <a:lumMod val="50000"/>
                  </a:schemeClr>
                </a:solidFill>
                <a:effectLst/>
                <a:latin typeface="+mj-lt"/>
              </a:rPr>
              <a:t>Expressions</a:t>
            </a:r>
          </a:p>
          <a:p>
            <a:pPr marL="457200" indent="-457200">
              <a:buFont typeface="Arial" panose="020B0604020202020204" pitchFamily="34" charset="0"/>
              <a:buChar char="•"/>
            </a:pPr>
            <a:r>
              <a:rPr lang="en-US" sz="1200" b="0" i="0" dirty="0">
                <a:solidFill>
                  <a:schemeClr val="accent3">
                    <a:lumMod val="50000"/>
                  </a:schemeClr>
                </a:solidFill>
                <a:effectLst/>
                <a:latin typeface="+mj-lt"/>
              </a:rPr>
              <a:t>etc.</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21</a:t>
            </a:fld>
            <a:endParaRPr lang="en-US"/>
          </a:p>
        </p:txBody>
      </p:sp>
    </p:spTree>
    <p:extLst>
      <p:ext uri="{BB962C8B-B14F-4D97-AF65-F5344CB8AC3E}">
        <p14:creationId xmlns:p14="http://schemas.microsoft.com/office/powerpoint/2010/main" val="15045499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22</a:t>
            </a:fld>
            <a:endParaRPr lang="en-US"/>
          </a:p>
        </p:txBody>
      </p:sp>
    </p:spTree>
    <p:extLst>
      <p:ext uri="{BB962C8B-B14F-4D97-AF65-F5344CB8AC3E}">
        <p14:creationId xmlns:p14="http://schemas.microsoft.com/office/powerpoint/2010/main" val="17771377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23</a:t>
            </a:fld>
            <a:endParaRPr lang="en-US"/>
          </a:p>
        </p:txBody>
      </p:sp>
    </p:spTree>
    <p:extLst>
      <p:ext uri="{BB962C8B-B14F-4D97-AF65-F5344CB8AC3E}">
        <p14:creationId xmlns:p14="http://schemas.microsoft.com/office/powerpoint/2010/main" val="41024321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24</a:t>
            </a:fld>
            <a:endParaRPr lang="en-US"/>
          </a:p>
        </p:txBody>
      </p:sp>
    </p:spTree>
    <p:extLst>
      <p:ext uri="{BB962C8B-B14F-4D97-AF65-F5344CB8AC3E}">
        <p14:creationId xmlns:p14="http://schemas.microsoft.com/office/powerpoint/2010/main" val="23989476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s notes:</a:t>
            </a:r>
          </a:p>
          <a:p>
            <a:endParaRPr lang="en-US" dirty="0"/>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25</a:t>
            </a:fld>
            <a:endParaRPr lang="en-US"/>
          </a:p>
        </p:txBody>
      </p:sp>
    </p:spTree>
    <p:extLst>
      <p:ext uri="{BB962C8B-B14F-4D97-AF65-F5344CB8AC3E}">
        <p14:creationId xmlns:p14="http://schemas.microsoft.com/office/powerpoint/2010/main" val="20384729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solidFill>
                  <a:srgbClr val="000000"/>
                </a:solidFill>
                <a:effectLst/>
                <a:latin typeface="Times New Roman"/>
                <a:ea typeface="Calibri" panose="020F0502020204030204" pitchFamily="34" charset="0"/>
                <a:cs typeface="Times New Roman"/>
              </a:rPr>
              <a:t>Speaker’s notes:</a:t>
            </a:r>
          </a:p>
          <a:p>
            <a:pPr algn="l"/>
            <a:endParaRPr lang="en-US" dirty="0">
              <a:solidFill>
                <a:srgbClr val="000000"/>
              </a:solidFill>
              <a:effectLst/>
              <a:latin typeface="Times New Roman"/>
              <a:ea typeface="Calibri" panose="020F0502020204030204" pitchFamily="34" charset="0"/>
              <a:cs typeface="Times New Roman"/>
            </a:endParaRPr>
          </a:p>
          <a:p>
            <a:pPr marL="171450" indent="-171450" algn="l">
              <a:buFont typeface="Arial" panose="020B0604020202020204" pitchFamily="34" charset="0"/>
              <a:buChar char="•"/>
            </a:pPr>
            <a:r>
              <a:rPr lang="en-US" dirty="0">
                <a:solidFill>
                  <a:srgbClr val="000000"/>
                </a:solidFill>
                <a:effectLst/>
                <a:latin typeface="Times New Roman"/>
                <a:ea typeface="Calibri" panose="020F0502020204030204" pitchFamily="34" charset="0"/>
                <a:cs typeface="Times New Roman"/>
              </a:rPr>
              <a:t>Display the slide to signal the start of Exercise 1.</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br>
              <a:rPr lang="en-US" sz="1200" b="1" i="0" dirty="0">
                <a:solidFill>
                  <a:schemeClr val="tx1"/>
                </a:solidFill>
                <a:effectLst/>
                <a:latin typeface="Segoe UI"/>
                <a:ea typeface="Calibri" panose="020F0502020204030204" pitchFamily="34" charset="0"/>
                <a:cs typeface="Segoe UI"/>
              </a:rPr>
            </a:b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o start of this series of labs, you need a box with the appropriate software and configuration to be able to perform various development activiti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is exercise will guide you through all the steps necessarily to be able to setup and configure Dev Box in Azure the way the architecture was defined. You’ll be able to use that Dev Box to perform that various development </a:t>
            </a:r>
            <a:r>
              <a:rPr lang="en-US" b="0" i="0" dirty="0" err="1">
                <a:solidFill>
                  <a:srgbClr val="000000"/>
                </a:solidFill>
                <a:effectLst/>
                <a:latin typeface="Times New Roman" panose="02020603050405020304" pitchFamily="18" charset="0"/>
              </a:rPr>
              <a:t>activites</a:t>
            </a:r>
            <a:r>
              <a:rPr lang="en-US" b="0" i="0" dirty="0">
                <a:solidFill>
                  <a:srgbClr val="000000"/>
                </a:solidFill>
                <a:effectLst/>
                <a:latin typeface="Times New Roman" panose="02020603050405020304" pitchFamily="18" charset="0"/>
              </a:rPr>
              <a:t> through the rest of this training and have the software pre-installed in the custom image you’ll creat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exercise, you’ll create Dev Box, create a custom image, assign that image to Dev Box and create a Dev Box to be used for the training.</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exercise, you'll be able to:</a:t>
            </a:r>
          </a:p>
          <a:p>
            <a:pPr marL="171450" indent="-171450" algn="l">
              <a:buFont typeface="Arial" panose="020B0604020202020204" pitchFamily="34" charset="0"/>
              <a:buChar char="•"/>
            </a:pPr>
            <a:r>
              <a:rPr lang="en-US" b="0" i="0" dirty="0">
                <a:solidFill>
                  <a:srgbClr val="1F2328"/>
                </a:solidFill>
                <a:effectLst/>
                <a:latin typeface="-apple-system"/>
              </a:rPr>
              <a:t>Setup the Azure Dev Box Service</a:t>
            </a:r>
          </a:p>
          <a:p>
            <a:pPr marL="171450" indent="-171450" algn="l">
              <a:buFont typeface="Arial" panose="020B0604020202020204" pitchFamily="34" charset="0"/>
              <a:buChar char="•"/>
            </a:pPr>
            <a:r>
              <a:rPr lang="en-US" b="0" i="0" dirty="0">
                <a:solidFill>
                  <a:srgbClr val="1F2328"/>
                </a:solidFill>
                <a:effectLst/>
                <a:latin typeface="-apple-system"/>
              </a:rPr>
              <a:t>Create a VM that can be used to configure a custom image to be used in Dev Box</a:t>
            </a:r>
          </a:p>
          <a:p>
            <a:pPr marL="171450" indent="-171450" algn="l">
              <a:buFont typeface="Arial" panose="020B0604020202020204" pitchFamily="34" charset="0"/>
              <a:buChar char="•"/>
            </a:pPr>
            <a:r>
              <a:rPr lang="en-US" b="0" i="0" dirty="0">
                <a:solidFill>
                  <a:srgbClr val="1F2328"/>
                </a:solidFill>
                <a:effectLst/>
                <a:latin typeface="-apple-system"/>
              </a:rPr>
              <a:t>Assign that custom image to a Dev Box definition and subsequent Dev Pool</a:t>
            </a:r>
          </a:p>
          <a:p>
            <a:pPr marL="171450" indent="-171450" algn="l">
              <a:buFont typeface="Arial" panose="020B0604020202020204" pitchFamily="34" charset="0"/>
              <a:buChar char="•"/>
            </a:pPr>
            <a:r>
              <a:rPr lang="en-US" b="0" i="0" dirty="0">
                <a:solidFill>
                  <a:srgbClr val="1F2328"/>
                </a:solidFill>
                <a:effectLst/>
                <a:latin typeface="-apple-system"/>
              </a:rPr>
              <a:t>Configure permissions so users an create and login to their dev box</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a:solidFill>
                  <a:srgbClr val="FFFFFF"/>
                </a:solidFill>
                <a:latin typeface="Segoe UI"/>
                <a:cs typeface="Segoe UI"/>
              </a:rPr>
              <a:t>Speaker’s Notes:</a:t>
            </a:r>
          </a:p>
          <a:p>
            <a:endParaRPr lang="en-US" sz="1400" b="1" dirty="0">
              <a:solidFill>
                <a:srgbClr val="FFFFFF"/>
              </a:solidFill>
              <a:latin typeface="Segoe UI"/>
              <a:cs typeface="Segoe UI"/>
            </a:endParaRPr>
          </a:p>
          <a:p>
            <a:r>
              <a:rPr lang="en-US" b="1" i="0" dirty="0">
                <a:effectLst/>
                <a:latin typeface="Segoe UI"/>
                <a:cs typeface="Segoe UI"/>
              </a:rPr>
              <a:t>SAY:</a:t>
            </a:r>
          </a:p>
          <a:p>
            <a:endParaRPr lang="en-US" b="0" i="0" dirty="0">
              <a:effectLst/>
              <a:latin typeface="Segoe UI"/>
              <a:cs typeface="Segoe UI"/>
            </a:endParaRPr>
          </a:p>
          <a:p>
            <a:r>
              <a:rPr lang="en-US" b="0" i="0" dirty="0">
                <a:effectLst/>
                <a:latin typeface="Segoe UI"/>
                <a:cs typeface="Segoe UI"/>
              </a:rPr>
              <a:t>The exercise will focus on creating a custom Dev Box setup for Munson’s Pickles and Preserves</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
                <a:ea typeface="+mn-ea"/>
                <a:cs typeface="+mn-cs"/>
              </a:rPr>
              <a:t>Exercise 01: </a:t>
            </a:r>
            <a:r>
              <a:rPr lang="en-US" b="1" dirty="0">
                <a:solidFill>
                  <a:srgbClr val="569CD6"/>
                </a:solidFill>
                <a:effectLst/>
                <a:latin typeface="Menlo" panose="020B0609030804020204" pitchFamily="49" charset="0"/>
              </a:rPr>
              <a:t>Set up the development environment</a:t>
            </a:r>
            <a:endParaRPr lang="en-US" b="0" dirty="0">
              <a:solidFill>
                <a:srgbClr val="CCCCCC"/>
              </a:solidFill>
              <a:effectLst/>
              <a:latin typeface="Menlo" panose="020B0609030804020204" pitchFamily="49" charset="0"/>
            </a:endParaRP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For Dev Box, most of the configuration aspects of it are contained with the Dev Center service in Azure. The only two things that really need to live outside of it are the network you wan the dev boxes to connect to as well as either Active Directory or </a:t>
            </a:r>
            <a:r>
              <a:rPr lang="en-US" b="0" dirty="0" err="1">
                <a:solidFill>
                  <a:srgbClr val="FFFFFF"/>
                </a:solidFill>
                <a:latin typeface="Segoe UI "/>
              </a:rPr>
              <a:t>Entra</a:t>
            </a:r>
            <a:r>
              <a:rPr lang="en-US" b="0" dirty="0">
                <a:solidFill>
                  <a:srgbClr val="FFFFFF"/>
                </a:solidFill>
                <a:latin typeface="Segoe UI "/>
              </a:rPr>
              <a:t> ID (Azure AD) for user authentication. In our case, we’ll just create a basic network to connect to, but in a customer scenario, this could be their corporate network or the network all the development servers are on, or any other network they’ve created with resourced needed by the Developers. For Authentication, Active Directory or Microsoft </a:t>
            </a:r>
            <a:r>
              <a:rPr lang="en-US" b="0" dirty="0" err="1">
                <a:solidFill>
                  <a:srgbClr val="FFFFFF"/>
                </a:solidFill>
                <a:latin typeface="Segoe UI "/>
              </a:rPr>
              <a:t>Entra</a:t>
            </a:r>
            <a:r>
              <a:rPr lang="en-US" b="0" dirty="0">
                <a:solidFill>
                  <a:srgbClr val="FFFFFF"/>
                </a:solidFill>
                <a:latin typeface="Segoe UI "/>
              </a:rPr>
              <a:t> ID can be used. Most enterprise customer will probably still have AD they may want to use, but again for simplicity in this exercise, we’ll just use Microsoft </a:t>
            </a:r>
            <a:r>
              <a:rPr lang="en-US" b="0" dirty="0" err="1">
                <a:solidFill>
                  <a:srgbClr val="FFFFFF"/>
                </a:solidFill>
                <a:latin typeface="Segoe UI "/>
              </a:rPr>
              <a:t>Entra</a:t>
            </a:r>
            <a:r>
              <a:rPr lang="en-US" b="0" dirty="0">
                <a:solidFill>
                  <a:srgbClr val="FFFFFF"/>
                </a:solidFill>
                <a:latin typeface="Segoe UI "/>
              </a:rPr>
              <a:t> ID.</a:t>
            </a: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b="0"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The only other thing that you may need to do outside of Dev Center is if you need a custom image like we’ll create in this exercise. If you just want to use one of the Microsoft Provide images, you can create a Dev Box from a standard Image as well.</a:t>
            </a: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b="0"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Within Dev Center, there are several components:</a:t>
            </a: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b="0"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Dev Box Definitions: These are just custom images you’ve created and defined to be used within the Dev Center.</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Azure computer galleries: This as the galleries in Azure that hold the custom images used to create your Dev Box Definitions.</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Network Connection: Within Dev Center, you need to specify a network connection that you will use to connect the VMs in Dev Center to a network of your choosing.</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Projects: Projects are the particular development project a dev box belongs to. This enables you to even setup permissions at the project level so someone outside of “normal” Azure administration could define dev box and setup permissions for developers to be able to login and use Dev Box</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Dev Box Pools: This is a virtual machine pool. Each pool is assigned a dev box definition. Developers can be assigned to one or more pools. The developer can then create and access a Virtual Machine within that pool to perform their development activities. Administrators can see how many virtual machines have been created in each pool.</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Dev Box enable you to create multiple Dev Box configurations/definitions within Azure. This provides a couple advantages. First, you can create a standard image so you know all your developers are starting on a common framework with the same software and versions of the software installed. Since you can also create multiple definitions, you can have separate </a:t>
            </a:r>
            <a:r>
              <a:rPr lang="en-US" b="0" i="0" dirty="0" err="1">
                <a:solidFill>
                  <a:srgbClr val="000000"/>
                </a:solidFill>
                <a:effectLst/>
                <a:latin typeface="Times New Roman" panose="02020603050405020304" pitchFamily="18" charset="0"/>
              </a:rPr>
              <a:t>denifitions</a:t>
            </a:r>
            <a:r>
              <a:rPr lang="en-US" b="0" i="0" dirty="0">
                <a:solidFill>
                  <a:srgbClr val="000000"/>
                </a:solidFill>
                <a:effectLst/>
                <a:latin typeface="Times New Roman" panose="02020603050405020304" pitchFamily="18" charset="0"/>
              </a:rPr>
              <a:t> for all of your products. If a developers needs to switch between projects they are developing, they can easily spin up and switch between VMs. This isolates the environments from each other, so developers are worried about effecting their configuration for one development project when </a:t>
            </a:r>
            <a:r>
              <a:rPr lang="en-US" b="0" i="0" dirty="0" err="1">
                <a:solidFill>
                  <a:srgbClr val="000000"/>
                </a:solidFill>
                <a:effectLst/>
                <a:latin typeface="Times New Roman" panose="02020603050405020304" pitchFamily="18" charset="0"/>
              </a:rPr>
              <a:t>when</a:t>
            </a:r>
            <a:r>
              <a:rPr lang="en-US" b="0" i="0" dirty="0">
                <a:solidFill>
                  <a:srgbClr val="000000"/>
                </a:solidFill>
                <a:effectLst/>
                <a:latin typeface="Times New Roman" panose="02020603050405020304" pitchFamily="18" charset="0"/>
              </a:rPr>
              <a:t> working on a second development project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Using Dev Box, also creates a secure way to connect to the virtual machine as it uses the Azure Virtual Desktop infrastructure under the covers. So rather than connecting to a development machine over RDP, they can use the browser or the Remote Desktop client to connect to a Dev Box workspaces associated with their corporate account too remotely connect to the dev box to perform their activitie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s Notes: (From the slide previous to this one, might be relevant for this slide)</a:t>
            </a:r>
          </a:p>
          <a:p>
            <a:endParaRPr lang="en-US" dirty="0"/>
          </a:p>
          <a:p>
            <a:pPr algn="l" rtl="0" fontAlgn="base"/>
            <a:r>
              <a:rPr lang="en-US" b="0" i="0" u="none" strike="noStrike" dirty="0">
                <a:solidFill>
                  <a:srgbClr val="000000"/>
                </a:solidFill>
                <a:effectLst/>
                <a:latin typeface="Calibri" panose="020F0502020204030204" pitchFamily="34" charset="0"/>
              </a:rPr>
              <a:t>Dev box creation starts with three core components—a Dev center to act as the hub for managing dev box components across projects, preconfigured network connections to best serve developers in any region, and dev box definitions that bring together a Windows 10 or 11 image with a dev box SKU to define compute, RAM, and storage.</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Calibri" panose="020F0502020204030204" pitchFamily="34" charset="0"/>
              </a:rPr>
              <a:t>When getting started with Dev Box, IT or dev infra admins login to the Azure portal to create a new Dev center. Dev centers act as a hub for teams to manage dev box components across projects, enabling project admins to create dev pools from the components attached to a Dev center to create dev box pools for their projects. But what are those components?</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Calibri" panose="020F0502020204030204" pitchFamily="34" charset="0"/>
              </a:rPr>
              <a:t>First and foremost, network connections are predefined configurations that establish the Azure region in which a dev box will deploy, the virtual networks and subnets it will connect to, and whether it will use native or hybrid AD Join. By predefining network connections, teams can ensure complete control over network activity, including inbound and outbound connections and firewall settings. This also enables teams to support the needs of geographically diverse teams and ensure the best user experience wherever the developer is based in the world.</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Calibri" panose="020F0502020204030204" pitchFamily="34" charset="0"/>
              </a:rPr>
              <a:t>In addition to network connections, dev box definitions combine images and SKUs to establish the image, compute, RAM, and storage a dev box will use when deployed. Dev boxes can be created using a Windows 10 or 11 image from the Azure Marketplace, or a preconfigured custom image from your Azure compute gallery. Admins can also set the version of the image that the dev box will deploy with or set the dev box to always use the latest version of the image to ensure all developers are working in the same environment. This image is combined with a SKU that defines the dev box’s compute, RAM, and storage capacity, meaning dev leads can match the compute load to the tasks developers will be using the dev box for.</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Calibri" panose="020F0502020204030204" pitchFamily="34" charset="0"/>
              </a:rPr>
              <a:t>---</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Calibri" panose="020F0502020204030204" pitchFamily="34" charset="0"/>
              </a:rPr>
              <a:t>Create Dev centers from the Azure portal to act as a hub for teams to manage dev box components across projects. Share resources across projects hosted on the same Dev center, and give dev leads ownership to configure dev boxes with the right components for their teams.</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Calibri" panose="020F0502020204030204" pitchFamily="34" charset="0"/>
              </a:rPr>
              <a:t>Configure Network Connections that predefine where dev boxes deploy and what virtual networks they use to cater to geographically diverse teams. Use either native or hybrid AD Join to enable secure access to workstations, and establish complete control over network activity.</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Calibri" panose="020F0502020204030204" pitchFamily="34" charset="0"/>
              </a:rPr>
              <a:t>Combine images and SKUs in dev box definitions. Select a Windows 10 or 11 image and version from the Azure Marketplace, or use a pre-configured custom image from your Azure compute gallery, and pair it with a dev box SKU that defines compute, RAM, and storage. </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3</a:t>
            </a:fld>
            <a:endParaRPr lang="en-US"/>
          </a:p>
        </p:txBody>
      </p:sp>
    </p:spTree>
    <p:extLst>
      <p:ext uri="{BB962C8B-B14F-4D97-AF65-F5344CB8AC3E}">
        <p14:creationId xmlns:p14="http://schemas.microsoft.com/office/powerpoint/2010/main" val="17249419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effectLst/>
                <a:latin typeface="Calibri"/>
                <a:cs typeface="Calibri"/>
              </a:rPr>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000000"/>
                </a:solidFill>
                <a:effectLst/>
                <a:latin typeface="Calibri"/>
                <a:cs typeface="Calibri"/>
              </a:rPr>
              <a:t>After the team completes exercise 1, briefly go through the list of tasks covered in the exercise as a form of re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000000"/>
                </a:solidFill>
                <a:effectLst/>
                <a:latin typeface="Calibri"/>
                <a:cs typeface="Calibri"/>
              </a:rPr>
              <a:t>Inform the group that no debrief will be conducted for exercise 1, as a combined debrief will be done for both exercises 1 and 2 at the end of exercise 2.</a:t>
            </a:r>
            <a:endParaRPr lang="en-US" b="1" dirty="0">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41146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1" dirty="0">
                <a:solidFill>
                  <a:srgbClr val="000000"/>
                </a:solidFill>
                <a:effectLst/>
                <a:latin typeface="Times New Roman"/>
                <a:ea typeface="Calibri" panose="020F0502020204030204" pitchFamily="34" charset="0"/>
                <a:cs typeface="Times New Roman"/>
              </a:rPr>
              <a:t>Speaker’s notes:</a:t>
            </a:r>
          </a:p>
          <a:p>
            <a:pPr algn="l"/>
            <a:endParaRPr lang="en-US" sz="900" dirty="0">
              <a:solidFill>
                <a:srgbClr val="000000"/>
              </a:solidFill>
              <a:effectLst/>
              <a:latin typeface="Times New Roman"/>
              <a:ea typeface="Calibri" panose="020F0502020204030204" pitchFamily="34" charset="0"/>
              <a:cs typeface="Times New Roman"/>
            </a:endParaRPr>
          </a:p>
          <a:p>
            <a:pPr marL="171450" indent="-171450" algn="l">
              <a:buFont typeface="Arial" panose="020B0604020202020204" pitchFamily="34" charset="0"/>
              <a:buChar char="•"/>
            </a:pPr>
            <a:r>
              <a:rPr lang="en-US" sz="900" dirty="0">
                <a:solidFill>
                  <a:srgbClr val="000000"/>
                </a:solidFill>
                <a:effectLst/>
                <a:latin typeface="Times New Roman"/>
                <a:ea typeface="Calibri" panose="020F0502020204030204" pitchFamily="34" charset="0"/>
                <a:cs typeface="Times New Roman"/>
              </a:rPr>
              <a:t>Display the slide to signal the start of Exercise 2.</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In the previous exercise, you created a Dev Box to perform development work.</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In this exercise, you will create a GitHub repository and work through some of the mechanics of </a:t>
            </a:r>
            <a:r>
              <a:rPr lang="en-US" b="0" i="0" dirty="0" err="1">
                <a:solidFill>
                  <a:srgbClr val="000000"/>
                </a:solidFill>
                <a:effectLst/>
                <a:latin typeface="Times New Roman" panose="02020603050405020304" pitchFamily="18" charset="0"/>
              </a:rPr>
              <a:t>GitOps</a:t>
            </a:r>
            <a:r>
              <a:rPr lang="en-US" b="0" i="0" dirty="0">
                <a:solidFill>
                  <a:srgbClr val="000000"/>
                </a:solidFill>
                <a:effectLst/>
                <a:latin typeface="Times New Roman" panose="02020603050405020304" pitchFamily="18" charset="0"/>
              </a:rPr>
              <a:t>, including project board management, issue management, and the creation of a GitHub Actions workflow.</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exercise, you'll be able to:</a:t>
            </a:r>
          </a:p>
          <a:p>
            <a:pPr marL="171450" indent="-171450" algn="l">
              <a:buFont typeface="Arial" panose="020B0604020202020204" pitchFamily="34" charset="0"/>
              <a:buChar char="•"/>
            </a:pPr>
            <a:r>
              <a:rPr lang="en-US" b="0" i="0" dirty="0">
                <a:solidFill>
                  <a:srgbClr val="1F2328"/>
                </a:solidFill>
                <a:effectLst/>
                <a:latin typeface="-apple-system"/>
              </a:rPr>
              <a:t>Create a GitHub repository</a:t>
            </a:r>
          </a:p>
          <a:p>
            <a:pPr marL="171450" indent="-171450" algn="l">
              <a:buFont typeface="Arial" panose="020B0604020202020204" pitchFamily="34" charset="0"/>
              <a:buChar char="•"/>
            </a:pPr>
            <a:r>
              <a:rPr lang="en-US" b="0" i="0" dirty="0">
                <a:solidFill>
                  <a:srgbClr val="1F2328"/>
                </a:solidFill>
                <a:effectLst/>
                <a:latin typeface="-apple-system"/>
              </a:rPr>
              <a:t>Create a GitHub Project</a:t>
            </a:r>
          </a:p>
          <a:p>
            <a:pPr marL="171450" indent="-171450" algn="l">
              <a:buFont typeface="Arial" panose="020B0604020202020204" pitchFamily="34" charset="0"/>
              <a:buChar char="•"/>
            </a:pPr>
            <a:r>
              <a:rPr lang="en-US" b="0" i="0" dirty="0">
                <a:solidFill>
                  <a:srgbClr val="1F2328"/>
                </a:solidFill>
                <a:effectLst/>
                <a:latin typeface="-apple-system"/>
              </a:rPr>
              <a:t>Assign issues to teammates and navigate a project board</a:t>
            </a:r>
          </a:p>
          <a:p>
            <a:pPr marL="171450" indent="-171450" algn="l">
              <a:buFont typeface="Arial" panose="020B0604020202020204" pitchFamily="34" charset="0"/>
              <a:buChar char="•"/>
            </a:pPr>
            <a:r>
              <a:rPr lang="en-US" b="0" i="0" dirty="0">
                <a:solidFill>
                  <a:srgbClr val="1F2328"/>
                </a:solidFill>
                <a:effectLst/>
                <a:latin typeface="-apple-system"/>
              </a:rPr>
              <a:t>Add custom fields to issues</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a:t>
            </a:r>
          </a:p>
          <a:p>
            <a:pPr marL="171450" indent="-171450" algn="l">
              <a:buFont typeface="Arial" panose="020B0604020202020204" pitchFamily="34" charset="0"/>
              <a:buChar char="•"/>
            </a:pPr>
            <a:r>
              <a:rPr lang="en-US" b="0" i="0" dirty="0">
                <a:solidFill>
                  <a:srgbClr val="1F2328"/>
                </a:solidFill>
                <a:effectLst/>
                <a:latin typeface="-apple-system"/>
              </a:rPr>
              <a:t>Extend a GitHub Actions workflow with multiple jobs</a:t>
            </a:r>
          </a:p>
          <a:p>
            <a:pPr marL="171450" indent="-171450" algn="l">
              <a:buFont typeface="Arial" panose="020B0604020202020204" pitchFamily="34" charset="0"/>
              <a:buChar char="•"/>
            </a:pPr>
            <a:r>
              <a:rPr lang="en-US" b="0" i="0" dirty="0">
                <a:solidFill>
                  <a:srgbClr val="1F2328"/>
                </a:solidFill>
                <a:effectLst/>
                <a:latin typeface="-apple-system"/>
              </a:rPr>
              <a:t>Incorporate workflow actions from the GitHub Marketplace</a:t>
            </a:r>
          </a:p>
          <a:p>
            <a:pPr marL="171450" indent="-171450" algn="l">
              <a:buFont typeface="Arial" panose="020B0604020202020204" pitchFamily="34" charset="0"/>
              <a:buChar char="•"/>
            </a:pPr>
            <a:endParaRPr lang="en-US" b="0" i="0" dirty="0">
              <a:solidFill>
                <a:srgbClr val="1F2328"/>
              </a:solidFill>
              <a:effectLst/>
              <a:latin typeface="-apple-syste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F2328"/>
                </a:solidFill>
                <a:effectLst/>
                <a:latin typeface="-apple-system"/>
              </a:rPr>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Inform Students that the instructions for completing the exercises are in the GitHub link TB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Proceed with the exercise.</a:t>
            </a:r>
          </a:p>
          <a:p>
            <a:pPr marL="0" indent="0" algn="l">
              <a:buFont typeface="Arial" panose="020B0604020202020204" pitchFamily="34" charset="0"/>
              <a:buNone/>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effectLst/>
                <a:latin typeface="Segoe UI"/>
                <a:cs typeface="Segoe UI"/>
              </a:rPr>
              <a:t>Speaker’s notes:</a:t>
            </a:r>
          </a:p>
          <a:p>
            <a:endParaRPr lang="en-US" b="1" i="0" dirty="0">
              <a:effectLst/>
              <a:latin typeface="Segoe UI"/>
              <a:cs typeface="Segoe UI"/>
            </a:endParaRPr>
          </a:p>
          <a:p>
            <a:r>
              <a:rPr lang="en-US" b="1" i="0" dirty="0">
                <a:effectLst/>
                <a:latin typeface="Segoe UI"/>
                <a:cs typeface="Segoe UI"/>
              </a:rPr>
              <a:t>SAY:</a:t>
            </a:r>
          </a:p>
          <a:p>
            <a:endParaRPr lang="en-US" b="0" i="0" dirty="0">
              <a:effectLst/>
              <a:latin typeface="Segoe UI"/>
              <a:cs typeface="Segoe UI"/>
            </a:endParaRPr>
          </a:p>
          <a:p>
            <a:r>
              <a:rPr lang="en-US" b="0" i="0" dirty="0">
                <a:effectLst/>
                <a:latin typeface="Segoe UI"/>
                <a:cs typeface="Segoe UI"/>
              </a:rPr>
              <a:t>This exercise will focus on cloning the code repository into your environment, configuring a GitHub project and project board, and creating a GitHub Actions workflow.</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Projects allow development teams and project managers to manage issues, using either a scrum or kanban motif.</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create a series of issues on a project board and see how you can manipulate the board to keep track of the status of issues. You will assign issues to teammates and add a custom field to issu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ctions workflows allow you to perform actions on specific events, such as push code into a branch, creating a pull request, creating an issue, or manual execu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or this first workflow, you will create a workflow which executes manually. In it, there will be two jobs. The first job will write statements into logs. The second will use the “</a:t>
            </a:r>
            <a:r>
              <a:rPr lang="en-US" b="0" i="0" dirty="0" err="1">
                <a:solidFill>
                  <a:srgbClr val="000000"/>
                </a:solidFill>
                <a:effectLst/>
                <a:latin typeface="Times New Roman" panose="02020603050405020304" pitchFamily="18" charset="0"/>
              </a:rPr>
              <a:t>cowsays</a:t>
            </a:r>
            <a:r>
              <a:rPr lang="en-US" b="0" i="0" dirty="0">
                <a:solidFill>
                  <a:srgbClr val="000000"/>
                </a:solidFill>
                <a:effectLst/>
                <a:latin typeface="Times New Roman" panose="02020603050405020304" pitchFamily="18" charset="0"/>
              </a:rPr>
              <a:t>” action from the GitHub Marketplace to write a statement into the log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8800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effectLst/>
                <a:latin typeface="Calibri"/>
                <a:cs typeface="Calibri"/>
              </a:rPr>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000000"/>
                </a:solidFill>
                <a:effectLst/>
                <a:latin typeface="Calibri"/>
                <a:cs typeface="Calibri"/>
              </a:rPr>
              <a:t>After the team completes exercise 2, briefly go through the list of tasks covered in the exercise as a form of review.</a:t>
            </a:r>
            <a:endParaRPr lang="en-US" b="0" dirty="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84085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eaker’s Notes:</a:t>
            </a:r>
          </a:p>
          <a:p>
            <a:endParaRPr lang="en-US" dirty="0">
              <a:cs typeface="Calibri"/>
            </a:endParaRPr>
          </a:p>
          <a:p>
            <a:pPr marL="171450" indent="-171450">
              <a:buFont typeface="Arial" panose="020B0604020202020204" pitchFamily="34" charset="0"/>
              <a:buChar char="•"/>
            </a:pPr>
            <a:r>
              <a:rPr lang="en-US" dirty="0">
                <a:cs typeface="Calibri"/>
              </a:rPr>
              <a:t>These questions are available in the Student’s guide as well.</a:t>
            </a:r>
          </a:p>
          <a:p>
            <a:pPr marL="171450" indent="-171450">
              <a:buFont typeface="Arial" panose="020B0604020202020204" pitchFamily="34" charset="0"/>
              <a:buChar char="•"/>
            </a:pPr>
            <a:r>
              <a:rPr lang="en-US" dirty="0">
                <a:cs typeface="Calibri"/>
              </a:rPr>
              <a:t>If you are short on time, have Students select one reflection or discussion point they would like to answer.</a:t>
            </a:r>
          </a:p>
          <a:p>
            <a:endParaRPr lang="en-US" dirty="0">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38</a:t>
            </a:fld>
            <a:endParaRPr lang="en-US"/>
          </a:p>
        </p:txBody>
      </p:sp>
    </p:spTree>
    <p:extLst>
      <p:ext uri="{BB962C8B-B14F-4D97-AF65-F5344CB8AC3E}">
        <p14:creationId xmlns:p14="http://schemas.microsoft.com/office/powerpoint/2010/main" val="4099471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1" dirty="0">
                <a:solidFill>
                  <a:srgbClr val="000000"/>
                </a:solidFill>
                <a:effectLst/>
                <a:latin typeface="Times New Roman"/>
                <a:ea typeface="Calibri" panose="020F0502020204030204" pitchFamily="34" charset="0"/>
                <a:cs typeface="Times New Roman"/>
              </a:rPr>
              <a:t>Speaker’s notes:</a:t>
            </a:r>
          </a:p>
          <a:p>
            <a:pPr algn="l"/>
            <a:endParaRPr lang="en-US" sz="900" dirty="0">
              <a:solidFill>
                <a:srgbClr val="000000"/>
              </a:solidFill>
              <a:effectLst/>
              <a:latin typeface="Times New Roman"/>
              <a:ea typeface="Calibri" panose="020F0502020204030204" pitchFamily="34" charset="0"/>
              <a:cs typeface="Times New Roman"/>
            </a:endParaRPr>
          </a:p>
          <a:p>
            <a:pPr marL="171450" indent="-171450" algn="l">
              <a:buFont typeface="Arial" panose="020B0604020202020204" pitchFamily="34" charset="0"/>
              <a:buChar char="•"/>
            </a:pPr>
            <a:r>
              <a:rPr lang="en-US" sz="900" dirty="0">
                <a:solidFill>
                  <a:srgbClr val="000000"/>
                </a:solidFill>
                <a:effectLst/>
                <a:latin typeface="Times New Roman"/>
                <a:ea typeface="Calibri" panose="020F0502020204030204" pitchFamily="34" charset="0"/>
                <a:cs typeface="Times New Roman"/>
              </a:rPr>
              <a:t>Display the slide to signal the start of Exercise 3.</a:t>
            </a:r>
          </a:p>
          <a:p>
            <a:pPr marL="171450" indent="-171450" algn="l">
              <a:buFont typeface="Arial" panose="020B0604020202020204" pitchFamily="34" charset="0"/>
              <a:buChar char="•"/>
            </a:pPr>
            <a:r>
              <a:rPr lang="en-US" sz="900" dirty="0">
                <a:solidFill>
                  <a:srgbClr val="000000"/>
                </a:solidFill>
                <a:effectLst/>
                <a:latin typeface="Times New Roman"/>
                <a:ea typeface="Calibri" panose="020F0502020204030204" pitchFamily="34" charset="0"/>
                <a:cs typeface="Times New Roman"/>
              </a:rPr>
              <a:t>Inform Students that only the first two tasks in Exercise 3 will be completed in Day 1. The remaining two tasks will be completed in Day 2.</a:t>
            </a:r>
          </a:p>
          <a:p>
            <a:pPr marL="171450" indent="-171450" algn="l">
              <a:buFont typeface="Arial" panose="020B0604020202020204" pitchFamily="34" charset="0"/>
              <a:buChar char="•"/>
            </a:pPr>
            <a:r>
              <a:rPr lang="en-US" sz="900" dirty="0">
                <a:solidFill>
                  <a:srgbClr val="000000"/>
                </a:solidFill>
                <a:effectLst/>
                <a:latin typeface="Times New Roman"/>
                <a:ea typeface="Calibri" panose="020F0502020204030204" pitchFamily="34" charset="0"/>
                <a:cs typeface="Times New Roman"/>
              </a:rPr>
              <a:t>Exercise 3 will be debriefed when Exercise 3  is completed.</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3408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Deprovision or generalize a VM before creating an image - Azure Virtual Machines | Microsoft Learn</a:t>
            </a:r>
            <a:endParaRPr lang="en-US" dirty="0"/>
          </a:p>
          <a:p>
            <a:endParaRPr lang="en-US" b="1" dirty="0"/>
          </a:p>
          <a:p>
            <a:r>
              <a:rPr lang="en-US" b="1" dirty="0"/>
              <a:t>Speaker’s Notes:</a:t>
            </a:r>
          </a:p>
          <a:p>
            <a:endParaRPr lang="en-US" b="1" dirty="0"/>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4</a:t>
            </a:fld>
            <a:endParaRPr lang="en-US"/>
          </a:p>
        </p:txBody>
      </p:sp>
    </p:spTree>
    <p:extLst>
      <p:ext uri="{BB962C8B-B14F-4D97-AF65-F5344CB8AC3E}">
        <p14:creationId xmlns:p14="http://schemas.microsoft.com/office/powerpoint/2010/main" val="19384478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You've created a GitHub repository containing application code and a Bicep script. In this exercise, you will create resources in an Azure resource group, including an App Service Plan, three App Services, one Application Insights service, and one Container Registry. You will also use GitHub Copilot in Visual Studio Code to assist you with making a change to the Team Messaging System.</a:t>
            </a:r>
          </a:p>
          <a:p>
            <a:pPr marL="171450" indent="-171450" algn="l">
              <a:buFont typeface="Arial" panose="020B0604020202020204" pitchFamily="34" charset="0"/>
              <a:buChar char="•"/>
            </a:pPr>
            <a:endParaRPr lang="en-US" b="0" i="0" dirty="0">
              <a:solidFill>
                <a:srgbClr val="000000"/>
              </a:solidFill>
              <a:effectLst/>
              <a:latin typeface="Times New Roman" panose="02020603050405020304" pitchFamily="18" charset="0"/>
            </a:endParaRP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After deploying Azure resources, you will create a new GitHub Actions workflow that builds and deploys a Docker container image based on the .NET web application code. Then, whenever the application code changes, you will build a new image, deploy it to the Container Registry, and use that new image in your App Service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exercise, you'll be able to:</a:t>
            </a:r>
          </a:p>
          <a:p>
            <a:pPr marL="171450" indent="-171450" algn="l">
              <a:buFont typeface="Arial" panose="020B0604020202020204" pitchFamily="34" charset="0"/>
              <a:buChar char="•"/>
            </a:pPr>
            <a:r>
              <a:rPr lang="en-US" b="0" i="0" dirty="0">
                <a:solidFill>
                  <a:srgbClr val="1F2328"/>
                </a:solidFill>
                <a:effectLst/>
                <a:latin typeface="-apple-system"/>
              </a:rPr>
              <a:t>Configure GitHub Copilot and use it to assist with C# code changes</a:t>
            </a:r>
          </a:p>
          <a:p>
            <a:pPr marL="171450" indent="-171450" algn="l">
              <a:buFont typeface="Arial" panose="020B0604020202020204" pitchFamily="34" charset="0"/>
              <a:buChar char="•"/>
            </a:pPr>
            <a:r>
              <a:rPr lang="en-US" b="0" i="0" dirty="0">
                <a:solidFill>
                  <a:srgbClr val="1F2328"/>
                </a:solidFill>
                <a:effectLst/>
                <a:latin typeface="-apple-system"/>
              </a:rPr>
              <a:t>Deploy ARM and Bicep templates via GitHub Actions workflow</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 for deploying .NET web applications</a:t>
            </a:r>
          </a:p>
          <a:p>
            <a:pPr marL="171450" indent="-171450" algn="l">
              <a:buFont typeface="Arial" panose="020B0604020202020204" pitchFamily="34" charset="0"/>
              <a:buChar char="•"/>
            </a:pPr>
            <a:r>
              <a:rPr lang="en-US" b="0" i="0" dirty="0">
                <a:solidFill>
                  <a:srgbClr val="1F2328"/>
                </a:solidFill>
                <a:effectLst/>
                <a:latin typeface="-apple-system"/>
              </a:rPr>
              <a:t>Automatically build and deploy a Docker image as part of the workflow</a:t>
            </a:r>
          </a:p>
          <a:p>
            <a:pPr marL="171450" indent="-171450" algn="l">
              <a:buFont typeface="Arial" panose="020B0604020202020204" pitchFamily="34" charset="0"/>
              <a:buChar char="•"/>
            </a:pPr>
            <a:r>
              <a:rPr lang="en-US" b="0" i="0" dirty="0">
                <a:solidFill>
                  <a:srgbClr val="1F2328"/>
                </a:solidFill>
                <a:effectLst/>
                <a:latin typeface="-apple-system"/>
              </a:rPr>
              <a:t>Update an Azure Web App whenever the GitHub Actions workflow deploys a new Docker image</a:t>
            </a:r>
          </a:p>
          <a:p>
            <a:pPr marL="171450" indent="-171450" algn="l">
              <a:buFont typeface="Arial" panose="020B0604020202020204" pitchFamily="34" charset="0"/>
              <a:buChar char="•"/>
            </a:pPr>
            <a:endParaRPr lang="en-US" b="0" i="0" dirty="0">
              <a:solidFill>
                <a:srgbClr val="1F2328"/>
              </a:solidFill>
              <a:effectLst/>
              <a:latin typeface="-apple-syste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F2328"/>
                </a:solidFill>
                <a:effectLst/>
                <a:latin typeface="-apple-system"/>
              </a:rPr>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Inform Students that the instructions for completing the exercises are in the GitHub link TB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Proceed with the exercise.</a:t>
            </a:r>
          </a:p>
          <a:p>
            <a:pPr marL="0" indent="0" algn="l">
              <a:buFont typeface="Arial" panose="020B0604020202020204" pitchFamily="34" charset="0"/>
              <a:buNone/>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effectLst/>
                <a:latin typeface="Segoe UI"/>
                <a:cs typeface="Segoe UI"/>
              </a:rPr>
              <a:t>Speaker’s notes:</a:t>
            </a:r>
          </a:p>
          <a:p>
            <a:endParaRPr lang="en-US" b="1" i="0" dirty="0">
              <a:effectLst/>
              <a:latin typeface="Segoe UI"/>
              <a:cs typeface="Segoe UI"/>
            </a:endParaRPr>
          </a:p>
          <a:p>
            <a:r>
              <a:rPr lang="en-US" b="1" i="0" dirty="0">
                <a:effectLst/>
                <a:latin typeface="Segoe UI"/>
                <a:cs typeface="Segoe UI"/>
              </a:rPr>
              <a:t>SAY:</a:t>
            </a:r>
          </a:p>
          <a:p>
            <a:endParaRPr lang="en-US" b="0" i="0" dirty="0">
              <a:effectLst/>
              <a:latin typeface="Segoe UI"/>
              <a:cs typeface="Segoe UI"/>
            </a:endParaRPr>
          </a:p>
          <a:p>
            <a:r>
              <a:rPr lang="en-US" b="0" i="0" dirty="0">
                <a:effectLst/>
                <a:latin typeface="Segoe UI"/>
                <a:cs typeface="Segoe UI"/>
              </a:rPr>
              <a:t>This exercise will focus on deploying the Munson’s Pickles and Preserves Team Messaging System application into Azur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GitHub flow is a standard process for making code changes in a GitHub repository. There are several steps to the GitHub flow:</a:t>
            </a:r>
          </a:p>
          <a:p>
            <a:pPr algn="l"/>
            <a:endParaRPr lang="en-US" b="0" i="0" dirty="0">
              <a:solidFill>
                <a:srgbClr val="000000"/>
              </a:solidFill>
              <a:effectLst/>
              <a:latin typeface="Times New Roman" panose="02020603050405020304" pitchFamily="18" charset="0"/>
            </a:endParaRPr>
          </a:p>
          <a:p>
            <a:pPr marL="228600" indent="-228600" algn="l">
              <a:buFont typeface="+mj-lt"/>
              <a:buAutoNum type="arabicPeriod"/>
            </a:pPr>
            <a:r>
              <a:rPr lang="en-US" b="0" i="0" dirty="0">
                <a:solidFill>
                  <a:srgbClr val="000000"/>
                </a:solidFill>
                <a:effectLst/>
                <a:latin typeface="Times New Roman" panose="02020603050405020304" pitchFamily="18" charset="0"/>
              </a:rPr>
              <a:t>Create a GitHub Issue describing the problem you would like to solve. This may involve discussion with team members, project managers, issue reporters, and relevant stakeholders. The GitHub Issue should include enough details to prompt a code change.</a:t>
            </a:r>
          </a:p>
          <a:p>
            <a:pPr marL="228600" indent="-228600" algn="l">
              <a:buFont typeface="+mj-lt"/>
              <a:buAutoNum type="arabicPeriod"/>
            </a:pPr>
            <a:r>
              <a:rPr lang="en-US" b="0" i="0" dirty="0">
                <a:solidFill>
                  <a:srgbClr val="000000"/>
                </a:solidFill>
                <a:effectLst/>
                <a:latin typeface="Times New Roman" panose="02020603050405020304" pitchFamily="18" charset="0"/>
              </a:rPr>
              <a:t>Create a new branch. This new branch, called a </a:t>
            </a:r>
            <a:r>
              <a:rPr lang="en-US" b="1" i="0" dirty="0">
                <a:solidFill>
                  <a:srgbClr val="000000"/>
                </a:solidFill>
                <a:effectLst/>
                <a:latin typeface="Times New Roman" panose="02020603050405020304" pitchFamily="18" charset="0"/>
              </a:rPr>
              <a:t>feature branch</a:t>
            </a:r>
            <a:r>
              <a:rPr lang="en-US" b="0" i="0" dirty="0">
                <a:solidFill>
                  <a:srgbClr val="000000"/>
                </a:solidFill>
                <a:effectLst/>
                <a:latin typeface="Times New Roman" panose="02020603050405020304" pitchFamily="18" charset="0"/>
              </a:rPr>
              <a:t>, will allow you to work on your code independent of other developers. It will also allow you to experiment without breaking important code release branches like a development or main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creating the new branch, fetch changes locally and switch to the newly created feature branch. At this point, any changes you make locally will be in the feature branch, isolating your changes from others.</a:t>
            </a:r>
          </a:p>
          <a:p>
            <a:pPr marL="228600" indent="-228600" algn="l">
              <a:buFont typeface="+mj-lt"/>
              <a:buAutoNum type="arabicPeriod"/>
            </a:pPr>
            <a:r>
              <a:rPr lang="en-US" b="0" i="0" dirty="0">
                <a:solidFill>
                  <a:srgbClr val="000000"/>
                </a:solidFill>
                <a:effectLst/>
                <a:latin typeface="Times New Roman" panose="02020603050405020304" pitchFamily="18" charset="0"/>
              </a:rPr>
              <a:t>Make any necessary changes in tools like Visual Studio Code. If you have correctly configured Visual Studio Code and installed the C# extension, you should be able to run the .NET web application locally and try it out in a browser.</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completed all code changes, you can commit these changes locally. Then, when you are ready to complete the task, you can push your changes to the remote feature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pushed your changes, you can create a pull request. In this case, we will pull request directly to the main branch, though some repositories may have a series of branches such as dev, test, and main.</a:t>
            </a:r>
          </a:p>
          <a:p>
            <a:pPr marL="228600" indent="-228600" algn="l">
              <a:buFont typeface="+mj-lt"/>
              <a:buAutoNum type="arabicPeriod"/>
            </a:pPr>
            <a:r>
              <a:rPr lang="en-US" b="0" i="0" dirty="0">
                <a:solidFill>
                  <a:srgbClr val="000000"/>
                </a:solidFill>
                <a:effectLst/>
                <a:latin typeface="Times New Roman" panose="02020603050405020304" pitchFamily="18" charset="0"/>
              </a:rPr>
              <a:t>A teammate should perform a code review of the code in your pull request. This allows a second set of eyes to review the code changes and ensure that these are appropriate and correct changes.</a:t>
            </a:r>
          </a:p>
          <a:p>
            <a:pPr marL="228600" indent="-228600" algn="l">
              <a:buFont typeface="+mj-lt"/>
              <a:buAutoNum type="arabicPeriod"/>
            </a:pPr>
            <a:r>
              <a:rPr lang="en-US" b="0" i="0" dirty="0">
                <a:solidFill>
                  <a:srgbClr val="000000"/>
                </a:solidFill>
                <a:effectLst/>
                <a:latin typeface="Times New Roman" panose="02020603050405020304" pitchFamily="18" charset="0"/>
              </a:rPr>
              <a:t>After the code review completes, completing the pull request is the final step. In this process, you may wish to delete the feature branch and close the originating issue.</a:t>
            </a:r>
          </a:p>
          <a:p>
            <a:pPr algn="l"/>
            <a:endParaRPr lang="en-US" b="0" i="0" dirty="0">
              <a:solidFill>
                <a:srgbClr val="000000"/>
              </a:solidFill>
              <a:effectLst/>
              <a:latin typeface="Times New Roman" panose="02020603050405020304" pitchFamily="18" charset="0"/>
            </a:endParaRPr>
          </a:p>
          <a:p>
            <a:pPr algn="l"/>
            <a:r>
              <a:rPr lang="en-US" b="1" i="0" dirty="0">
                <a:solidFill>
                  <a:srgbClr val="000000"/>
                </a:solidFill>
                <a:effectLst/>
                <a:latin typeface="Times New Roman" panose="02020603050405020304" pitchFamily="18" charset="0"/>
              </a:rPr>
              <a:t>Note:</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At the end of Exercise 3, task 2</a:t>
            </a:r>
          </a:p>
          <a:p>
            <a:pPr marL="171450" indent="-171450" algn="l">
              <a:buFont typeface="Arial" panose="020B0604020202020204" pitchFamily="34" charset="0"/>
              <a:buChar char="•"/>
            </a:pPr>
            <a:endParaRPr lang="en-US" b="1" i="0" dirty="0">
              <a:solidFill>
                <a:srgbClr val="000000"/>
              </a:solidFill>
              <a:effectLst/>
              <a:latin typeface="Times New Roman" panose="02020603050405020304" pitchFamily="18" charset="0"/>
            </a:endParaRPr>
          </a:p>
          <a:p>
            <a:pPr marL="0" indent="0" algn="l">
              <a:buFont typeface="Arial" panose="020B0604020202020204" pitchFamily="34" charset="0"/>
              <a:buNone/>
            </a:pPr>
            <a:r>
              <a:rPr lang="en-US" b="1" i="0" dirty="0">
                <a:solidFill>
                  <a:srgbClr val="000000"/>
                </a:solidFill>
                <a:effectLst/>
                <a:latin typeface="Times New Roman" panose="02020603050405020304" pitchFamily="18" charset="0"/>
              </a:rPr>
              <a:t>SAY: </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We will continue with Exercise 3 tomorrow to finish tasks 3 and 4.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What is Microsoft Dev Box? - Microsoft Dev Box | Microsoft Learn</a:t>
            </a:r>
            <a:endParaRPr lang="en-US" dirty="0"/>
          </a:p>
          <a:p>
            <a:endParaRPr lang="en-US" b="1" dirty="0"/>
          </a:p>
          <a:p>
            <a:r>
              <a:rPr lang="en-US" b="1" dirty="0"/>
              <a:t>Speaker’s Notes:</a:t>
            </a:r>
          </a:p>
          <a:p>
            <a:endParaRPr lang="en-US" b="1" dirty="0"/>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5</a:t>
            </a:fld>
            <a:endParaRPr lang="en-US"/>
          </a:p>
        </p:txBody>
      </p:sp>
    </p:spTree>
    <p:extLst>
      <p:ext uri="{BB962C8B-B14F-4D97-AF65-F5344CB8AC3E}">
        <p14:creationId xmlns:p14="http://schemas.microsoft.com/office/powerpoint/2010/main" val="4263371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hlinkClick r:id="rId3"/>
              </a:rPr>
              <a:t>Quickstart</a:t>
            </a:r>
            <a:r>
              <a:rPr lang="en-US" dirty="0">
                <a:hlinkClick r:id="rId3"/>
              </a:rPr>
              <a:t>: Create a dev box - Microsoft Dev Box | Microsoft Learn</a:t>
            </a:r>
            <a:endParaRPr lang="en-US" dirty="0">
              <a:hlinkClick r:id="rId4"/>
            </a:endParaRPr>
          </a:p>
          <a:p>
            <a:r>
              <a:rPr lang="en-US" dirty="0">
                <a:hlinkClick r:id="rId4"/>
              </a:rPr>
              <a:t>Configure a managed identity - Azure Deployment Environments | Microsoft Learn</a:t>
            </a:r>
            <a:endParaRPr lang="en-US" dirty="0"/>
          </a:p>
          <a:p>
            <a:endParaRPr lang="en-US" b="1" dirty="0"/>
          </a:p>
          <a:p>
            <a:r>
              <a:rPr lang="en-US" b="1" dirty="0"/>
              <a:t>Speaker’s Notes:</a:t>
            </a:r>
          </a:p>
          <a:p>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3">
                    <a:lumMod val="50000"/>
                  </a:schemeClr>
                </a:solidFill>
                <a:latin typeface="+mj-lt"/>
              </a:rPr>
              <a:t>A separate Developer Portal, often referred to as a Developer Center, serves as a dedicated, centralized platform aimed at supporting developers in understanding, utilizing, and integrate with an organization's APIs, tools, and resources.</a:t>
            </a:r>
          </a:p>
          <a:p>
            <a:endParaRPr lang="en-US" b="1" dirty="0"/>
          </a:p>
          <a:p>
            <a:pPr marL="171450" indent="-171450" algn="l">
              <a:buFont typeface="Arial" panose="020B0604020202020204" pitchFamily="34" charset="0"/>
              <a:buChar char="•"/>
            </a:pPr>
            <a:r>
              <a:rPr lang="en-US" sz="1200" b="0" i="0" dirty="0">
                <a:solidFill>
                  <a:srgbClr val="161616"/>
                </a:solidFill>
                <a:effectLst/>
                <a:latin typeface="Segoe UI" panose="020B0502040204020203" pitchFamily="34" charset="0"/>
              </a:rPr>
              <a:t>After you create the </a:t>
            </a:r>
            <a:r>
              <a:rPr lang="en-US" sz="1200" dirty="0">
                <a:solidFill>
                  <a:srgbClr val="161616"/>
                </a:solidFill>
                <a:latin typeface="Segoe UI" panose="020B0502040204020203" pitchFamily="34" charset="0"/>
              </a:rPr>
              <a:t>d</a:t>
            </a:r>
            <a:r>
              <a:rPr lang="en-US" sz="1200" b="0" i="0" dirty="0">
                <a:solidFill>
                  <a:srgbClr val="161616"/>
                </a:solidFill>
                <a:effectLst/>
                <a:latin typeface="Segoe UI" panose="020B0502040204020203" pitchFamily="34" charset="0"/>
              </a:rPr>
              <a:t>ev box, you can connect to it with a Remote Desktop session through a browser or through a Remote Desktop app.</a:t>
            </a:r>
          </a:p>
          <a:p>
            <a:pPr marL="171450" indent="-171450" algn="l">
              <a:buFont typeface="Arial" panose="020B0604020202020204" pitchFamily="34" charset="0"/>
              <a:buChar char="•"/>
            </a:pPr>
            <a:r>
              <a:rPr lang="en-US" sz="1200" b="0" i="0" dirty="0">
                <a:solidFill>
                  <a:srgbClr val="161616"/>
                </a:solidFill>
                <a:effectLst/>
                <a:latin typeface="Segoe UI" panose="020B0502040204020203" pitchFamily="34" charset="0"/>
              </a:rPr>
              <a:t>Microsoft Dev Box enables you to create cloud-hosted developer workstations in a self-service way. You can create and manage dev boxes by using the developer portal.</a:t>
            </a:r>
          </a:p>
          <a:p>
            <a:pPr marL="171450" indent="-171450" algn="l">
              <a:buFont typeface="Arial" panose="020B0604020202020204" pitchFamily="34" charset="0"/>
              <a:buChar char="•"/>
            </a:pPr>
            <a:r>
              <a:rPr lang="en-US" sz="1200" b="0" i="0" dirty="0">
                <a:solidFill>
                  <a:srgbClr val="161616"/>
                </a:solidFill>
                <a:effectLst/>
                <a:latin typeface="Segoe UI" panose="020B0502040204020203" pitchFamily="34" charset="0"/>
              </a:rPr>
              <a:t>Depending on the project configuration and your permissions, you have access to different projects and associated dev box configurations.</a:t>
            </a:r>
          </a:p>
          <a:p>
            <a:endParaRPr lang="en-US" b="1" dirty="0"/>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6</a:t>
            </a:fld>
            <a:endParaRPr lang="en-US"/>
          </a:p>
        </p:txBody>
      </p:sp>
    </p:spTree>
    <p:extLst>
      <p:ext uri="{BB962C8B-B14F-4D97-AF65-F5344CB8AC3E}">
        <p14:creationId xmlns:p14="http://schemas.microsoft.com/office/powerpoint/2010/main" val="3618230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GitHub Copilot for Business - Home (sharepoint.com)</a:t>
            </a:r>
            <a:endParaRPr lang="en-US" dirty="0"/>
          </a:p>
          <a:p>
            <a:r>
              <a:rPr lang="en-US" dirty="0">
                <a:hlinkClick r:id="rId4"/>
              </a:rPr>
              <a:t>Seller Tools (sharepoint.com)</a:t>
            </a:r>
            <a:endParaRPr lang="en-US" dirty="0"/>
          </a:p>
          <a:p>
            <a:endParaRPr lang="en-US" b="1" dirty="0"/>
          </a:p>
          <a:p>
            <a:r>
              <a:rPr lang="en-US" b="1" dirty="0"/>
              <a:t>Speaker’s Notes:</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7</a:t>
            </a:fld>
            <a:endParaRPr lang="en-US"/>
          </a:p>
        </p:txBody>
      </p:sp>
    </p:spTree>
    <p:extLst>
      <p:ext uri="{BB962C8B-B14F-4D97-AF65-F5344CB8AC3E}">
        <p14:creationId xmlns:p14="http://schemas.microsoft.com/office/powerpoint/2010/main" val="31224914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58"/>
        <p:cNvGrpSpPr/>
        <p:nvPr/>
      </p:nvGrpSpPr>
      <p:grpSpPr>
        <a:xfrm>
          <a:off x="0" y="0"/>
          <a:ext cx="0" cy="0"/>
          <a:chOff x="0" y="0"/>
          <a:chExt cx="0" cy="0"/>
        </a:xfrm>
      </p:grpSpPr>
      <p:sp>
        <p:nvSpPr>
          <p:cNvPr id="2959" name="Google Shape;2959;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60" name="Google Shape;2960;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200" b="1" dirty="0">
                <a:solidFill>
                  <a:schemeClr val="dk1"/>
                </a:solidFill>
                <a:latin typeface="Arial"/>
                <a:ea typeface="Arial"/>
                <a:cs typeface="Arial"/>
                <a:sym typeface="Arial"/>
              </a:rPr>
              <a:t>Speaker’s notes:</a:t>
            </a:r>
          </a:p>
          <a:p>
            <a:pPr marL="0" lvl="0" indent="0" algn="l" rtl="0">
              <a:spcBef>
                <a:spcPts val="0"/>
              </a:spcBef>
              <a:spcAft>
                <a:spcPts val="0"/>
              </a:spcAft>
              <a:buClr>
                <a:schemeClr val="dk1"/>
              </a:buClr>
              <a:buSzPts val="1100"/>
              <a:buFont typeface="Arial"/>
              <a:buNone/>
            </a:pPr>
            <a:endParaRPr lang="en-US" sz="1200" dirty="0">
              <a:solidFill>
                <a:schemeClr val="dk1"/>
              </a:solidFill>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200" dirty="0">
                <a:solidFill>
                  <a:schemeClr val="dk1"/>
                </a:solidFill>
                <a:latin typeface="Arial"/>
                <a:ea typeface="Arial"/>
                <a:cs typeface="Arial"/>
                <a:sym typeface="Arial"/>
              </a:rPr>
              <a:t>Alternate titles: Give Your Developers the Advantage of AI</a:t>
            </a:r>
            <a:br>
              <a:rPr lang="en-US" sz="1200" dirty="0">
                <a:solidFill>
                  <a:schemeClr val="dk1"/>
                </a:solidFill>
                <a:latin typeface="Arial"/>
                <a:ea typeface="Arial"/>
                <a:cs typeface="Arial"/>
                <a:sym typeface="Arial"/>
              </a:rPr>
            </a:br>
            <a:endParaRPr sz="1200" dirty="0">
              <a:solidFill>
                <a:schemeClr val="dk1"/>
              </a:solidFill>
              <a:latin typeface="Arial"/>
              <a:ea typeface="Arial"/>
              <a:cs typeface="Arial"/>
              <a:sym typeface="Arial"/>
            </a:endParaRPr>
          </a:p>
          <a:p>
            <a:pPr marL="0" lvl="0" indent="0" algn="l" rtl="0">
              <a:spcBef>
                <a:spcPts val="700"/>
              </a:spcBef>
              <a:spcAft>
                <a:spcPts val="0"/>
              </a:spcAft>
              <a:buClr>
                <a:schemeClr val="dk1"/>
              </a:buClr>
              <a:buSzPts val="1100"/>
              <a:buFont typeface="Arial"/>
              <a:buNone/>
            </a:pPr>
            <a:r>
              <a:rPr lang="en-US" sz="1200" dirty="0">
                <a:solidFill>
                  <a:schemeClr val="dk1"/>
                </a:solidFill>
                <a:latin typeface="Arial"/>
                <a:ea typeface="Arial"/>
                <a:cs typeface="Arial"/>
                <a:sym typeface="Arial"/>
              </a:rPr>
              <a:t>GitHub Copilot improves developer productivity and happiness, reducing disruptions, improving flow and increasing the amount of time a developer spends doing satisfying work. </a:t>
            </a:r>
            <a:endParaRPr sz="1200" dirty="0">
              <a:latin typeface="Arial"/>
              <a:ea typeface="Arial"/>
              <a:cs typeface="Arial"/>
              <a:sym typeface="Arial"/>
            </a:endParaRPr>
          </a:p>
          <a:p>
            <a:pPr marL="0" lvl="0" indent="0" algn="l" rtl="0">
              <a:spcBef>
                <a:spcPts val="700"/>
              </a:spcBef>
              <a:spcAft>
                <a:spcPts val="0"/>
              </a:spcAft>
              <a:buClr>
                <a:schemeClr val="dk1"/>
              </a:buClr>
              <a:buSzPts val="1100"/>
              <a:buFont typeface="Arial"/>
              <a:buNone/>
            </a:pPr>
            <a:r>
              <a:rPr lang="en-US" sz="1200" b="1" dirty="0">
                <a:solidFill>
                  <a:schemeClr val="dk1"/>
                </a:solidFill>
                <a:latin typeface="Arial"/>
                <a:ea typeface="Arial"/>
                <a:cs typeface="Arial"/>
                <a:sym typeface="Arial"/>
              </a:rPr>
              <a:t>Accelerate Software Development &amp; Delivery &amp; Improve Organization Efficiency</a:t>
            </a:r>
            <a:endParaRPr sz="1200" dirty="0">
              <a:latin typeface="Arial"/>
              <a:ea typeface="Arial"/>
              <a:cs typeface="Arial"/>
              <a:sym typeface="Arial"/>
            </a:endParaRPr>
          </a:p>
          <a:p>
            <a:pPr marL="457200" lvl="0" indent="-304800" algn="l" rtl="0">
              <a:lnSpc>
                <a:spcPct val="115000"/>
              </a:lnSpc>
              <a:spcBef>
                <a:spcPts val="700"/>
              </a:spcBef>
              <a:spcAft>
                <a:spcPts val="0"/>
              </a:spcAft>
              <a:buClr>
                <a:schemeClr val="dk1"/>
              </a:buClr>
              <a:buSzPts val="1200"/>
              <a:buFont typeface="Arial"/>
              <a:buChar char="-"/>
            </a:pPr>
            <a:r>
              <a:rPr lang="en-US" sz="1200" b="1" dirty="0">
                <a:solidFill>
                  <a:schemeClr val="dk1"/>
                </a:solidFill>
                <a:latin typeface="Arial"/>
                <a:ea typeface="Arial"/>
                <a:cs typeface="Arial"/>
                <a:sym typeface="Arial"/>
              </a:rPr>
              <a:t>Increase developer productivity and satisfaction</a:t>
            </a:r>
            <a:r>
              <a:rPr lang="en-US" sz="1200" dirty="0">
                <a:solidFill>
                  <a:schemeClr val="dk1"/>
                </a:solidFill>
                <a:latin typeface="Arial"/>
                <a:ea typeface="Arial"/>
                <a:cs typeface="Arial"/>
                <a:sym typeface="Arial"/>
              </a:rPr>
              <a:t>: Copilot supports developer satisfaction and thus productivity by helping them focus on solving real problems. By providing suggestions and boiler-plate code, developers can cut down on development time and create more consistent code. Adopting GitHub Copilot has secondary effects on improving job satisfaction, improving retention. </a:t>
            </a:r>
            <a:endParaRPr sz="1200" dirty="0">
              <a:latin typeface="Arial"/>
              <a:ea typeface="Arial"/>
              <a:cs typeface="Arial"/>
              <a:sym typeface="Arial"/>
            </a:endParaRPr>
          </a:p>
          <a:p>
            <a:pPr marL="457200" lvl="0" indent="-304800" algn="l" rtl="0">
              <a:lnSpc>
                <a:spcPct val="115000"/>
              </a:lnSpc>
              <a:spcBef>
                <a:spcPts val="0"/>
              </a:spcBef>
              <a:spcAft>
                <a:spcPts val="0"/>
              </a:spcAft>
              <a:buClr>
                <a:schemeClr val="dk1"/>
              </a:buClr>
              <a:buSzPts val="1200"/>
              <a:buFont typeface="Arial"/>
              <a:buChar char="-"/>
            </a:pPr>
            <a:r>
              <a:rPr lang="en-US" sz="1200" b="1" dirty="0">
                <a:solidFill>
                  <a:schemeClr val="dk1"/>
                </a:solidFill>
                <a:latin typeface="Arial"/>
                <a:ea typeface="Arial"/>
                <a:cs typeface="Arial"/>
                <a:sym typeface="Arial"/>
              </a:rPr>
              <a:t>Accelerate Innovation:</a:t>
            </a:r>
            <a:r>
              <a:rPr lang="en-US" sz="1200" dirty="0">
                <a:solidFill>
                  <a:schemeClr val="dk1"/>
                </a:solidFill>
                <a:latin typeface="Arial"/>
                <a:ea typeface="Arial"/>
                <a:cs typeface="Arial"/>
                <a:sym typeface="Arial"/>
              </a:rPr>
              <a:t> Using Copilot, teams can prototype new ideas more rapidly and innovate faster. As an additional benefit, companies that adopt the latest technologies can attract new talent by investing in the best-in-class tools as they seek to modernize their development processes.</a:t>
            </a:r>
            <a:endParaRPr sz="1200" dirty="0">
              <a:latin typeface="Arial"/>
              <a:ea typeface="Arial"/>
              <a:cs typeface="Arial"/>
              <a:sym typeface="Arial"/>
            </a:endParaRPr>
          </a:p>
          <a:p>
            <a:pPr marL="457200" lvl="0" indent="-304800" algn="l" rtl="0">
              <a:lnSpc>
                <a:spcPct val="115000"/>
              </a:lnSpc>
              <a:spcBef>
                <a:spcPts val="0"/>
              </a:spcBef>
              <a:spcAft>
                <a:spcPts val="0"/>
              </a:spcAft>
              <a:buClr>
                <a:schemeClr val="dk1"/>
              </a:buClr>
              <a:buSzPts val="1200"/>
              <a:buFont typeface="Arial"/>
              <a:buChar char="-"/>
            </a:pPr>
            <a:r>
              <a:rPr lang="en-US" sz="1200" b="1" dirty="0">
                <a:solidFill>
                  <a:schemeClr val="dk1"/>
                </a:solidFill>
                <a:latin typeface="Arial"/>
                <a:ea typeface="Arial"/>
                <a:cs typeface="Arial"/>
                <a:sym typeface="Arial"/>
              </a:rPr>
              <a:t>Bridge skill gaps:</a:t>
            </a:r>
            <a:r>
              <a:rPr lang="en-US" sz="1200" dirty="0">
                <a:solidFill>
                  <a:schemeClr val="dk1"/>
                </a:solidFill>
                <a:latin typeface="Arial"/>
                <a:ea typeface="Arial"/>
                <a:cs typeface="Arial"/>
                <a:sym typeface="Arial"/>
              </a:rPr>
              <a:t> GitHub Copilot helps professionals learn and practice new languages faster. For employers in demand of talented developers with niche programming skills (like COBOL), GitHub Copilot can help companies train and grow employees with those skills faster.</a:t>
            </a:r>
            <a:endParaRPr sz="1200" dirty="0">
              <a:latin typeface="Arial"/>
              <a:ea typeface="Arial"/>
              <a:cs typeface="Arial"/>
              <a:sym typeface="Arial"/>
            </a:endParaRPr>
          </a:p>
          <a:p>
            <a:pPr marL="0" lvl="0" indent="0" algn="l" rtl="0">
              <a:spcBef>
                <a:spcPts val="0"/>
              </a:spcBef>
              <a:spcAft>
                <a:spcPts val="0"/>
              </a:spcAft>
              <a:buClr>
                <a:schemeClr val="dk1"/>
              </a:buClr>
              <a:buSzPts val="1200"/>
              <a:buFont typeface="Calibri"/>
              <a:buNone/>
            </a:pPr>
            <a:endParaRPr sz="1200" dirty="0">
              <a:latin typeface="Arial"/>
              <a:ea typeface="Arial"/>
              <a:cs typeface="Arial"/>
              <a:sym typeface="Arial"/>
            </a:endParaRPr>
          </a:p>
          <a:p>
            <a:pPr marL="0" lvl="0" indent="0" algn="l" rtl="0">
              <a:spcBef>
                <a:spcPts val="0"/>
              </a:spcBef>
              <a:spcAft>
                <a:spcPts val="0"/>
              </a:spcAft>
              <a:buNone/>
            </a:pPr>
            <a:endParaRPr sz="1100" dirty="0">
              <a:latin typeface="Arial"/>
              <a:ea typeface="Arial"/>
              <a:cs typeface="Arial"/>
              <a:sym typeface="Arial"/>
            </a:endParaRPr>
          </a:p>
        </p:txBody>
      </p:sp>
      <p:sp>
        <p:nvSpPr>
          <p:cNvPr id="2961" name="Google Shape;2961;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74"/>
        <p:cNvGrpSpPr/>
        <p:nvPr/>
      </p:nvGrpSpPr>
      <p:grpSpPr>
        <a:xfrm>
          <a:off x="0" y="0"/>
          <a:ext cx="0" cy="0"/>
          <a:chOff x="0" y="0"/>
          <a:chExt cx="0" cy="0"/>
        </a:xfrm>
      </p:grpSpPr>
      <p:sp>
        <p:nvSpPr>
          <p:cNvPr id="2975" name="Google Shape;2975;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76" name="Google Shape;2976;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200" b="1" dirty="0">
                <a:solidFill>
                  <a:schemeClr val="dk1"/>
                </a:solidFill>
                <a:latin typeface="Arial"/>
                <a:ea typeface="Arial"/>
                <a:cs typeface="Arial"/>
                <a:sym typeface="Arial"/>
              </a:rPr>
              <a:t>Speaker’s notes:</a:t>
            </a:r>
          </a:p>
          <a:p>
            <a:pPr marL="0" lvl="0" indent="0" algn="l" rtl="0">
              <a:spcBef>
                <a:spcPts val="0"/>
              </a:spcBef>
              <a:spcAft>
                <a:spcPts val="0"/>
              </a:spcAft>
              <a:buClr>
                <a:schemeClr val="dk1"/>
              </a:buClr>
              <a:buSzPts val="1100"/>
              <a:buFont typeface="Arial"/>
              <a:buNone/>
            </a:pPr>
            <a:endParaRPr lang="en-US" sz="1200" dirty="0">
              <a:solidFill>
                <a:schemeClr val="dk1"/>
              </a:solidFill>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200" dirty="0">
                <a:solidFill>
                  <a:schemeClr val="dk1"/>
                </a:solidFill>
                <a:latin typeface="Arial"/>
                <a:ea typeface="Arial"/>
                <a:cs typeface="Arial"/>
                <a:sym typeface="Arial"/>
              </a:rPr>
              <a:t>Uses the context you’ve provided and </a:t>
            </a:r>
            <a:r>
              <a:rPr lang="en-US" sz="1200" b="1" dirty="0">
                <a:solidFill>
                  <a:schemeClr val="dk1"/>
                </a:solidFill>
                <a:latin typeface="Arial"/>
                <a:ea typeface="Arial"/>
                <a:cs typeface="Arial"/>
                <a:sym typeface="Arial"/>
              </a:rPr>
              <a:t>synthesizes code</a:t>
            </a:r>
            <a:r>
              <a:rPr lang="en-US" sz="1200" dirty="0">
                <a:solidFill>
                  <a:schemeClr val="dk1"/>
                </a:solidFill>
                <a:latin typeface="Arial"/>
                <a:ea typeface="Arial"/>
                <a:cs typeface="Arial"/>
                <a:sym typeface="Arial"/>
              </a:rPr>
              <a:t> to match</a:t>
            </a:r>
            <a:endParaRPr sz="1200" dirty="0">
              <a:latin typeface="Arial"/>
              <a:ea typeface="Arial"/>
              <a:cs typeface="Arial"/>
              <a:sym typeface="Arial"/>
            </a:endParaRPr>
          </a:p>
          <a:p>
            <a:pPr marL="457200" lvl="0" indent="-304800" algn="l" rtl="0">
              <a:spcBef>
                <a:spcPts val="400"/>
              </a:spcBef>
              <a:spcAft>
                <a:spcPts val="0"/>
              </a:spcAft>
              <a:buClr>
                <a:schemeClr val="dk1"/>
              </a:buClr>
              <a:buSzPts val="1200"/>
              <a:buFont typeface="Helvetica Neue"/>
              <a:buChar char="●"/>
            </a:pPr>
            <a:r>
              <a:rPr lang="en-US" sz="1200" b="1" dirty="0">
                <a:solidFill>
                  <a:schemeClr val="dk1"/>
                </a:solidFill>
                <a:latin typeface="Arial"/>
                <a:ea typeface="Arial"/>
                <a:cs typeface="Arial"/>
                <a:sym typeface="Arial"/>
              </a:rPr>
              <a:t>Convert comments to code:</a:t>
            </a:r>
            <a:r>
              <a:rPr lang="en-US" sz="1200" dirty="0">
                <a:solidFill>
                  <a:schemeClr val="dk1"/>
                </a:solidFill>
                <a:latin typeface="Arial"/>
                <a:ea typeface="Arial"/>
                <a:cs typeface="Arial"/>
                <a:sym typeface="Arial"/>
              </a:rPr>
              <a:t> describe the logic you want, and let GitHub Copilot assemble the code for you</a:t>
            </a:r>
            <a:endParaRPr sz="1200" dirty="0">
              <a:latin typeface="Arial"/>
              <a:ea typeface="Arial"/>
              <a:cs typeface="Arial"/>
              <a:sym typeface="Arial"/>
            </a:endParaRPr>
          </a:p>
          <a:p>
            <a:pPr marL="457200" lvl="0" indent="-304800" algn="l" rtl="0">
              <a:spcBef>
                <a:spcPts val="0"/>
              </a:spcBef>
              <a:spcAft>
                <a:spcPts val="0"/>
              </a:spcAft>
              <a:buClr>
                <a:schemeClr val="dk1"/>
              </a:buClr>
              <a:buSzPts val="1200"/>
              <a:buFont typeface="Helvetica Neue"/>
              <a:buChar char="●"/>
            </a:pPr>
            <a:r>
              <a:rPr lang="en-US" sz="1200" b="1" dirty="0">
                <a:solidFill>
                  <a:schemeClr val="dk1"/>
                </a:solidFill>
                <a:latin typeface="Arial"/>
                <a:ea typeface="Arial"/>
                <a:cs typeface="Arial"/>
                <a:sym typeface="Arial"/>
              </a:rPr>
              <a:t>Autofill for repetitive code:</a:t>
            </a:r>
            <a:r>
              <a:rPr lang="en-US" sz="1200" dirty="0">
                <a:solidFill>
                  <a:schemeClr val="dk1"/>
                </a:solidFill>
                <a:latin typeface="Arial"/>
                <a:ea typeface="Arial"/>
                <a:cs typeface="Arial"/>
                <a:sym typeface="Arial"/>
              </a:rPr>
              <a:t> quickly produces boilerplate and fills in repetitive code patterns</a:t>
            </a:r>
            <a:endParaRPr sz="1200" dirty="0">
              <a:latin typeface="Arial"/>
              <a:ea typeface="Arial"/>
              <a:cs typeface="Arial"/>
              <a:sym typeface="Arial"/>
            </a:endParaRPr>
          </a:p>
          <a:p>
            <a:pPr marL="457200" lvl="0" indent="-304800" algn="l" rtl="0">
              <a:spcBef>
                <a:spcPts val="0"/>
              </a:spcBef>
              <a:spcAft>
                <a:spcPts val="0"/>
              </a:spcAft>
              <a:buClr>
                <a:schemeClr val="dk1"/>
              </a:buClr>
              <a:buSzPts val="1200"/>
              <a:buFont typeface="Helvetica Neue"/>
              <a:buChar char="●"/>
            </a:pPr>
            <a:r>
              <a:rPr lang="en-US" sz="1200" b="1" dirty="0">
                <a:solidFill>
                  <a:schemeClr val="dk1"/>
                </a:solidFill>
                <a:latin typeface="Arial"/>
                <a:ea typeface="Arial"/>
                <a:cs typeface="Arial"/>
                <a:sym typeface="Arial"/>
              </a:rPr>
              <a:t>Show alternatives:</a:t>
            </a:r>
            <a:r>
              <a:rPr lang="en-US" sz="1200" dirty="0">
                <a:solidFill>
                  <a:schemeClr val="dk1"/>
                </a:solidFill>
                <a:latin typeface="Arial"/>
                <a:ea typeface="Arial"/>
                <a:cs typeface="Arial"/>
                <a:sym typeface="Arial"/>
              </a:rPr>
              <a:t> show a list of solutions to use as provided, or edit to meet your needs</a:t>
            </a:r>
            <a:endParaRPr sz="1200" dirty="0">
              <a:latin typeface="Arial"/>
              <a:ea typeface="Arial"/>
              <a:cs typeface="Arial"/>
              <a:sym typeface="Arial"/>
            </a:endParaRPr>
          </a:p>
          <a:p>
            <a:pPr marL="0" lvl="0" indent="0" algn="l" rtl="0">
              <a:spcBef>
                <a:spcPts val="0"/>
              </a:spcBef>
              <a:spcAft>
                <a:spcPts val="0"/>
              </a:spcAft>
              <a:buNone/>
            </a:pPr>
            <a:endParaRPr dirty="0"/>
          </a:p>
        </p:txBody>
      </p:sp>
      <p:sp>
        <p:nvSpPr>
          <p:cNvPr id="2977" name="Google Shape;2977;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1.jpeg"/><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30.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41.jpeg"/><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42.jpe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42.jpe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42.jpe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3.emf"/><Relationship Id="rId1" Type="http://schemas.openxmlformats.org/officeDocument/2006/relationships/slideMaster" Target="../slideMasters/slideMaster4.xml"/><Relationship Id="rId5" Type="http://schemas.openxmlformats.org/officeDocument/2006/relationships/image" Target="../media/image50.png"/><Relationship Id="rId4" Type="http://schemas.openxmlformats.org/officeDocument/2006/relationships/image" Target="../media/image49.jpe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6.xml"/><Relationship Id="rId1" Type="http://schemas.openxmlformats.org/officeDocument/2006/relationships/tags" Target="../tags/tag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pn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3.png"/><Relationship Id="rId1" Type="http://schemas.openxmlformats.org/officeDocument/2006/relationships/slideMaster" Target="../slideMasters/slideMaster8.xml"/><Relationship Id="rId4" Type="http://schemas.openxmlformats.org/officeDocument/2006/relationships/image" Target="../media/image64.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6.png"/><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pn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pn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9.png"/><Relationship Id="rId1" Type="http://schemas.openxmlformats.org/officeDocument/2006/relationships/slideMaster" Target="../slideMasters/slideMaster8.xml"/><Relationship Id="rId4" Type="http://schemas.openxmlformats.org/officeDocument/2006/relationships/image" Target="../media/image70.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0.pn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3.png"/><Relationship Id="rId1" Type="http://schemas.openxmlformats.org/officeDocument/2006/relationships/slideMaster" Target="../slideMasters/slideMaster9.xml"/><Relationship Id="rId4" Type="http://schemas.openxmlformats.org/officeDocument/2006/relationships/image" Target="../media/image64.png"/></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0.png"/></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9.png"/><Relationship Id="rId1" Type="http://schemas.openxmlformats.org/officeDocument/2006/relationships/slideMaster" Target="../slideMasters/slideMaster9.xml"/><Relationship Id="rId4" Type="http://schemas.openxmlformats.org/officeDocument/2006/relationships/image" Target="../media/image70.pn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10.xml"/><Relationship Id="rId4" Type="http://schemas.openxmlformats.org/officeDocument/2006/relationships/image" Target="../media/image74.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0.xml"/><Relationship Id="rId5" Type="http://schemas.openxmlformats.org/officeDocument/2006/relationships/image" Target="../media/image78.png"/><Relationship Id="rId4" Type="http://schemas.openxmlformats.org/officeDocument/2006/relationships/image" Target="../media/image77.png"/></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hyperlink" Target="https://github.slack.com/archives/C0308E9K1LG" TargetMode="External"/><Relationship Id="rId1" Type="http://schemas.openxmlformats.org/officeDocument/2006/relationships/slideMaster" Target="../slideMasters/slideMaster10.xml"/><Relationship Id="rId5" Type="http://schemas.openxmlformats.org/officeDocument/2006/relationships/image" Target="../media/image82.png"/><Relationship Id="rId4" Type="http://schemas.openxmlformats.org/officeDocument/2006/relationships/image" Target="../media/image81.pn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83.png"/><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84.png"/><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85.png"/><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0.png"/><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0.png"/><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0.pn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97.png"/><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84.png"/><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1.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0.png"/><Relationship Id="rId1" Type="http://schemas.openxmlformats.org/officeDocument/2006/relationships/slideMaster" Target="../slideMasters/slideMaster1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0.png"/><Relationship Id="rId1" Type="http://schemas.openxmlformats.org/officeDocument/2006/relationships/slideMaster" Target="../slideMasters/slideMaster11.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0.png"/><Relationship Id="rId1" Type="http://schemas.openxmlformats.org/officeDocument/2006/relationships/slideMaster" Target="../slideMasters/slideMaster1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1.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1.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hyperlink" Target="https://github.slack.com/archives/C0308E9K1LG" TargetMode="External"/><Relationship Id="rId1" Type="http://schemas.openxmlformats.org/officeDocument/2006/relationships/slideMaster" Target="../slideMasters/slideMaster11.xml"/><Relationship Id="rId5" Type="http://schemas.openxmlformats.org/officeDocument/2006/relationships/image" Target="../media/image82.png"/><Relationship Id="rId4" Type="http://schemas.openxmlformats.org/officeDocument/2006/relationships/image" Target="../media/image81.png"/></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Master" Target="../slideMasters/slideMaster11.xml"/><Relationship Id="rId4" Type="http://schemas.openxmlformats.org/officeDocument/2006/relationships/image" Target="../media/image101.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Master" Target="../slideMasters/slideMaster11.xml"/><Relationship Id="rId5" Type="http://schemas.openxmlformats.org/officeDocument/2006/relationships/image" Target="../media/image78.png"/><Relationship Id="rId4" Type="http://schemas.openxmlformats.org/officeDocument/2006/relationships/image" Target="../media/image77.png"/></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1.xml"/></Relationships>
</file>

<file path=ppt/slideLayouts/_rels/slideLayout562.xml.rels><?xml version="1.0" encoding="UTF-8" standalone="yes"?>
<Relationships xmlns="http://schemas.openxmlformats.org/package/2006/relationships"><Relationship Id="rId2" Type="http://schemas.openxmlformats.org/officeDocument/2006/relationships/hyperlink" Target="https://drive.google.com/drive/folders/1nmFRjh0YU_C94U0WmPKIViQotiYUV98G" TargetMode="External"/><Relationship Id="rId1" Type="http://schemas.openxmlformats.org/officeDocument/2006/relationships/slideMaster" Target="../slideMasters/slideMaster11.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30.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36.jpe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2.xml"/><Relationship Id="rId5" Type="http://schemas.openxmlformats.org/officeDocument/2006/relationships/image" Target="../media/image40.jpeg"/><Relationship Id="rId4" Type="http://schemas.openxmlformats.org/officeDocument/2006/relationships/image" Target="../media/image39.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A2ABC6-B814-47F0-773C-E98F4FAB0934}"/>
              </a:ext>
            </a:extLst>
          </p:cNvPr>
          <p:cNvSpPr>
            <a:spLocks noGrp="1"/>
          </p:cNvSpPr>
          <p:nvPr>
            <p:ph type="body" sz="quarter" idx="11" hasCustomPrompt="1"/>
          </p:nvPr>
        </p:nvSpPr>
        <p:spPr>
          <a:xfrm>
            <a:off x="584201" y="675179"/>
            <a:ext cx="11128187" cy="763655"/>
          </a:xfrm>
        </p:spPr>
        <p:txBody>
          <a:bodyPr anchor="b">
            <a:noAutofit/>
          </a:bodyPr>
          <a:lstStyle>
            <a:lvl1pPr marL="0" indent="0">
              <a:buNone/>
              <a:defRPr sz="48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p>
        </p:txBody>
      </p:sp>
    </p:spTree>
    <p:extLst>
      <p:ext uri="{BB962C8B-B14F-4D97-AF65-F5344CB8AC3E}">
        <p14:creationId xmlns:p14="http://schemas.microsoft.com/office/powerpoint/2010/main" val="15306179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77294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66796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54342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8708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31847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79008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67788893"/>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48732420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043572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903418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Gradient_Dark">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7768510A-173B-19F7-1F2D-ED780D611BCC}"/>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3FF8037D-7395-DB31-4944-B785BC05F194}"/>
              </a:ext>
            </a:extLst>
          </p:cNvPr>
          <p:cNvSpPr txBox="1"/>
          <p:nvPr userDrawn="1"/>
        </p:nvSpPr>
        <p:spPr>
          <a:xfrm>
            <a:off x="721361" y="1234451"/>
            <a:ext cx="3210560" cy="2385268"/>
          </a:xfrm>
          <a:prstGeom prst="rect">
            <a:avLst/>
          </a:prstGeom>
          <a:noFill/>
        </p:spPr>
        <p:txBody>
          <a:bodyPr wrap="square" lIns="0" tIns="0" rIns="0" bIns="0" rtlCol="0">
            <a:spAutoFit/>
          </a:bodyPr>
          <a:lstStyle/>
          <a:p>
            <a:pPr algn="l"/>
            <a:r>
              <a:rPr lang="en-US" sz="15500" b="1" i="0">
                <a:solidFill>
                  <a:schemeClr val="accent1"/>
                </a:solidFill>
                <a:latin typeface="Segoe UI Black" panose="020B0502040204020203" pitchFamily="34" charset="0"/>
                <a:cs typeface="Segoe UI Black" panose="020B0502040204020203" pitchFamily="34" charset="0"/>
              </a:rPr>
              <a:t>“</a:t>
            </a:r>
          </a:p>
        </p:txBody>
      </p:sp>
      <p:sp>
        <p:nvSpPr>
          <p:cNvPr id="6" name="Text Placeholder 2">
            <a:extLst>
              <a:ext uri="{FF2B5EF4-FFF2-40B4-BE49-F238E27FC236}">
                <a16:creationId xmlns:a16="http://schemas.microsoft.com/office/drawing/2014/main" id="{353DB693-9E14-2A54-6E54-90F1A991A200}"/>
              </a:ext>
            </a:extLst>
          </p:cNvPr>
          <p:cNvSpPr>
            <a:spLocks noGrp="1"/>
          </p:cNvSpPr>
          <p:nvPr>
            <p:ph type="body" sz="quarter" idx="11" hasCustomPrompt="1"/>
          </p:nvPr>
        </p:nvSpPr>
        <p:spPr>
          <a:xfrm>
            <a:off x="1119949" y="2232401"/>
            <a:ext cx="9952101" cy="1846659"/>
          </a:xfrm>
        </p:spPr>
        <p:txBody>
          <a:bodyPr/>
          <a:lstStyle>
            <a:lvl1pPr marL="0" indent="0">
              <a:buNone/>
              <a:defRPr sz="4000" b="0" i="0">
                <a:solidFill>
                  <a:schemeClr val="bg1"/>
                </a:solidFill>
                <a:latin typeface="+mn-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Add quote text here Add quote text here Add quote text here Add quote text here Add quote text here</a:t>
            </a:r>
            <a:endParaRPr lang="en-IN" sz="6600" b="1">
              <a:latin typeface="Segoe UI" panose="020B0502040204020203" pitchFamily="34" charset="0"/>
            </a:endParaRPr>
          </a:p>
        </p:txBody>
      </p:sp>
      <p:sp>
        <p:nvSpPr>
          <p:cNvPr id="4" name="Text Placeholder 3">
            <a:extLst>
              <a:ext uri="{FF2B5EF4-FFF2-40B4-BE49-F238E27FC236}">
                <a16:creationId xmlns:a16="http://schemas.microsoft.com/office/drawing/2014/main" id="{7992A918-02AA-575F-23C6-911589CBDF20}"/>
              </a:ext>
            </a:extLst>
          </p:cNvPr>
          <p:cNvSpPr>
            <a:spLocks noGrp="1"/>
          </p:cNvSpPr>
          <p:nvPr>
            <p:ph type="body" sz="quarter" idx="12" hasCustomPrompt="1"/>
          </p:nvPr>
        </p:nvSpPr>
        <p:spPr>
          <a:xfrm>
            <a:off x="1119188" y="4301490"/>
            <a:ext cx="9953625" cy="246221"/>
          </a:xfrm>
        </p:spPr>
        <p:txBody>
          <a:bodyPr/>
          <a:lstStyle>
            <a:lvl1pPr marL="0" indent="0">
              <a:buNone/>
              <a:defRPr sz="1600">
                <a:solidFill>
                  <a:schemeClr val="bg1"/>
                </a:solidFill>
                <a:latin typeface="Segoe UI Semibold" panose="020B0702040204020203" pitchFamily="34" charset="0"/>
                <a:cs typeface="Segoe UI Semibold" panose="020B0702040204020203" pitchFamily="34" charset="0"/>
              </a:defRPr>
            </a:lvl1pPr>
          </a:lstStyle>
          <a:p>
            <a:pPr lvl="0"/>
            <a:r>
              <a:rPr lang="en-US"/>
              <a:t>Person’s Name – Title - Source</a:t>
            </a:r>
          </a:p>
        </p:txBody>
      </p:sp>
      <p:sp>
        <p:nvSpPr>
          <p:cNvPr id="10" name="Text Placeholder 9">
            <a:extLst>
              <a:ext uri="{FF2B5EF4-FFF2-40B4-BE49-F238E27FC236}">
                <a16:creationId xmlns:a16="http://schemas.microsoft.com/office/drawing/2014/main" id="{D1B73588-49A5-083F-AAE2-0402292EFB62}"/>
              </a:ext>
            </a:extLst>
          </p:cNvPr>
          <p:cNvSpPr>
            <a:spLocks noGrp="1"/>
          </p:cNvSpPr>
          <p:nvPr>
            <p:ph type="body" sz="quarter" idx="13" hasCustomPrompt="1"/>
          </p:nvPr>
        </p:nvSpPr>
        <p:spPr>
          <a:xfrm>
            <a:off x="1119188" y="4599146"/>
            <a:ext cx="9953625" cy="184666"/>
          </a:xfrm>
        </p:spPr>
        <p:txBody>
          <a:bodyPr/>
          <a:lstStyle>
            <a:lvl1pPr marL="0" indent="0">
              <a:buNone/>
              <a:defRPr sz="1200" b="0" i="0">
                <a:solidFill>
                  <a:schemeClr val="bg1"/>
                </a:solidFill>
                <a:latin typeface="+mn-lt"/>
                <a:cs typeface="Segoe UI Semilight" panose="020B0402040204020203" pitchFamily="34" charset="0"/>
              </a:defRPr>
            </a:lvl1pPr>
          </a:lstStyle>
          <a:p>
            <a:pPr lvl="0"/>
            <a:r>
              <a:rPr lang="en-US"/>
              <a:t>Tertiary Information Goes Here</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55653178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104687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020578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93889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9879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6855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33296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484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44572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31470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3908959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_White">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FF8037D-7395-DB31-4944-B785BC05F194}"/>
              </a:ext>
            </a:extLst>
          </p:cNvPr>
          <p:cNvSpPr txBox="1"/>
          <p:nvPr userDrawn="1"/>
        </p:nvSpPr>
        <p:spPr>
          <a:xfrm>
            <a:off x="721361" y="1249056"/>
            <a:ext cx="3210560" cy="2385268"/>
          </a:xfrm>
          <a:prstGeom prst="rect">
            <a:avLst/>
          </a:prstGeom>
          <a:noFill/>
        </p:spPr>
        <p:txBody>
          <a:bodyPr wrap="square" lIns="0" tIns="0" rIns="0" bIns="0" rtlCol="0">
            <a:spAutoFit/>
          </a:bodyPr>
          <a:lstStyle/>
          <a:p>
            <a:pPr algn="l"/>
            <a:r>
              <a:rPr lang="en-US" sz="15500" b="1" i="0">
                <a:solidFill>
                  <a:schemeClr val="bg2"/>
                </a:solidFill>
                <a:latin typeface="Segoe UI Black" panose="020B0502040204020203" pitchFamily="34" charset="0"/>
                <a:cs typeface="Segoe UI Black" panose="020B0502040204020203" pitchFamily="34" charset="0"/>
              </a:rPr>
              <a:t>“</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p:txBody>
          <a:bodyPr/>
          <a:lstStyle/>
          <a:p>
            <a:r>
              <a:rPr lang="en-US"/>
              <a:t>Microsoft Confidential</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p>
            <a:fld id="{F126207E-29C7-4F9F-8309-C6BAAD6BC8C8}" type="slidenum">
              <a:rPr lang="en-US" smtClean="0"/>
              <a:pPr/>
              <a:t>‹#›</a:t>
            </a:fld>
            <a:endParaRPr lang="en-US"/>
          </a:p>
        </p:txBody>
      </p:sp>
      <p:sp>
        <p:nvSpPr>
          <p:cNvPr id="3" name="Text Placeholder 2">
            <a:extLst>
              <a:ext uri="{FF2B5EF4-FFF2-40B4-BE49-F238E27FC236}">
                <a16:creationId xmlns:a16="http://schemas.microsoft.com/office/drawing/2014/main" id="{D1A3D33B-0846-E270-67D0-568C86BF9F51}"/>
              </a:ext>
            </a:extLst>
          </p:cNvPr>
          <p:cNvSpPr>
            <a:spLocks noGrp="1"/>
          </p:cNvSpPr>
          <p:nvPr>
            <p:ph type="body" sz="quarter" idx="11" hasCustomPrompt="1"/>
          </p:nvPr>
        </p:nvSpPr>
        <p:spPr>
          <a:xfrm>
            <a:off x="1119949" y="2232401"/>
            <a:ext cx="9952101" cy="1846659"/>
          </a:xfrm>
        </p:spPr>
        <p:txBody>
          <a:bodyPr/>
          <a:lstStyle>
            <a:lvl1pPr marL="0" indent="0">
              <a:buNone/>
              <a:defRPr sz="4000" b="0" i="0">
                <a:solidFill>
                  <a:schemeClr val="tx1"/>
                </a:solidFill>
                <a:latin typeface="+mn-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Add quote text here Add quote text here Add quote text here Add quote text here Add quote text here</a:t>
            </a:r>
            <a:endParaRPr lang="en-IN" sz="6600" b="1">
              <a:latin typeface="Segoe UI" panose="020B0502040204020203" pitchFamily="34" charset="0"/>
            </a:endParaRPr>
          </a:p>
        </p:txBody>
      </p:sp>
      <p:sp>
        <p:nvSpPr>
          <p:cNvPr id="5" name="Text Placeholder 3">
            <a:extLst>
              <a:ext uri="{FF2B5EF4-FFF2-40B4-BE49-F238E27FC236}">
                <a16:creationId xmlns:a16="http://schemas.microsoft.com/office/drawing/2014/main" id="{6A020AF3-FE93-EFCF-E084-EA2A1BA23A69}"/>
              </a:ext>
            </a:extLst>
          </p:cNvPr>
          <p:cNvSpPr>
            <a:spLocks noGrp="1"/>
          </p:cNvSpPr>
          <p:nvPr>
            <p:ph type="body" sz="quarter" idx="12" hasCustomPrompt="1"/>
          </p:nvPr>
        </p:nvSpPr>
        <p:spPr>
          <a:xfrm>
            <a:off x="1119188" y="4301490"/>
            <a:ext cx="9953625" cy="246221"/>
          </a:xfrm>
        </p:spPr>
        <p:txBody>
          <a:bodyPr/>
          <a:lstStyle>
            <a:lvl1pPr marL="0" indent="0">
              <a:buNone/>
              <a:defRPr sz="1600">
                <a:solidFill>
                  <a:schemeClr val="tx1"/>
                </a:solidFill>
                <a:latin typeface="Segoe UI Semibold" panose="020B0702040204020203" pitchFamily="34" charset="0"/>
                <a:cs typeface="Segoe UI Semibold" panose="020B0702040204020203" pitchFamily="34" charset="0"/>
              </a:defRPr>
            </a:lvl1pPr>
          </a:lstStyle>
          <a:p>
            <a:pPr lvl="0"/>
            <a:r>
              <a:rPr lang="en-US"/>
              <a:t>Person’s Name – Title - Source</a:t>
            </a:r>
          </a:p>
        </p:txBody>
      </p:sp>
      <p:sp>
        <p:nvSpPr>
          <p:cNvPr id="9" name="Text Placeholder 9">
            <a:extLst>
              <a:ext uri="{FF2B5EF4-FFF2-40B4-BE49-F238E27FC236}">
                <a16:creationId xmlns:a16="http://schemas.microsoft.com/office/drawing/2014/main" id="{CCD47743-083A-D131-B5C6-F50D02ECF395}"/>
              </a:ext>
            </a:extLst>
          </p:cNvPr>
          <p:cNvSpPr>
            <a:spLocks noGrp="1"/>
          </p:cNvSpPr>
          <p:nvPr>
            <p:ph type="body" sz="quarter" idx="13" hasCustomPrompt="1"/>
          </p:nvPr>
        </p:nvSpPr>
        <p:spPr>
          <a:xfrm>
            <a:off x="1119188" y="4599146"/>
            <a:ext cx="9953625" cy="184666"/>
          </a:xfrm>
        </p:spPr>
        <p:txBody>
          <a:bodyPr/>
          <a:lstStyle>
            <a:lvl1pPr marL="0" indent="0">
              <a:buNone/>
              <a:defRPr sz="1200" b="0" i="0">
                <a:solidFill>
                  <a:schemeClr val="tx1"/>
                </a:solidFill>
                <a:latin typeface="+mn-lt"/>
                <a:cs typeface="Segoe UI Semilight" panose="020B0402040204020203" pitchFamily="34" charset="0"/>
              </a:defRPr>
            </a:lvl1pPr>
          </a:lstStyle>
          <a:p>
            <a:pPr lvl="0"/>
            <a:r>
              <a:rPr lang="en-US"/>
              <a:t>Tertiary Information Goes Here</a:t>
            </a:r>
          </a:p>
        </p:txBody>
      </p:sp>
    </p:spTree>
    <p:extLst>
      <p:ext uri="{BB962C8B-B14F-4D97-AF65-F5344CB8AC3E}">
        <p14:creationId xmlns:p14="http://schemas.microsoft.com/office/powerpoint/2010/main" val="143351309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DEE69-3F33-46A0-AEC1-0C73804C83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9826ED-BD1D-4C6B-8D3C-F5E2C45D74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EC0665-4453-4DC3-8A47-00D8D2937314}"/>
              </a:ext>
            </a:extLst>
          </p:cNvPr>
          <p:cNvSpPr>
            <a:spLocks noGrp="1"/>
          </p:cNvSpPr>
          <p:nvPr>
            <p:ph type="dt" sz="half" idx="10"/>
          </p:nvPr>
        </p:nvSpPr>
        <p:spPr/>
        <p:txBody>
          <a:bodyPr/>
          <a:lstStyle/>
          <a:p>
            <a:fld id="{B8DDED11-4E6A-458B-81D8-9F1C5BA9B72E}" type="datetimeFigureOut">
              <a:rPr lang="en-US" smtClean="0"/>
              <a:t>3/5/2024</a:t>
            </a:fld>
            <a:endParaRPr lang="en-US"/>
          </a:p>
        </p:txBody>
      </p:sp>
      <p:sp>
        <p:nvSpPr>
          <p:cNvPr id="5" name="Footer Placeholder 4">
            <a:extLst>
              <a:ext uri="{FF2B5EF4-FFF2-40B4-BE49-F238E27FC236}">
                <a16:creationId xmlns:a16="http://schemas.microsoft.com/office/drawing/2014/main" id="{86FCA0A3-5F83-4EF0-91AB-A7B5E03186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D2E2B8-AD8B-4995-ABB8-023BE8772943}"/>
              </a:ext>
            </a:extLst>
          </p:cNvPr>
          <p:cNvSpPr>
            <a:spLocks noGrp="1"/>
          </p:cNvSpPr>
          <p:nvPr>
            <p:ph type="sldNum" sz="quarter" idx="12"/>
          </p:nvPr>
        </p:nvSpPr>
        <p:spPr/>
        <p:txBody>
          <a:bodyPr/>
          <a:lstStyle/>
          <a:p>
            <a:fld id="{A854E95A-2724-4C32-8805-4CA84F67F66A}" type="slidenum">
              <a:rPr lang="en-US" smtClean="0"/>
              <a:t>‹#›</a:t>
            </a:fld>
            <a:endParaRPr lang="en-US"/>
          </a:p>
        </p:txBody>
      </p:sp>
    </p:spTree>
    <p:extLst>
      <p:ext uri="{BB962C8B-B14F-4D97-AF65-F5344CB8AC3E}">
        <p14:creationId xmlns:p14="http://schemas.microsoft.com/office/powerpoint/2010/main" val="126019942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Photo layout 1">
    <p:bg>
      <p:bgPr>
        <a:solidFill>
          <a:srgbClr val="1A1B2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chemeClr val="bg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202758"/>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301770"/>
          </a:xfrm>
          <a:prstGeom prst="rect">
            <a:avLst/>
          </a:prstGeom>
        </p:spPr>
        <p:txBody>
          <a:bodyPr wrap="square" lIns="0" tIns="0" rIns="0" bIns="0">
            <a:spAutoFit/>
          </a:bodyPr>
          <a:lstStyle>
            <a:lvl1pPr marL="0" indent="0">
              <a:lnSpc>
                <a:spcPts val="2353"/>
              </a:lnSpc>
              <a:buNone/>
              <a:defRPr lang="en-US" sz="1961" kern="1200" spc="0" baseline="0" dirty="0">
                <a:solidFill>
                  <a:schemeClr val="bg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4"/>
            <a:ext cx="11306469"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D2D2D2">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6"/>
            <a:ext cx="4822951" cy="662257"/>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bg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202758"/>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62257"/>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bg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5473858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Light"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8929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latin typeface="+mj-lt"/>
                <a:cs typeface="Segoe UI Light" panose="020B0502040204020203" pitchFamily="34" charset="0"/>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9018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atin typeface="+mn-lt"/>
              </a:defRPr>
            </a:lvl1pPr>
            <a:lvl2pPr marL="228600" indent="0">
              <a:buNone/>
              <a:defRPr>
                <a:latin typeface="+mn-lt"/>
              </a:defRPr>
            </a:lvl2pPr>
            <a:lvl3pPr marL="457200" indent="0">
              <a:buNone/>
              <a:defRPr>
                <a:latin typeface="+mn-lt"/>
              </a:defRPr>
            </a:lvl3pPr>
            <a:lvl4pPr marL="685800" indent="0">
              <a:buNone/>
              <a:defRPr>
                <a:latin typeface="+mn-lt"/>
              </a:defRPr>
            </a:lvl4pPr>
            <a:lvl5pPr marL="914400" indent="0">
              <a:buNone/>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97583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Segoe UI Light" panose="020B0502040204020203" pitchFamily="34" charset="0"/>
                <a:cs typeface="Segoe UI Light"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58901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0659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34000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9367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6375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Half_Gradient_Dark">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967B9A36-AFB3-9AFF-01B8-541D1DFB970C}"/>
              </a:ext>
            </a:extLst>
          </p:cNvPr>
          <p:cNvSpPr/>
          <p:nvPr userDrawn="1"/>
        </p:nvSpPr>
        <p:spPr bwMode="auto">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p:txBody>
          <a:bodyPr/>
          <a:lstStyle>
            <a:lvl1pPr>
              <a:defRPr>
                <a:solidFill>
                  <a:schemeClr val="bg1"/>
                </a:solidFill>
              </a:defRPr>
            </a:lvl1pPr>
          </a:lstStyle>
          <a:p>
            <a:r>
              <a:rPr lang="en-US"/>
              <a:t>Microsoft Confidential</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36962011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545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solidFill>
                  <a:schemeClr val="accent2"/>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519008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latin typeface="Segoe UI Light" panose="020B0502040204020203" pitchFamily="34" charset="0"/>
                <a:cs typeface="Segoe UI Light"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76611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6006981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611797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51759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latin typeface="Segoe UI Light" panose="020B0502040204020203" pitchFamily="34" charset="0"/>
                <a:cs typeface="Segoe UI Light"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86899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85342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016890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59671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_Half_Whit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UI" panose="020B0502040204020203" pitchFamily="34" charset="0"/>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tx1"/>
                </a:solidFill>
                <a:latin typeface="+mj-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5E399C12-5BC6-06F2-295F-1C6292C103F9}"/>
              </a:ext>
            </a:extLst>
          </p:cNvPr>
          <p:cNvSpPr>
            <a:spLocks noGrp="1"/>
          </p:cNvSpPr>
          <p:nvPr>
            <p:ph type="ftr" sz="quarter" idx="23"/>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751DC71E-905C-13BA-8BEE-155F4B01A2C6}"/>
              </a:ext>
            </a:extLst>
          </p:cNvPr>
          <p:cNvSpPr>
            <a:spLocks noGrp="1"/>
          </p:cNvSpPr>
          <p:nvPr>
            <p:ph type="sldNum" sz="quarter" idx="24"/>
          </p:nvPr>
        </p:nvSpPr>
        <p:spPr/>
        <p:txBody>
          <a:bodyPr/>
          <a:lstStyle/>
          <a:p>
            <a:fld id="{F126207E-29C7-4F9F-8309-C6BAAD6BC8C8}" type="slidenum">
              <a:rPr lang="en-US" smtClean="0"/>
              <a:pPr/>
              <a:t>‹#›</a:t>
            </a:fld>
            <a:endParaRPr lang="en-US"/>
          </a:p>
        </p:txBody>
      </p:sp>
      <p:cxnSp>
        <p:nvCxnSpPr>
          <p:cNvPr id="21" name="Straight Connector 20">
            <a:extLst>
              <a:ext uri="{FF2B5EF4-FFF2-40B4-BE49-F238E27FC236}">
                <a16:creationId xmlns:a16="http://schemas.microsoft.com/office/drawing/2014/main" id="{E2AF11C5-E7BE-76FB-76BD-F5BCFAD8287B}"/>
              </a:ext>
            </a:extLst>
          </p:cNvPr>
          <p:cNvCxnSpPr>
            <a:cxnSpLocks/>
          </p:cNvCxnSpPr>
          <p:nvPr userDrawn="1"/>
        </p:nvCxnSpPr>
        <p:spPr>
          <a:xfrm>
            <a:off x="6096000" y="577850"/>
            <a:ext cx="0" cy="570230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91289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996179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196341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01177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23620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37556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777"/>
          </a:xfrm>
        </p:spPr>
        <p:txBody>
          <a:bodyPr/>
          <a:lstStyle>
            <a:lvl1pPr marL="0" indent="0">
              <a:buFontTx/>
              <a:buNone/>
              <a:defRPr sz="2000">
                <a:latin typeface="+mn-lt"/>
              </a:defRPr>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90081686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69332"/>
          </a:xfrm>
        </p:spPr>
        <p:txBody>
          <a:bodyPr/>
          <a:lstStyle>
            <a:lvl1pPr marL="0" indent="0">
              <a:spcAft>
                <a:spcPts val="1200"/>
              </a:spcAft>
              <a:buNone/>
              <a:defRPr sz="2400">
                <a:latin typeface="+mn-lt"/>
              </a:defRPr>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905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354394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9"/>
            <a:ext cx="6669658" cy="430887"/>
          </a:xfrm>
        </p:spPr>
        <p:txBody>
          <a:bodyPr anchor="ctr" anchorCtr="0"/>
          <a:lstStyle>
            <a:lvl1pPr marL="0" indent="0">
              <a:spcAft>
                <a:spcPts val="1200"/>
              </a:spcAft>
              <a:buNone/>
              <a:defRPr sz="2800">
                <a:latin typeface="+mn-lt"/>
              </a:defRPr>
            </a:lvl1pPr>
            <a:lvl2pPr marL="228600" indent="0">
              <a:buNone/>
              <a:defRPr/>
            </a:lvl2pPr>
          </a:lstStyle>
          <a:p>
            <a:pPr lvl="0"/>
            <a:r>
              <a:rPr lang="en-US"/>
              <a:t>Edit Master text styles</a:t>
            </a:r>
          </a:p>
        </p:txBody>
      </p:sp>
    </p:spTree>
    <p:extLst>
      <p:ext uri="{BB962C8B-B14F-4D97-AF65-F5344CB8AC3E}">
        <p14:creationId xmlns:p14="http://schemas.microsoft.com/office/powerpoint/2010/main" val="38226146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7742933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988668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_Bleed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6857999"/>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4413251"/>
            <a:ext cx="4994021" cy="1631950"/>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Tree>
    <p:extLst>
      <p:ext uri="{BB962C8B-B14F-4D97-AF65-F5344CB8AC3E}">
        <p14:creationId xmlns:p14="http://schemas.microsoft.com/office/powerpoint/2010/main" val="20708149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8619878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34223815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1394693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Light" panose="020B05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cs typeface="Segoe UI Light" panose="020B0502040204020203" pitchFamily="34" charset="0"/>
              </a:defRPr>
            </a:lvl1pPr>
          </a:lstStyle>
          <a:p>
            <a:pPr lvl="0"/>
            <a:r>
              <a:rPr lang="en-US"/>
              <a:t>Speaker name</a:t>
            </a:r>
          </a:p>
        </p:txBody>
      </p:sp>
    </p:spTree>
    <p:extLst>
      <p:ext uri="{BB962C8B-B14F-4D97-AF65-F5344CB8AC3E}">
        <p14:creationId xmlns:p14="http://schemas.microsoft.com/office/powerpoint/2010/main" val="2167353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Segoe UI Light" panose="020B0502040204020203" pitchFamily="34" charset="0"/>
                <a:ea typeface="+mn-ea"/>
                <a:cs typeface="Segoe UI Light" panose="020B05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a:t>Speaker name</a:t>
            </a:r>
          </a:p>
        </p:txBody>
      </p:sp>
    </p:spTree>
    <p:extLst>
      <p:ext uri="{BB962C8B-B14F-4D97-AF65-F5344CB8AC3E}">
        <p14:creationId xmlns:p14="http://schemas.microsoft.com/office/powerpoint/2010/main" val="423810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a:t>Speaker name</a:t>
            </a:r>
          </a:p>
        </p:txBody>
      </p:sp>
    </p:spTree>
    <p:extLst>
      <p:ext uri="{BB962C8B-B14F-4D97-AF65-F5344CB8AC3E}">
        <p14:creationId xmlns:p14="http://schemas.microsoft.com/office/powerpoint/2010/main" val="152290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Light" panose="020B0502040204020203" pitchFamily="34" charset="0"/>
              </a:defRPr>
            </a:lvl1pPr>
          </a:lstStyle>
          <a:p>
            <a:r>
              <a:rPr lang="en-US"/>
              <a:t>Section title</a:t>
            </a:r>
          </a:p>
        </p:txBody>
      </p:sp>
    </p:spTree>
    <p:extLst>
      <p:ext uri="{BB962C8B-B14F-4D97-AF65-F5344CB8AC3E}">
        <p14:creationId xmlns:p14="http://schemas.microsoft.com/office/powerpoint/2010/main" val="1426845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Segoe UI Light" panose="020B0502040204020203" pitchFamily="34" charset="0"/>
                <a:ea typeface="+mn-ea"/>
                <a:cs typeface="Segoe UI Light" panose="020B0502040204020203" pitchFamily="34" charset="0"/>
              </a:defRPr>
            </a:lvl1pPr>
          </a:lstStyle>
          <a:p>
            <a:r>
              <a:rPr lang="en-US"/>
              <a:t>Section title</a:t>
            </a:r>
          </a:p>
        </p:txBody>
      </p:sp>
    </p:spTree>
    <p:extLst>
      <p:ext uri="{BB962C8B-B14F-4D97-AF65-F5344CB8AC3E}">
        <p14:creationId xmlns:p14="http://schemas.microsoft.com/office/powerpoint/2010/main" val="36064635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Section title</a:t>
            </a:r>
          </a:p>
        </p:txBody>
      </p:sp>
    </p:spTree>
    <p:extLst>
      <p:ext uri="{BB962C8B-B14F-4D97-AF65-F5344CB8AC3E}">
        <p14:creationId xmlns:p14="http://schemas.microsoft.com/office/powerpoint/2010/main" val="279381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292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_Bleed_Top_Dark">
    <p:spTree>
      <p:nvGrpSpPr>
        <p:cNvPr id="1" name=""/>
        <p:cNvGrpSpPr/>
        <p:nvPr/>
      </p:nvGrpSpPr>
      <p:grpSpPr>
        <a:xfrm>
          <a:off x="0" y="0"/>
          <a:ext cx="0" cy="0"/>
          <a:chOff x="0" y="0"/>
          <a:chExt cx="0" cy="0"/>
        </a:xfrm>
      </p:grpSpPr>
      <p:sp>
        <p:nvSpPr>
          <p:cNvPr id="6" name="Freeform: Shape 21">
            <a:extLst>
              <a:ext uri="{FF2B5EF4-FFF2-40B4-BE49-F238E27FC236}">
                <a16:creationId xmlns:a16="http://schemas.microsoft.com/office/drawing/2014/main" id="{13669B96-73C7-395C-015A-E045A1D58DE0}"/>
              </a:ext>
            </a:extLst>
          </p:cNvPr>
          <p:cNvSpPr/>
          <p:nvPr userDrawn="1"/>
        </p:nvSpPr>
        <p:spPr bwMode="auto">
          <a:xfrm>
            <a:off x="0" y="0"/>
            <a:ext cx="12192000" cy="93915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939151"/>
            <a:ext cx="12192000" cy="5918848"/>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C57B295A-33AB-0FBB-B09A-55A027E0B411}"/>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Tree>
    <p:extLst>
      <p:ext uri="{BB962C8B-B14F-4D97-AF65-F5344CB8AC3E}">
        <p14:creationId xmlns:p14="http://schemas.microsoft.com/office/powerpoint/2010/main" val="24978779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50790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hasCustomPrompt="1"/>
          </p:nvPr>
        </p:nvSpPr>
        <p:spPr>
          <a:xfrm>
            <a:off x="588263" y="1436688"/>
            <a:ext cx="11018520" cy="812530"/>
          </a:xfrm>
        </p:spPr>
        <p:txBody>
          <a:bodyPr/>
          <a:lstStyle>
            <a:lvl1pPr marL="0" indent="0">
              <a:buNone/>
              <a:defRPr sz="2400">
                <a:gradFill>
                  <a:gsLst>
                    <a:gs pos="61049">
                      <a:schemeClr val="tx1"/>
                    </a:gs>
                    <a:gs pos="43000">
                      <a:schemeClr val="tx1"/>
                    </a:gs>
                  </a:gsLst>
                  <a:lin ang="5400000" scaled="0"/>
                </a:gradFill>
                <a:latin typeface="Lucida Console" panose="020B0609040504020204" pitchFamily="49" charset="0"/>
                <a:cs typeface="Lucida Console" panose="020B0609040504020204" pitchFamily="49" charset="0"/>
              </a:defRPr>
            </a:lvl1pPr>
            <a:lvl2pPr marL="346553" indent="0">
              <a:buNone/>
              <a:defRPr lang="en-US" sz="2400" kern="1200" spc="0" baseline="0" dirty="0">
                <a:gradFill>
                  <a:gsLst>
                    <a:gs pos="61049">
                      <a:schemeClr val="tx1"/>
                    </a:gs>
                    <a:gs pos="43000">
                      <a:schemeClr val="tx1"/>
                    </a:gs>
                  </a:gsLst>
                  <a:lin ang="5400000" scaled="0"/>
                </a:gradFill>
                <a:latin typeface="Lucida Console" panose="020B0609040504020204" pitchFamily="49" charset="0"/>
                <a:ea typeface="+mn-ea"/>
                <a:cs typeface="Lucida Console" panose="020B0609040504020204" pitchFamily="49" charset="0"/>
              </a:defRPr>
            </a:lvl2pPr>
            <a:lvl3pPr marL="584607" indent="0">
              <a:buNone/>
              <a:defRPr sz="1800">
                <a:gradFill>
                  <a:gsLst>
                    <a:gs pos="61049">
                      <a:schemeClr val="tx1"/>
                    </a:gs>
                    <a:gs pos="43000">
                      <a:schemeClr val="tx1"/>
                    </a:gs>
                  </a:gsLst>
                  <a:lin ang="5400000" scaled="0"/>
                </a:gradFill>
                <a:latin typeface="Lucida Console" panose="020B0609040504020204" pitchFamily="49" charset="0"/>
                <a:cs typeface="Lucida Console" panose="020B0609040504020204" pitchFamily="49" charset="0"/>
              </a:defRPr>
            </a:lvl3pPr>
            <a:lvl4pPr marL="814563" indent="0">
              <a:buNone/>
              <a:defRPr sz="1600">
                <a:gradFill>
                  <a:gsLst>
                    <a:gs pos="61049">
                      <a:schemeClr val="tx1"/>
                    </a:gs>
                    <a:gs pos="43000">
                      <a:schemeClr val="tx1"/>
                    </a:gs>
                  </a:gsLst>
                  <a:lin ang="5400000" scaled="0"/>
                </a:gradFill>
                <a:latin typeface="Lucida Console" panose="020B0609040504020204" pitchFamily="49" charset="0"/>
                <a:cs typeface="Lucida Console" panose="020B0609040504020204" pitchFamily="49" charset="0"/>
              </a:defRPr>
            </a:lvl4pPr>
            <a:lvl5pPr marL="1050997" indent="0">
              <a:buNone/>
              <a:defRPr sz="1600">
                <a:gradFill>
                  <a:gsLst>
                    <a:gs pos="61049">
                      <a:schemeClr val="tx1"/>
                    </a:gs>
                    <a:gs pos="43000">
                      <a:schemeClr val="tx1"/>
                    </a:gs>
                  </a:gsLst>
                  <a:lin ang="5400000" scaled="0"/>
                </a:gradFill>
                <a:latin typeface="Lucida Console" panose="020B0609040504020204" pitchFamily="49" charset="0"/>
                <a:cs typeface="Lucida Console" panose="020B0609040504020204" pitchFamily="49" charset="0"/>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4850385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 Copyright Microsoft Corporation. All rights reserved. </a:t>
            </a:r>
          </a:p>
        </p:txBody>
      </p:sp>
    </p:spTree>
    <p:extLst>
      <p:ext uri="{BB962C8B-B14F-4D97-AF65-F5344CB8AC3E}">
        <p14:creationId xmlns:p14="http://schemas.microsoft.com/office/powerpoint/2010/main" val="164726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UI Light" panose="020B0502040204020203" pitchFamily="34" charset="0"/>
                <a:cs typeface="Segoe UI Light" panose="020B0502040204020203" pitchFamily="34" charset="0"/>
              </a:defRPr>
            </a:lvl1pPr>
            <a:lvl2pPr>
              <a:defRPr sz="2800">
                <a:latin typeface="Segoe UI Light" panose="020B0502040204020203" pitchFamily="34" charset="0"/>
                <a:cs typeface="Segoe UI Light" panose="020B0502040204020203" pitchFamily="34" charset="0"/>
              </a:defRPr>
            </a:lvl2pPr>
            <a:lvl3pPr>
              <a:defRPr sz="2400">
                <a:latin typeface="Segoe UI Light" panose="020B0502040204020203" pitchFamily="34" charset="0"/>
                <a:cs typeface="Segoe UI Light" panose="020B0502040204020203" pitchFamily="34" charset="0"/>
              </a:defRPr>
            </a:lvl3pPr>
            <a:lvl4pPr>
              <a:defRPr sz="2000">
                <a:latin typeface="Segoe UI Light" panose="020B0502040204020203" pitchFamily="34" charset="0"/>
                <a:cs typeface="Segoe UI Light" panose="020B0502040204020203" pitchFamily="34" charset="0"/>
              </a:defRPr>
            </a:lvl4pPr>
            <a:lvl5pPr>
              <a:defRPr sz="1800">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6662740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B5DD5-4D2B-CF4E-AF7A-178D0EF1D7A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F223C94-D97D-F142-971A-82526F1127B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B13DED8-317C-C64B-B69B-C3A20EE59AF6}"/>
              </a:ext>
            </a:extLst>
          </p:cNvPr>
          <p:cNvSpPr>
            <a:spLocks noGrp="1"/>
          </p:cNvSpPr>
          <p:nvPr>
            <p:ph type="dt" sz="half" idx="10"/>
          </p:nvPr>
        </p:nvSpPr>
        <p:spPr/>
        <p:txBody>
          <a:bodyPr/>
          <a:lstStyle/>
          <a:p>
            <a:fld id="{289D183E-1588-B346-A6C4-896153F27841}" type="datetimeFigureOut">
              <a:rPr lang="en-US" smtClean="0"/>
              <a:t>3/5/2024</a:t>
            </a:fld>
            <a:endParaRPr lang="en-US"/>
          </a:p>
        </p:txBody>
      </p:sp>
      <p:sp>
        <p:nvSpPr>
          <p:cNvPr id="5" name="Footer Placeholder 4">
            <a:extLst>
              <a:ext uri="{FF2B5EF4-FFF2-40B4-BE49-F238E27FC236}">
                <a16:creationId xmlns:a16="http://schemas.microsoft.com/office/drawing/2014/main" id="{1731D76B-545E-1F4C-A624-CB54F865C2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89227E-7D7A-4A4F-91C5-74E889F61C33}"/>
              </a:ext>
            </a:extLst>
          </p:cNvPr>
          <p:cNvSpPr>
            <a:spLocks noGrp="1"/>
          </p:cNvSpPr>
          <p:nvPr>
            <p:ph type="sldNum" sz="quarter" idx="12"/>
          </p:nvPr>
        </p:nvSpPr>
        <p:spPr/>
        <p:txBody>
          <a:bodyPr/>
          <a:lstStyle/>
          <a:p>
            <a:fld id="{159BC3BF-1B96-5F4D-A0ED-6D3EE19FC291}" type="slidenum">
              <a:rPr lang="en-US" smtClean="0"/>
              <a:t>‹#›</a:t>
            </a:fld>
            <a:endParaRPr lang="en-US"/>
          </a:p>
        </p:txBody>
      </p:sp>
    </p:spTree>
    <p:extLst>
      <p:ext uri="{BB962C8B-B14F-4D97-AF65-F5344CB8AC3E}">
        <p14:creationId xmlns:p14="http://schemas.microsoft.com/office/powerpoint/2010/main" val="2706141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picture containing person, indoor, table, computer&#10;&#10;Description automatically generated">
            <a:extLst>
              <a:ext uri="{FF2B5EF4-FFF2-40B4-BE49-F238E27FC236}">
                <a16:creationId xmlns:a16="http://schemas.microsoft.com/office/drawing/2014/main" id="{C5675DA3-1E5B-4C43-A9E8-3251C1F95B09}"/>
              </a:ext>
            </a:extLst>
          </p:cNvPr>
          <p:cNvPicPr>
            <a:picLocks noChangeAspect="1"/>
          </p:cNvPicPr>
          <p:nvPr userDrawn="1"/>
        </p:nvPicPr>
        <p:blipFill rotWithShape="1">
          <a:blip r:embed="rId3">
            <a:clrChange>
              <a:clrFrom>
                <a:srgbClr val="254D7E"/>
              </a:clrFrom>
              <a:clrTo>
                <a:srgbClr val="254D7E">
                  <a:alpha val="0"/>
                </a:srgbClr>
              </a:clrTo>
            </a:clrChange>
          </a:blip>
          <a:srcRect l="28391" r="5002"/>
          <a:stretch/>
        </p:blipFill>
        <p:spPr>
          <a:xfrm>
            <a:off x="5343524" y="0"/>
            <a:ext cx="6848475" cy="6858000"/>
          </a:xfrm>
          <a:prstGeom prst="rect">
            <a:avLst/>
          </a:prstGeom>
        </p:spPr>
      </p:pic>
      <p:pic>
        <p:nvPicPr>
          <p:cNvPr id="8" name="Picture 7" descr="A picture containing transport, building, ceiling, balloon&#10;&#10;Description automatically generated">
            <a:extLst>
              <a:ext uri="{FF2B5EF4-FFF2-40B4-BE49-F238E27FC236}">
                <a16:creationId xmlns:a16="http://schemas.microsoft.com/office/drawing/2014/main" id="{E484B845-9245-4982-8C4E-36F59BD66DDE}"/>
              </a:ext>
            </a:extLst>
          </p:cNvPr>
          <p:cNvPicPr>
            <a:picLocks noChangeAspect="1"/>
          </p:cNvPicPr>
          <p:nvPr userDrawn="1"/>
        </p:nvPicPr>
        <p:blipFill rotWithShape="1">
          <a:blip r:embed="rId4">
            <a:alphaModFix amt="10000"/>
          </a:blip>
          <a:srcRect l="43691" t="16000"/>
          <a:stretch/>
        </p:blipFill>
        <p:spPr>
          <a:xfrm>
            <a:off x="5343524" y="0"/>
            <a:ext cx="6848476" cy="6858000"/>
          </a:xfrm>
          <a:prstGeom prst="rect">
            <a:avLst/>
          </a:prstGeom>
        </p:spPr>
      </p:pic>
      <p:pic>
        <p:nvPicPr>
          <p:cNvPr id="10" name="Picture 9">
            <a:extLst>
              <a:ext uri="{FF2B5EF4-FFF2-40B4-BE49-F238E27FC236}">
                <a16:creationId xmlns:a16="http://schemas.microsoft.com/office/drawing/2014/main" id="{2F3069D5-F9A1-44ED-B4F6-413466B1811E}"/>
              </a:ext>
            </a:extLst>
          </p:cNvPr>
          <p:cNvPicPr>
            <a:picLocks noChangeAspect="1"/>
          </p:cNvPicPr>
          <p:nvPr userDrawn="1"/>
        </p:nvPicPr>
        <p:blipFill rotWithShape="1">
          <a:blip r:embed="rId5"/>
          <a:srcRect r="50586"/>
          <a:stretch/>
        </p:blipFill>
        <p:spPr>
          <a:xfrm>
            <a:off x="7693000" y="0"/>
            <a:ext cx="4508523" cy="6858000"/>
          </a:xfrm>
          <a:prstGeom prst="rect">
            <a:avLst/>
          </a:prstGeom>
        </p:spPr>
      </p:pic>
    </p:spTree>
    <p:extLst>
      <p:ext uri="{BB962C8B-B14F-4D97-AF65-F5344CB8AC3E}">
        <p14:creationId xmlns:p14="http://schemas.microsoft.com/office/powerpoint/2010/main" val="1653520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50605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4090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87335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008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_Bleed_Top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939151"/>
            <a:ext cx="12192000" cy="5918848"/>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C57B295A-33AB-0FBB-B09A-55A027E0B411}"/>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Tree>
    <p:extLst>
      <p:ext uri="{BB962C8B-B14F-4D97-AF65-F5344CB8AC3E}">
        <p14:creationId xmlns:p14="http://schemas.microsoft.com/office/powerpoint/2010/main" val="40517888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50427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4046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3684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055177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29039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26083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73190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413154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3891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19879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_Bleed_Bottom_Dark">
    <p:spTree>
      <p:nvGrpSpPr>
        <p:cNvPr id="1" name=""/>
        <p:cNvGrpSpPr/>
        <p:nvPr/>
      </p:nvGrpSpPr>
      <p:grpSpPr>
        <a:xfrm>
          <a:off x="0" y="0"/>
          <a:ext cx="0" cy="0"/>
          <a:chOff x="0" y="0"/>
          <a:chExt cx="0" cy="0"/>
        </a:xfrm>
      </p:grpSpPr>
      <p:sp>
        <p:nvSpPr>
          <p:cNvPr id="4" name="Freeform: Shape 21">
            <a:extLst>
              <a:ext uri="{FF2B5EF4-FFF2-40B4-BE49-F238E27FC236}">
                <a16:creationId xmlns:a16="http://schemas.microsoft.com/office/drawing/2014/main" id="{30D53D23-E1A4-6FA2-FF30-09086BE134AB}"/>
              </a:ext>
            </a:extLst>
          </p:cNvPr>
          <p:cNvSpPr/>
          <p:nvPr userDrawn="1"/>
        </p:nvSpPr>
        <p:spPr bwMode="auto">
          <a:xfrm>
            <a:off x="0" y="5194294"/>
            <a:ext cx="12192000" cy="166370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194297"/>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5412143"/>
            <a:ext cx="11045889" cy="847368"/>
          </a:xfrm>
        </p:spPr>
        <p:txBody>
          <a:bodyPr anchor="ctr">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6142349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775779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28127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48792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75006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275155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15066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5434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20824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7103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09457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_Bleed_Bottom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194297"/>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5412143"/>
            <a:ext cx="11045889" cy="847368"/>
          </a:xfrm>
        </p:spPr>
        <p:txBody>
          <a:bodyPr anchor="ctr">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a:solidFill>
                  <a:schemeClr val="tx1"/>
                </a:solidFill>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38601450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4544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77440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68">
          <p15:clr>
            <a:srgbClr val="FBAE40"/>
          </p15:clr>
        </p15:guide>
        <p15:guide id="32" orient="horz" pos="3552">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01524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19365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548498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12374853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25727130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1843154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124503376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4127750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alfHalf_Gradient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122E4458-4AC8-7D69-7115-4822065713E3}"/>
              </a:ext>
            </a:extLst>
          </p:cNvPr>
          <p:cNvSpPr/>
          <p:nvPr userDrawn="1"/>
        </p:nvSpPr>
        <p:spPr bwMode="auto">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6857999"/>
          </a:xfrm>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37975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604062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848652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595292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18896294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ver_White">
    <p:spTree>
      <p:nvGrpSpPr>
        <p:cNvPr id="1" name=""/>
        <p:cNvGrpSpPr/>
        <p:nvPr/>
      </p:nvGrpSpPr>
      <p:grpSpPr>
        <a:xfrm>
          <a:off x="0" y="0"/>
          <a:ext cx="0" cy="0"/>
          <a:chOff x="0" y="0"/>
          <a:chExt cx="0" cy="0"/>
        </a:xfrm>
      </p:grpSpPr>
      <p:sp>
        <p:nvSpPr>
          <p:cNvPr id="10" name="Arrow: Pentagon 44">
            <a:extLst>
              <a:ext uri="{FF2B5EF4-FFF2-40B4-BE49-F238E27FC236}">
                <a16:creationId xmlns:a16="http://schemas.microsoft.com/office/drawing/2014/main" id="{8DB1A74A-CEE5-B865-5C91-B0166C7286D7}"/>
              </a:ext>
            </a:extLst>
          </p:cNvPr>
          <p:cNvSpPr/>
          <p:nvPr userDrawn="1"/>
        </p:nvSpPr>
        <p:spPr bwMode="auto">
          <a:xfrm>
            <a:off x="0" y="0"/>
            <a:ext cx="6409564" cy="6858000"/>
          </a:xfrm>
          <a:prstGeom prst="homePlate">
            <a:avLst>
              <a:gd name="adj" fmla="val 27471"/>
            </a:avLst>
          </a:prstGeom>
          <a:solidFill>
            <a:schemeClr val="bg1"/>
          </a:solidFill>
          <a:ln>
            <a:noFill/>
            <a:headEnd type="none" w="med" len="med"/>
            <a:tailEnd type="none" w="med" len="med"/>
          </a:ln>
          <a:effectLst>
            <a:outerShdw blurRad="295671" sx="98669" sy="98669" algn="ctr" rotWithShape="0">
              <a:prstClr val="black">
                <a:alpha val="15000"/>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12" name="MS logo gray - EMF" descr="Microsoft logo, gray text version">
            <a:extLst>
              <a:ext uri="{FF2B5EF4-FFF2-40B4-BE49-F238E27FC236}">
                <a16:creationId xmlns:a16="http://schemas.microsoft.com/office/drawing/2014/main" id="{C2F16BF7-7F8E-9412-8FD7-4069676C58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sp>
        <p:nvSpPr>
          <p:cNvPr id="4" name="Footer Placeholder 3">
            <a:extLst>
              <a:ext uri="{FF2B5EF4-FFF2-40B4-BE49-F238E27FC236}">
                <a16:creationId xmlns:a16="http://schemas.microsoft.com/office/drawing/2014/main" id="{CED92B98-BE71-EF7A-C525-2F4E1AAE5F0A}"/>
              </a:ext>
            </a:extLst>
          </p:cNvPr>
          <p:cNvSpPr>
            <a:spLocks noGrp="1"/>
          </p:cNvSpPr>
          <p:nvPr>
            <p:ph type="ftr" sz="quarter" idx="12"/>
          </p:nvPr>
        </p:nvSpPr>
        <p:spPr/>
        <p:txBody>
          <a:bodyPr/>
          <a:lstStyle/>
          <a:p>
            <a:r>
              <a:rPr lang="en-US"/>
              <a:t>Microsoft Confidential</a:t>
            </a:r>
          </a:p>
        </p:txBody>
      </p:sp>
      <p:sp>
        <p:nvSpPr>
          <p:cNvPr id="9" name="Text Placeholder 2">
            <a:extLst>
              <a:ext uri="{FF2B5EF4-FFF2-40B4-BE49-F238E27FC236}">
                <a16:creationId xmlns:a16="http://schemas.microsoft.com/office/drawing/2014/main" id="{3716366F-24AB-0AB2-1682-DED458803E9A}"/>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26713FEE-9C26-1A8C-1DE8-14729D74C07D}"/>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Text Placeholder 9">
            <a:extLst>
              <a:ext uri="{FF2B5EF4-FFF2-40B4-BE49-F238E27FC236}">
                <a16:creationId xmlns:a16="http://schemas.microsoft.com/office/drawing/2014/main" id="{93CE9535-0F1B-F6F0-1BB7-38A4E0D56456}"/>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tx1"/>
                </a:solidFill>
              </a:defRPr>
            </a:lvl1pPr>
          </a:lstStyle>
          <a:p>
            <a:pPr lvl="0"/>
            <a:r>
              <a:rPr lang="en-US"/>
              <a:t>MCAPS Academy Presents</a:t>
            </a:r>
          </a:p>
        </p:txBody>
      </p:sp>
    </p:spTree>
    <p:extLst>
      <p:ext uri="{BB962C8B-B14F-4D97-AF65-F5344CB8AC3E}">
        <p14:creationId xmlns:p14="http://schemas.microsoft.com/office/powerpoint/2010/main" val="14749394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29420159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4026525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1836041789"/>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ver_White_NoBreak">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tx1"/>
                </a:solidFill>
              </a:defRPr>
            </a:lvl1pPr>
          </a:lstStyle>
          <a:p>
            <a:r>
              <a:rPr lang="en-US"/>
              <a:t>Microsoft Confidential</a:t>
            </a:r>
          </a:p>
        </p:txBody>
      </p:sp>
      <p:pic>
        <p:nvPicPr>
          <p:cNvPr id="9" name="MS logo gray - EMF" descr="Microsoft logo, gray text version">
            <a:extLst>
              <a:ext uri="{FF2B5EF4-FFF2-40B4-BE49-F238E27FC236}">
                <a16:creationId xmlns:a16="http://schemas.microsoft.com/office/drawing/2014/main" id="{F4EC7EC5-3DE3-2CB4-7AB0-8522148E3D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sp>
        <p:nvSpPr>
          <p:cNvPr id="3" name="Text Placeholder 9">
            <a:extLst>
              <a:ext uri="{FF2B5EF4-FFF2-40B4-BE49-F238E27FC236}">
                <a16:creationId xmlns:a16="http://schemas.microsoft.com/office/drawing/2014/main" id="{9AF400F6-F5AC-2B39-EEC9-301A2C740E23}"/>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tx1"/>
                </a:solidFill>
              </a:defRPr>
            </a:lvl1pPr>
          </a:lstStyle>
          <a:p>
            <a:pPr lvl="0"/>
            <a:r>
              <a:rPr lang="en-US"/>
              <a:t>MCAPS Academy Presents</a:t>
            </a:r>
          </a:p>
        </p:txBody>
      </p:sp>
    </p:spTree>
    <p:extLst>
      <p:ext uri="{BB962C8B-B14F-4D97-AF65-F5344CB8AC3E}">
        <p14:creationId xmlns:p14="http://schemas.microsoft.com/office/powerpoint/2010/main" val="25401882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4511537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alfHalf_Image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6000" y="0"/>
            <a:ext cx="6096000" cy="6857999"/>
          </a:xfrm>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37490966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_Gradient_Dark">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1DCD9B43-714C-2FF2-432D-9FD044DC4EDF}"/>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CA712EDF-3A9B-23E2-ACC4-CAAFBD2EF6FC}"/>
              </a:ext>
            </a:extLst>
          </p:cNvPr>
          <p:cNvSpPr>
            <a:spLocks noGrp="1"/>
          </p:cNvSpPr>
          <p:nvPr>
            <p:ph type="body" sz="quarter" idx="11" hasCustomPrompt="1"/>
          </p:nvPr>
        </p:nvSpPr>
        <p:spPr>
          <a:xfrm>
            <a:off x="584201" y="675179"/>
            <a:ext cx="11128187" cy="763655"/>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p>
        </p:txBody>
      </p:sp>
    </p:spTree>
    <p:extLst>
      <p:ext uri="{BB962C8B-B14F-4D97-AF65-F5344CB8AC3E}">
        <p14:creationId xmlns:p14="http://schemas.microsoft.com/office/powerpoint/2010/main" val="40756177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A2ABC6-B814-47F0-773C-E98F4FAB0934}"/>
              </a:ext>
            </a:extLst>
          </p:cNvPr>
          <p:cNvSpPr>
            <a:spLocks noGrp="1"/>
          </p:cNvSpPr>
          <p:nvPr>
            <p:ph type="body" sz="quarter" idx="11" hasCustomPrompt="1"/>
          </p:nvPr>
        </p:nvSpPr>
        <p:spPr>
          <a:xfrm>
            <a:off x="584201" y="675179"/>
            <a:ext cx="11128187" cy="763655"/>
          </a:xfrm>
        </p:spPr>
        <p:txBody>
          <a:bodyPr anchor="b">
            <a:noAutofit/>
          </a:bodyPr>
          <a:lstStyle>
            <a:lvl1pPr marL="0" indent="0">
              <a:buNone/>
              <a:defRPr sz="48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p>
        </p:txBody>
      </p:sp>
    </p:spTree>
    <p:extLst>
      <p:ext uri="{BB962C8B-B14F-4D97-AF65-F5344CB8AC3E}">
        <p14:creationId xmlns:p14="http://schemas.microsoft.com/office/powerpoint/2010/main" val="10641168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Quote_Gradient_Dark">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7768510A-173B-19F7-1F2D-ED780D611BCC}"/>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3FF8037D-7395-DB31-4944-B785BC05F194}"/>
              </a:ext>
            </a:extLst>
          </p:cNvPr>
          <p:cNvSpPr txBox="1"/>
          <p:nvPr userDrawn="1"/>
        </p:nvSpPr>
        <p:spPr>
          <a:xfrm>
            <a:off x="721361" y="1234451"/>
            <a:ext cx="3210560" cy="2385268"/>
          </a:xfrm>
          <a:prstGeom prst="rect">
            <a:avLst/>
          </a:prstGeom>
          <a:noFill/>
        </p:spPr>
        <p:txBody>
          <a:bodyPr wrap="square" lIns="0" tIns="0" rIns="0" bIns="0" rtlCol="0">
            <a:spAutoFit/>
          </a:bodyPr>
          <a:lstStyle/>
          <a:p>
            <a:pPr algn="l"/>
            <a:r>
              <a:rPr lang="en-US" sz="15500" b="1" i="0">
                <a:solidFill>
                  <a:schemeClr val="accent1"/>
                </a:solidFill>
                <a:latin typeface="Segoe UI Black" panose="020B0502040204020203" pitchFamily="34" charset="0"/>
                <a:cs typeface="Segoe UI Black" panose="020B0502040204020203" pitchFamily="34" charset="0"/>
              </a:rPr>
              <a:t>“</a:t>
            </a:r>
          </a:p>
        </p:txBody>
      </p:sp>
      <p:sp>
        <p:nvSpPr>
          <p:cNvPr id="6" name="Text Placeholder 2">
            <a:extLst>
              <a:ext uri="{FF2B5EF4-FFF2-40B4-BE49-F238E27FC236}">
                <a16:creationId xmlns:a16="http://schemas.microsoft.com/office/drawing/2014/main" id="{353DB693-9E14-2A54-6E54-90F1A991A200}"/>
              </a:ext>
            </a:extLst>
          </p:cNvPr>
          <p:cNvSpPr>
            <a:spLocks noGrp="1"/>
          </p:cNvSpPr>
          <p:nvPr>
            <p:ph type="body" sz="quarter" idx="11" hasCustomPrompt="1"/>
          </p:nvPr>
        </p:nvSpPr>
        <p:spPr>
          <a:xfrm>
            <a:off x="1119949" y="2232401"/>
            <a:ext cx="9952101" cy="1846659"/>
          </a:xfrm>
        </p:spPr>
        <p:txBody>
          <a:bodyPr/>
          <a:lstStyle>
            <a:lvl1pPr marL="0" indent="0">
              <a:buNone/>
              <a:defRPr sz="4000" b="0" i="0">
                <a:solidFill>
                  <a:schemeClr val="bg1"/>
                </a:solidFill>
                <a:latin typeface="+mn-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Add quote text here Add quote text here Add quote text here Add quote text here Add quote text here</a:t>
            </a:r>
            <a:endParaRPr lang="en-IN" sz="6600" b="1">
              <a:latin typeface="Segoe UI" panose="020B0502040204020203" pitchFamily="34" charset="0"/>
            </a:endParaRPr>
          </a:p>
        </p:txBody>
      </p:sp>
      <p:sp>
        <p:nvSpPr>
          <p:cNvPr id="4" name="Text Placeholder 3">
            <a:extLst>
              <a:ext uri="{FF2B5EF4-FFF2-40B4-BE49-F238E27FC236}">
                <a16:creationId xmlns:a16="http://schemas.microsoft.com/office/drawing/2014/main" id="{7992A918-02AA-575F-23C6-911589CBDF20}"/>
              </a:ext>
            </a:extLst>
          </p:cNvPr>
          <p:cNvSpPr>
            <a:spLocks noGrp="1"/>
          </p:cNvSpPr>
          <p:nvPr>
            <p:ph type="body" sz="quarter" idx="12" hasCustomPrompt="1"/>
          </p:nvPr>
        </p:nvSpPr>
        <p:spPr>
          <a:xfrm>
            <a:off x="1119188" y="4301490"/>
            <a:ext cx="9953625" cy="246221"/>
          </a:xfrm>
        </p:spPr>
        <p:txBody>
          <a:bodyPr/>
          <a:lstStyle>
            <a:lvl1pPr marL="0" indent="0">
              <a:buNone/>
              <a:defRPr sz="1600">
                <a:solidFill>
                  <a:schemeClr val="bg1"/>
                </a:solidFill>
                <a:latin typeface="Segoe UI Semibold" panose="020B0702040204020203" pitchFamily="34" charset="0"/>
                <a:cs typeface="Segoe UI Semibold" panose="020B0702040204020203" pitchFamily="34" charset="0"/>
              </a:defRPr>
            </a:lvl1pPr>
          </a:lstStyle>
          <a:p>
            <a:pPr lvl="0"/>
            <a:r>
              <a:rPr lang="en-US"/>
              <a:t>Person’s Name – Title - Source</a:t>
            </a:r>
          </a:p>
        </p:txBody>
      </p:sp>
      <p:sp>
        <p:nvSpPr>
          <p:cNvPr id="10" name="Text Placeholder 9">
            <a:extLst>
              <a:ext uri="{FF2B5EF4-FFF2-40B4-BE49-F238E27FC236}">
                <a16:creationId xmlns:a16="http://schemas.microsoft.com/office/drawing/2014/main" id="{D1B73588-49A5-083F-AAE2-0402292EFB62}"/>
              </a:ext>
            </a:extLst>
          </p:cNvPr>
          <p:cNvSpPr>
            <a:spLocks noGrp="1"/>
          </p:cNvSpPr>
          <p:nvPr>
            <p:ph type="body" sz="quarter" idx="13" hasCustomPrompt="1"/>
          </p:nvPr>
        </p:nvSpPr>
        <p:spPr>
          <a:xfrm>
            <a:off x="1119188" y="4599146"/>
            <a:ext cx="9953625" cy="184666"/>
          </a:xfrm>
        </p:spPr>
        <p:txBody>
          <a:bodyPr/>
          <a:lstStyle>
            <a:lvl1pPr marL="0" indent="0">
              <a:buNone/>
              <a:defRPr sz="1200" b="0" i="0">
                <a:solidFill>
                  <a:schemeClr val="bg1"/>
                </a:solidFill>
                <a:latin typeface="+mn-lt"/>
                <a:cs typeface="Segoe UI Semilight" panose="020B0402040204020203" pitchFamily="34" charset="0"/>
              </a:defRPr>
            </a:lvl1pPr>
          </a:lstStyle>
          <a:p>
            <a:pPr lvl="0"/>
            <a:r>
              <a:rPr lang="en-US"/>
              <a:t>Tertiary Information Goes Here</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49956594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_White">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FF8037D-7395-DB31-4944-B785BC05F194}"/>
              </a:ext>
            </a:extLst>
          </p:cNvPr>
          <p:cNvSpPr txBox="1"/>
          <p:nvPr userDrawn="1"/>
        </p:nvSpPr>
        <p:spPr>
          <a:xfrm>
            <a:off x="721361" y="1249056"/>
            <a:ext cx="3210560" cy="2385268"/>
          </a:xfrm>
          <a:prstGeom prst="rect">
            <a:avLst/>
          </a:prstGeom>
          <a:noFill/>
        </p:spPr>
        <p:txBody>
          <a:bodyPr wrap="square" lIns="0" tIns="0" rIns="0" bIns="0" rtlCol="0">
            <a:spAutoFit/>
          </a:bodyPr>
          <a:lstStyle/>
          <a:p>
            <a:pPr algn="l"/>
            <a:r>
              <a:rPr lang="en-US" sz="15500" b="1" i="0">
                <a:solidFill>
                  <a:schemeClr val="bg2"/>
                </a:solidFill>
                <a:latin typeface="Segoe UI Black" panose="020B0502040204020203" pitchFamily="34" charset="0"/>
                <a:cs typeface="Segoe UI Black" panose="020B0502040204020203" pitchFamily="34" charset="0"/>
              </a:rPr>
              <a:t>“</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p:txBody>
          <a:bodyPr/>
          <a:lstStyle/>
          <a:p>
            <a:r>
              <a:rPr lang="en-US"/>
              <a:t>Microsoft Confidential</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p>
            <a:fld id="{F126207E-29C7-4F9F-8309-C6BAAD6BC8C8}" type="slidenum">
              <a:rPr lang="en-US" smtClean="0"/>
              <a:pPr/>
              <a:t>‹#›</a:t>
            </a:fld>
            <a:endParaRPr lang="en-US"/>
          </a:p>
        </p:txBody>
      </p:sp>
      <p:sp>
        <p:nvSpPr>
          <p:cNvPr id="3" name="Text Placeholder 2">
            <a:extLst>
              <a:ext uri="{FF2B5EF4-FFF2-40B4-BE49-F238E27FC236}">
                <a16:creationId xmlns:a16="http://schemas.microsoft.com/office/drawing/2014/main" id="{D1A3D33B-0846-E270-67D0-568C86BF9F51}"/>
              </a:ext>
            </a:extLst>
          </p:cNvPr>
          <p:cNvSpPr>
            <a:spLocks noGrp="1"/>
          </p:cNvSpPr>
          <p:nvPr>
            <p:ph type="body" sz="quarter" idx="11" hasCustomPrompt="1"/>
          </p:nvPr>
        </p:nvSpPr>
        <p:spPr>
          <a:xfrm>
            <a:off x="1119949" y="2232401"/>
            <a:ext cx="9952101" cy="1846659"/>
          </a:xfrm>
        </p:spPr>
        <p:txBody>
          <a:bodyPr/>
          <a:lstStyle>
            <a:lvl1pPr marL="0" indent="0">
              <a:buNone/>
              <a:defRPr sz="4000" b="0" i="0">
                <a:solidFill>
                  <a:schemeClr val="tx1"/>
                </a:solidFill>
                <a:latin typeface="+mn-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Add quote text here Add quote text here Add quote text here Add quote text here Add quote text here</a:t>
            </a:r>
            <a:endParaRPr lang="en-IN" sz="6600" b="1">
              <a:latin typeface="Segoe UI" panose="020B0502040204020203" pitchFamily="34" charset="0"/>
            </a:endParaRPr>
          </a:p>
        </p:txBody>
      </p:sp>
      <p:sp>
        <p:nvSpPr>
          <p:cNvPr id="5" name="Text Placeholder 3">
            <a:extLst>
              <a:ext uri="{FF2B5EF4-FFF2-40B4-BE49-F238E27FC236}">
                <a16:creationId xmlns:a16="http://schemas.microsoft.com/office/drawing/2014/main" id="{6A020AF3-FE93-EFCF-E084-EA2A1BA23A69}"/>
              </a:ext>
            </a:extLst>
          </p:cNvPr>
          <p:cNvSpPr>
            <a:spLocks noGrp="1"/>
          </p:cNvSpPr>
          <p:nvPr>
            <p:ph type="body" sz="quarter" idx="12" hasCustomPrompt="1"/>
          </p:nvPr>
        </p:nvSpPr>
        <p:spPr>
          <a:xfrm>
            <a:off x="1119188" y="4301490"/>
            <a:ext cx="9953625" cy="246221"/>
          </a:xfrm>
        </p:spPr>
        <p:txBody>
          <a:bodyPr/>
          <a:lstStyle>
            <a:lvl1pPr marL="0" indent="0">
              <a:buNone/>
              <a:defRPr sz="1600">
                <a:solidFill>
                  <a:schemeClr val="tx1"/>
                </a:solidFill>
                <a:latin typeface="Segoe UI Semibold" panose="020B0702040204020203" pitchFamily="34" charset="0"/>
                <a:cs typeface="Segoe UI Semibold" panose="020B0702040204020203" pitchFamily="34" charset="0"/>
              </a:defRPr>
            </a:lvl1pPr>
          </a:lstStyle>
          <a:p>
            <a:pPr lvl="0"/>
            <a:r>
              <a:rPr lang="en-US"/>
              <a:t>Person’s Name – Title - Source</a:t>
            </a:r>
          </a:p>
        </p:txBody>
      </p:sp>
      <p:sp>
        <p:nvSpPr>
          <p:cNvPr id="9" name="Text Placeholder 9">
            <a:extLst>
              <a:ext uri="{FF2B5EF4-FFF2-40B4-BE49-F238E27FC236}">
                <a16:creationId xmlns:a16="http://schemas.microsoft.com/office/drawing/2014/main" id="{CCD47743-083A-D131-B5C6-F50D02ECF395}"/>
              </a:ext>
            </a:extLst>
          </p:cNvPr>
          <p:cNvSpPr>
            <a:spLocks noGrp="1"/>
          </p:cNvSpPr>
          <p:nvPr>
            <p:ph type="body" sz="quarter" idx="13" hasCustomPrompt="1"/>
          </p:nvPr>
        </p:nvSpPr>
        <p:spPr>
          <a:xfrm>
            <a:off x="1119188" y="4599146"/>
            <a:ext cx="9953625" cy="184666"/>
          </a:xfrm>
        </p:spPr>
        <p:txBody>
          <a:bodyPr/>
          <a:lstStyle>
            <a:lvl1pPr marL="0" indent="0">
              <a:buNone/>
              <a:defRPr sz="1200" b="0" i="0">
                <a:solidFill>
                  <a:schemeClr val="tx1"/>
                </a:solidFill>
                <a:latin typeface="+mn-lt"/>
                <a:cs typeface="Segoe UI Semilight" panose="020B0402040204020203" pitchFamily="34" charset="0"/>
              </a:defRPr>
            </a:lvl1pPr>
          </a:lstStyle>
          <a:p>
            <a:pPr lvl="0"/>
            <a:r>
              <a:rPr lang="en-US"/>
              <a:t>Tertiary Information Goes Here</a:t>
            </a:r>
          </a:p>
        </p:txBody>
      </p:sp>
    </p:spTree>
    <p:extLst>
      <p:ext uri="{BB962C8B-B14F-4D97-AF65-F5344CB8AC3E}">
        <p14:creationId xmlns:p14="http://schemas.microsoft.com/office/powerpoint/2010/main" val="279017896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_Half_Gradient_Dark">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967B9A36-AFB3-9AFF-01B8-541D1DFB970C}"/>
              </a:ext>
            </a:extLst>
          </p:cNvPr>
          <p:cNvSpPr/>
          <p:nvPr userDrawn="1"/>
        </p:nvSpPr>
        <p:spPr bwMode="auto">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p:txBody>
          <a:bodyPr/>
          <a:lstStyle>
            <a:lvl1pPr>
              <a:defRPr>
                <a:solidFill>
                  <a:schemeClr val="bg1"/>
                </a:solidFill>
              </a:defRPr>
            </a:lvl1pPr>
          </a:lstStyle>
          <a:p>
            <a:r>
              <a:rPr lang="en-US"/>
              <a:t>Microsoft Confidential</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2301489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_Half_Whit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UI" panose="020B0502040204020203" pitchFamily="34" charset="0"/>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tx1"/>
                </a:solidFill>
                <a:latin typeface="+mj-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a:solidFill>
                  <a:schemeClr val="tx1"/>
                </a:solidFill>
                <a:latin typeface="+mn-lt"/>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738664"/>
          </a:xfrm>
        </p:spPr>
        <p:txBody>
          <a:bodyPr>
            <a:noAutofit/>
          </a:bodyPr>
          <a:lstStyle>
            <a:lvl1pPr marL="0" indent="0">
              <a:buNone/>
              <a:defRPr sz="12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5E399C12-5BC6-06F2-295F-1C6292C103F9}"/>
              </a:ext>
            </a:extLst>
          </p:cNvPr>
          <p:cNvSpPr>
            <a:spLocks noGrp="1"/>
          </p:cNvSpPr>
          <p:nvPr>
            <p:ph type="ftr" sz="quarter" idx="23"/>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751DC71E-905C-13BA-8BEE-155F4B01A2C6}"/>
              </a:ext>
            </a:extLst>
          </p:cNvPr>
          <p:cNvSpPr>
            <a:spLocks noGrp="1"/>
          </p:cNvSpPr>
          <p:nvPr>
            <p:ph type="sldNum" sz="quarter" idx="24"/>
          </p:nvPr>
        </p:nvSpPr>
        <p:spPr/>
        <p:txBody>
          <a:bodyPr/>
          <a:lstStyle/>
          <a:p>
            <a:fld id="{F126207E-29C7-4F9F-8309-C6BAAD6BC8C8}" type="slidenum">
              <a:rPr lang="en-US" smtClean="0"/>
              <a:pPr/>
              <a:t>‹#›</a:t>
            </a:fld>
            <a:endParaRPr lang="en-US"/>
          </a:p>
        </p:txBody>
      </p:sp>
      <p:cxnSp>
        <p:nvCxnSpPr>
          <p:cNvPr id="21" name="Straight Connector 20">
            <a:extLst>
              <a:ext uri="{FF2B5EF4-FFF2-40B4-BE49-F238E27FC236}">
                <a16:creationId xmlns:a16="http://schemas.microsoft.com/office/drawing/2014/main" id="{E2AF11C5-E7BE-76FB-76BD-F5BCFAD8287B}"/>
              </a:ext>
            </a:extLst>
          </p:cNvPr>
          <p:cNvCxnSpPr>
            <a:cxnSpLocks/>
          </p:cNvCxnSpPr>
          <p:nvPr userDrawn="1"/>
        </p:nvCxnSpPr>
        <p:spPr>
          <a:xfrm>
            <a:off x="6096000" y="577850"/>
            <a:ext cx="0" cy="570230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97640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Full_Bleed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6857999"/>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4413251"/>
            <a:ext cx="4994021" cy="1631950"/>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Tree>
    <p:extLst>
      <p:ext uri="{BB962C8B-B14F-4D97-AF65-F5344CB8AC3E}">
        <p14:creationId xmlns:p14="http://schemas.microsoft.com/office/powerpoint/2010/main" val="1012176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Full_Bleed_Top_Dark">
    <p:spTree>
      <p:nvGrpSpPr>
        <p:cNvPr id="1" name=""/>
        <p:cNvGrpSpPr/>
        <p:nvPr/>
      </p:nvGrpSpPr>
      <p:grpSpPr>
        <a:xfrm>
          <a:off x="0" y="0"/>
          <a:ext cx="0" cy="0"/>
          <a:chOff x="0" y="0"/>
          <a:chExt cx="0" cy="0"/>
        </a:xfrm>
      </p:grpSpPr>
      <p:sp>
        <p:nvSpPr>
          <p:cNvPr id="6" name="Freeform: Shape 21">
            <a:extLst>
              <a:ext uri="{FF2B5EF4-FFF2-40B4-BE49-F238E27FC236}">
                <a16:creationId xmlns:a16="http://schemas.microsoft.com/office/drawing/2014/main" id="{13669B96-73C7-395C-015A-E045A1D58DE0}"/>
              </a:ext>
            </a:extLst>
          </p:cNvPr>
          <p:cNvSpPr/>
          <p:nvPr userDrawn="1"/>
        </p:nvSpPr>
        <p:spPr bwMode="auto">
          <a:xfrm>
            <a:off x="0" y="0"/>
            <a:ext cx="12192000" cy="93915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939151"/>
            <a:ext cx="12192000" cy="5918848"/>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C57B295A-33AB-0FBB-B09A-55A027E0B411}"/>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Tree>
    <p:extLst>
      <p:ext uri="{BB962C8B-B14F-4D97-AF65-F5344CB8AC3E}">
        <p14:creationId xmlns:p14="http://schemas.microsoft.com/office/powerpoint/2010/main" val="1033722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Full_Bleed_Top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939151"/>
            <a:ext cx="12192000" cy="5918848"/>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C57B295A-33AB-0FBB-B09A-55A027E0B411}"/>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Tree>
    <p:extLst>
      <p:ext uri="{BB962C8B-B14F-4D97-AF65-F5344CB8AC3E}">
        <p14:creationId xmlns:p14="http://schemas.microsoft.com/office/powerpoint/2010/main" val="2629439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Full_Bleed_Bottom_Dark">
    <p:spTree>
      <p:nvGrpSpPr>
        <p:cNvPr id="1" name=""/>
        <p:cNvGrpSpPr/>
        <p:nvPr/>
      </p:nvGrpSpPr>
      <p:grpSpPr>
        <a:xfrm>
          <a:off x="0" y="0"/>
          <a:ext cx="0" cy="0"/>
          <a:chOff x="0" y="0"/>
          <a:chExt cx="0" cy="0"/>
        </a:xfrm>
      </p:grpSpPr>
      <p:sp>
        <p:nvSpPr>
          <p:cNvPr id="4" name="Freeform: Shape 21">
            <a:extLst>
              <a:ext uri="{FF2B5EF4-FFF2-40B4-BE49-F238E27FC236}">
                <a16:creationId xmlns:a16="http://schemas.microsoft.com/office/drawing/2014/main" id="{30D53D23-E1A4-6FA2-FF30-09086BE134AB}"/>
              </a:ext>
            </a:extLst>
          </p:cNvPr>
          <p:cNvSpPr/>
          <p:nvPr userDrawn="1"/>
        </p:nvSpPr>
        <p:spPr bwMode="auto">
          <a:xfrm>
            <a:off x="0" y="5194294"/>
            <a:ext cx="12192000" cy="1663705"/>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194297"/>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5412143"/>
            <a:ext cx="11045889" cy="847368"/>
          </a:xfrm>
        </p:spPr>
        <p:txBody>
          <a:bodyPr anchor="ctr">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0348928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_Banner_Gradient_Dark">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125402"/>
            <a:ext cx="11045889"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0FB7F701-3CC1-EDD8-AADE-3A3CBCA02172}"/>
              </a:ext>
            </a:extLst>
          </p:cNvPr>
          <p:cNvSpPr>
            <a:spLocks noGrp="1"/>
          </p:cNvSpPr>
          <p:nvPr>
            <p:ph type="body" sz="quarter" idx="16" hasCustomPrompt="1"/>
          </p:nvPr>
        </p:nvSpPr>
        <p:spPr>
          <a:xfrm>
            <a:off x="563498" y="2171039"/>
            <a:ext cx="11045890"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391867807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ull_Bleed_Bottom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194297"/>
          </a:xfrm>
          <a:solidFill>
            <a:schemeClr val="bg2"/>
          </a:solidFill>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5412143"/>
            <a:ext cx="11045889" cy="847368"/>
          </a:xfrm>
        </p:spPr>
        <p:txBody>
          <a:bodyPr anchor="ctr">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a:solidFill>
                  <a:schemeClr val="tx1"/>
                </a:solidFill>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33081475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HalfHalf_Gradient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122E4458-4AC8-7D69-7115-4822065713E3}"/>
              </a:ext>
            </a:extLst>
          </p:cNvPr>
          <p:cNvSpPr/>
          <p:nvPr userDrawn="1"/>
        </p:nvSpPr>
        <p:spPr bwMode="auto">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6857999"/>
          </a:xfrm>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2305973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HalfHalf_Image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6000" y="0"/>
            <a:ext cx="6096000" cy="6857999"/>
          </a:xfrm>
        </p:spPr>
        <p:txBody>
          <a:bodyPr/>
          <a:lstStyle>
            <a:lvl1pPr marL="0" indent="0" algn="ctr">
              <a:lnSpc>
                <a:spcPct val="150000"/>
              </a:lnSpc>
              <a:buNone/>
              <a:defRPr b="1" i="0">
                <a:latin typeface="Segoe UI" panose="020B0502040204020203" pitchFamily="34" charset="0"/>
                <a:cs typeface="Segoe UI" panose="020B0502040204020203" pitchFamily="34" charset="0"/>
              </a:defRPr>
            </a:lvl1pPr>
          </a:lstStyle>
          <a:p>
            <a:r>
              <a:rPr lang="en-US"/>
              <a:t>Place Image Here</a:t>
            </a:r>
          </a:p>
        </p:txBody>
      </p:sp>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630191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op_Banner_Gradient_Dark">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125402"/>
            <a:ext cx="11045889"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0FB7F701-3CC1-EDD8-AADE-3A3CBCA02172}"/>
              </a:ext>
            </a:extLst>
          </p:cNvPr>
          <p:cNvSpPr>
            <a:spLocks noGrp="1"/>
          </p:cNvSpPr>
          <p:nvPr>
            <p:ph type="body" sz="quarter" idx="16" hasCustomPrompt="1"/>
          </p:nvPr>
        </p:nvSpPr>
        <p:spPr>
          <a:xfrm>
            <a:off x="563498" y="2171039"/>
            <a:ext cx="11045890"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428306131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op_Banner_Gradient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125402"/>
            <a:ext cx="11045889"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A545233-D204-DACA-8421-CEF519D4C890}"/>
              </a:ext>
            </a:extLst>
          </p:cNvPr>
          <p:cNvSpPr>
            <a:spLocks noGrp="1"/>
          </p:cNvSpPr>
          <p:nvPr>
            <p:ph type="body" sz="quarter" idx="16" hasCustomPrompt="1"/>
          </p:nvPr>
        </p:nvSpPr>
        <p:spPr>
          <a:xfrm>
            <a:off x="563498" y="2171039"/>
            <a:ext cx="11045890"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9972510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op_Banner_NoTert_Dark">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6" name="Text Placeholder 4">
            <a:extLst>
              <a:ext uri="{FF2B5EF4-FFF2-40B4-BE49-F238E27FC236}">
                <a16:creationId xmlns:a16="http://schemas.microsoft.com/office/drawing/2014/main" id="{EDC0548E-255F-AD1E-876E-BA9FBABB3202}"/>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318941207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op_Banner_NoTert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23883585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_Banner_Duo_Dark">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0D00EF44-C02F-AAF8-DBC7-45C3F502D815}"/>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9" y="112540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9" y="217103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7A707C1-7CFF-F8B3-0065-07AB65C52903}"/>
              </a:ext>
            </a:extLst>
          </p:cNvPr>
          <p:cNvSpPr>
            <a:spLocks noGrp="1"/>
          </p:cNvSpPr>
          <p:nvPr>
            <p:ph type="body" sz="quarter" idx="19" hasCustomPrompt="1"/>
          </p:nvPr>
        </p:nvSpPr>
        <p:spPr>
          <a:xfrm>
            <a:off x="6269535" y="111422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6" name="Text Placeholder 4">
            <a:extLst>
              <a:ext uri="{FF2B5EF4-FFF2-40B4-BE49-F238E27FC236}">
                <a16:creationId xmlns:a16="http://schemas.microsoft.com/office/drawing/2014/main" id="{ED308523-AA03-2BCE-AE05-DACCA8524572}"/>
              </a:ext>
            </a:extLst>
          </p:cNvPr>
          <p:cNvSpPr>
            <a:spLocks noGrp="1"/>
          </p:cNvSpPr>
          <p:nvPr>
            <p:ph type="body" sz="quarter" idx="20" hasCustomPrompt="1"/>
          </p:nvPr>
        </p:nvSpPr>
        <p:spPr>
          <a:xfrm>
            <a:off x="6269535" y="215985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343481631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op_Banner_Duo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9" y="112540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9" y="217103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7A707C1-7CFF-F8B3-0065-07AB65C52903}"/>
              </a:ext>
            </a:extLst>
          </p:cNvPr>
          <p:cNvSpPr>
            <a:spLocks noGrp="1"/>
          </p:cNvSpPr>
          <p:nvPr>
            <p:ph type="body" sz="quarter" idx="19" hasCustomPrompt="1"/>
          </p:nvPr>
        </p:nvSpPr>
        <p:spPr>
          <a:xfrm>
            <a:off x="6269535" y="111422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6" name="Text Placeholder 4">
            <a:extLst>
              <a:ext uri="{FF2B5EF4-FFF2-40B4-BE49-F238E27FC236}">
                <a16:creationId xmlns:a16="http://schemas.microsoft.com/office/drawing/2014/main" id="{ED308523-AA03-2BCE-AE05-DACCA8524572}"/>
              </a:ext>
            </a:extLst>
          </p:cNvPr>
          <p:cNvSpPr>
            <a:spLocks noGrp="1"/>
          </p:cNvSpPr>
          <p:nvPr>
            <p:ph type="body" sz="quarter" idx="20" hasCustomPrompt="1"/>
          </p:nvPr>
        </p:nvSpPr>
        <p:spPr>
          <a:xfrm>
            <a:off x="6269535" y="215985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3579406756"/>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op_Banner_Trio_Dark">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0D00EF44-C02F-AAF8-DBC7-45C3F502D815}"/>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561E4086-C3F0-04BD-CE4A-65EB1DA1C581}"/>
              </a:ext>
            </a:extLst>
          </p:cNvPr>
          <p:cNvSpPr>
            <a:spLocks noGrp="1"/>
          </p:cNvSpPr>
          <p:nvPr>
            <p:ph type="body" sz="quarter" idx="13" hasCustomPrompt="1"/>
          </p:nvPr>
        </p:nvSpPr>
        <p:spPr>
          <a:xfrm>
            <a:off x="563499" y="112540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1" name="Text Placeholder 4">
            <a:extLst>
              <a:ext uri="{FF2B5EF4-FFF2-40B4-BE49-F238E27FC236}">
                <a16:creationId xmlns:a16="http://schemas.microsoft.com/office/drawing/2014/main" id="{9D00ECC6-76CF-D27F-DB49-A2E81E9B8F3D}"/>
              </a:ext>
            </a:extLst>
          </p:cNvPr>
          <p:cNvSpPr>
            <a:spLocks noGrp="1"/>
          </p:cNvSpPr>
          <p:nvPr>
            <p:ph type="body" sz="quarter" idx="19" hasCustomPrompt="1"/>
          </p:nvPr>
        </p:nvSpPr>
        <p:spPr>
          <a:xfrm>
            <a:off x="6269535" y="111422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22787482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_Banner_Gradient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125402"/>
            <a:ext cx="11045889"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A545233-D204-DACA-8421-CEF519D4C890}"/>
              </a:ext>
            </a:extLst>
          </p:cNvPr>
          <p:cNvSpPr>
            <a:spLocks noGrp="1"/>
          </p:cNvSpPr>
          <p:nvPr>
            <p:ph type="body" sz="quarter" idx="16" hasCustomPrompt="1"/>
          </p:nvPr>
        </p:nvSpPr>
        <p:spPr>
          <a:xfrm>
            <a:off x="563498" y="2171039"/>
            <a:ext cx="11045890"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4191220635"/>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op_Banner_Trio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3B6BA2CD-7209-D2F7-020F-04D77E22A4BD}"/>
              </a:ext>
            </a:extLst>
          </p:cNvPr>
          <p:cNvSpPr>
            <a:spLocks noGrp="1"/>
          </p:cNvSpPr>
          <p:nvPr>
            <p:ph type="body" sz="quarter" idx="13" hasCustomPrompt="1"/>
          </p:nvPr>
        </p:nvSpPr>
        <p:spPr>
          <a:xfrm>
            <a:off x="563499" y="112540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7" name="Text Placeholder 4">
            <a:extLst>
              <a:ext uri="{FF2B5EF4-FFF2-40B4-BE49-F238E27FC236}">
                <a16:creationId xmlns:a16="http://schemas.microsoft.com/office/drawing/2014/main" id="{E61F9E55-7626-7C64-5F31-BFA1F41275A7}"/>
              </a:ext>
            </a:extLst>
          </p:cNvPr>
          <p:cNvSpPr>
            <a:spLocks noGrp="1"/>
          </p:cNvSpPr>
          <p:nvPr>
            <p:ph type="body" sz="quarter" idx="19" hasCustomPrompt="1"/>
          </p:nvPr>
        </p:nvSpPr>
        <p:spPr>
          <a:xfrm>
            <a:off x="6269535" y="111422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347410142"/>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8741844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417783"/>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28434511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31847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166865241"/>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80962089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slide with graphic 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A picture containing drawing&#10;&#10;Description automatically generated">
            <a:extLst>
              <a:ext uri="{FF2B5EF4-FFF2-40B4-BE49-F238E27FC236}">
                <a16:creationId xmlns:a16="http://schemas.microsoft.com/office/drawing/2014/main" id="{57D6331F-1A15-46AA-A57A-300CC97487E4}"/>
              </a:ext>
            </a:extLst>
          </p:cNvPr>
          <p:cNvPicPr>
            <a:picLocks noChangeAspect="1"/>
          </p:cNvPicPr>
          <p:nvPr userDrawn="1"/>
        </p:nvPicPr>
        <p:blipFill>
          <a:blip r:embed="rId2"/>
          <a:stretch>
            <a:fillRect/>
          </a:stretch>
        </p:blipFill>
        <p:spPr>
          <a:xfrm>
            <a:off x="136885" y="159691"/>
            <a:ext cx="2635247" cy="871753"/>
          </a:xfrm>
          <a:prstGeom prst="rect">
            <a:avLst/>
          </a:prstGeom>
        </p:spPr>
      </p:pic>
      <p:grpSp>
        <p:nvGrpSpPr>
          <p:cNvPr id="37" name="Group 36">
            <a:extLst>
              <a:ext uri="{FF2B5EF4-FFF2-40B4-BE49-F238E27FC236}">
                <a16:creationId xmlns:a16="http://schemas.microsoft.com/office/drawing/2014/main" id="{695F69F3-6C65-4C67-BE9F-99EE13ECA942}"/>
              </a:ext>
            </a:extLst>
          </p:cNvPr>
          <p:cNvGrpSpPr/>
          <p:nvPr userDrawn="1"/>
        </p:nvGrpSpPr>
        <p:grpSpPr>
          <a:xfrm>
            <a:off x="6600946" y="859776"/>
            <a:ext cx="5148588" cy="5138447"/>
            <a:chOff x="6600946" y="859776"/>
            <a:chExt cx="5148588" cy="5138447"/>
          </a:xfrm>
        </p:grpSpPr>
        <p:grpSp>
          <p:nvGrpSpPr>
            <p:cNvPr id="38" name="Graphic 1">
              <a:extLst>
                <a:ext uri="{FF2B5EF4-FFF2-40B4-BE49-F238E27FC236}">
                  <a16:creationId xmlns:a16="http://schemas.microsoft.com/office/drawing/2014/main" id="{BC070748-6768-4FC2-A431-E43A99B45D24}"/>
                </a:ext>
              </a:extLst>
            </p:cNvPr>
            <p:cNvGrpSpPr/>
            <p:nvPr/>
          </p:nvGrpSpPr>
          <p:grpSpPr>
            <a:xfrm>
              <a:off x="6600946" y="859776"/>
              <a:ext cx="5148588" cy="5138447"/>
              <a:chOff x="5179859" y="2459480"/>
              <a:chExt cx="2077534" cy="2073148"/>
            </a:xfrm>
            <a:gradFill>
              <a:gsLst>
                <a:gs pos="100000">
                  <a:schemeClr val="tx2"/>
                </a:gs>
                <a:gs pos="23000">
                  <a:schemeClr val="accent5"/>
                </a:gs>
              </a:gsLst>
              <a:lin ang="10800000" scaled="1"/>
            </a:gradFill>
          </p:grpSpPr>
          <p:sp>
            <p:nvSpPr>
              <p:cNvPr id="48" name="Freeform: Shape 47">
                <a:extLst>
                  <a:ext uri="{FF2B5EF4-FFF2-40B4-BE49-F238E27FC236}">
                    <a16:creationId xmlns:a16="http://schemas.microsoft.com/office/drawing/2014/main" id="{04C016FB-6079-433E-86F5-11870BD5A617}"/>
                  </a:ext>
                </a:extLst>
              </p:cNvPr>
              <p:cNvSpPr/>
              <p:nvPr/>
            </p:nvSpPr>
            <p:spPr>
              <a:xfrm>
                <a:off x="5496685" y="2820334"/>
                <a:ext cx="1592644" cy="1616092"/>
              </a:xfrm>
              <a:custGeom>
                <a:avLst/>
                <a:gdLst>
                  <a:gd name="connsiteX0" fmla="*/ 1132079 w 1592644"/>
                  <a:gd name="connsiteY0" fmla="*/ 1616093 h 1616092"/>
                  <a:gd name="connsiteX1" fmla="*/ 1023494 w 1592644"/>
                  <a:gd name="connsiteY1" fmla="*/ 1573230 h 1616092"/>
                  <a:gd name="connsiteX2" fmla="*/ 50991 w 1592644"/>
                  <a:gd name="connsiteY2" fmla="*/ 665498 h 1616092"/>
                  <a:gd name="connsiteX3" fmla="*/ 4319 w 1592644"/>
                  <a:gd name="connsiteY3" fmla="*/ 513098 h 1616092"/>
                  <a:gd name="connsiteX4" fmla="*/ 112904 w 1592644"/>
                  <a:gd name="connsiteY4" fmla="*/ 395940 h 1616092"/>
                  <a:gd name="connsiteX5" fmla="*/ 1385444 w 1592644"/>
                  <a:gd name="connsiteY5" fmla="*/ 7320 h 1616092"/>
                  <a:gd name="connsiteX6" fmla="*/ 1541654 w 1592644"/>
                  <a:gd name="connsiteY6" fmla="*/ 43515 h 1616092"/>
                  <a:gd name="connsiteX7" fmla="*/ 1588326 w 1592644"/>
                  <a:gd name="connsiteY7" fmla="*/ 195915 h 1616092"/>
                  <a:gd name="connsiteX8" fmla="*/ 1289241 w 1592644"/>
                  <a:gd name="connsiteY8" fmla="*/ 1492268 h 1616092"/>
                  <a:gd name="connsiteX9" fmla="*/ 1180656 w 1592644"/>
                  <a:gd name="connsiteY9" fmla="*/ 1609425 h 1616092"/>
                  <a:gd name="connsiteX10" fmla="*/ 1132079 w 1592644"/>
                  <a:gd name="connsiteY10" fmla="*/ 1616093 h 1616092"/>
                  <a:gd name="connsiteX11" fmla="*/ 54801 w 1592644"/>
                  <a:gd name="connsiteY11" fmla="*/ 661688 h 1616092"/>
                  <a:gd name="connsiteX12" fmla="*/ 1028256 w 1592644"/>
                  <a:gd name="connsiteY12" fmla="*/ 1569420 h 1616092"/>
                  <a:gd name="connsiteX13" fmla="*/ 1178751 w 1592644"/>
                  <a:gd name="connsiteY13" fmla="*/ 1603710 h 1616092"/>
                  <a:gd name="connsiteX14" fmla="*/ 1284479 w 1592644"/>
                  <a:gd name="connsiteY14" fmla="*/ 1490363 h 1616092"/>
                  <a:gd name="connsiteX15" fmla="*/ 1583564 w 1592644"/>
                  <a:gd name="connsiteY15" fmla="*/ 194010 h 1616092"/>
                  <a:gd name="connsiteX16" fmla="*/ 1538796 w 1592644"/>
                  <a:gd name="connsiteY16" fmla="*/ 46373 h 1616092"/>
                  <a:gd name="connsiteX17" fmla="*/ 1388301 w 1592644"/>
                  <a:gd name="connsiteY17" fmla="*/ 12083 h 1616092"/>
                  <a:gd name="connsiteX18" fmla="*/ 114809 w 1592644"/>
                  <a:gd name="connsiteY18" fmla="*/ 401655 h 1616092"/>
                  <a:gd name="connsiteX19" fmla="*/ 9081 w 1592644"/>
                  <a:gd name="connsiteY19" fmla="*/ 515003 h 1616092"/>
                  <a:gd name="connsiteX20" fmla="*/ 54801 w 1592644"/>
                  <a:gd name="connsiteY20" fmla="*/ 661688 h 1616092"/>
                  <a:gd name="connsiteX21" fmla="*/ 54801 w 1592644"/>
                  <a:gd name="connsiteY21" fmla="*/ 661688 h 161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2644" h="1616092">
                    <a:moveTo>
                      <a:pt x="1132079" y="1616093"/>
                    </a:moveTo>
                    <a:cubicBezTo>
                      <a:pt x="1092074" y="1616093"/>
                      <a:pt x="1053974" y="1600853"/>
                      <a:pt x="1023494" y="1573230"/>
                    </a:cubicBezTo>
                    <a:lnTo>
                      <a:pt x="50991" y="665498"/>
                    </a:lnTo>
                    <a:cubicBezTo>
                      <a:pt x="9081" y="626445"/>
                      <a:pt x="-9016" y="569295"/>
                      <a:pt x="4319" y="513098"/>
                    </a:cubicBezTo>
                    <a:cubicBezTo>
                      <a:pt x="17654" y="456900"/>
                      <a:pt x="57659" y="413085"/>
                      <a:pt x="112904" y="395940"/>
                    </a:cubicBezTo>
                    <a:lnTo>
                      <a:pt x="1385444" y="7320"/>
                    </a:lnTo>
                    <a:cubicBezTo>
                      <a:pt x="1440689" y="-9825"/>
                      <a:pt x="1498791" y="3510"/>
                      <a:pt x="1541654" y="43515"/>
                    </a:cubicBezTo>
                    <a:cubicBezTo>
                      <a:pt x="1583564" y="82568"/>
                      <a:pt x="1601661" y="139718"/>
                      <a:pt x="1588326" y="195915"/>
                    </a:cubicBezTo>
                    <a:lnTo>
                      <a:pt x="1289241" y="1492268"/>
                    </a:lnTo>
                    <a:cubicBezTo>
                      <a:pt x="1275906" y="1548465"/>
                      <a:pt x="1235901" y="1592280"/>
                      <a:pt x="1180656" y="1609425"/>
                    </a:cubicBezTo>
                    <a:cubicBezTo>
                      <a:pt x="1163511" y="1614188"/>
                      <a:pt x="1148271" y="1616093"/>
                      <a:pt x="1132079" y="1616093"/>
                    </a:cubicBezTo>
                    <a:close/>
                    <a:moveTo>
                      <a:pt x="54801" y="661688"/>
                    </a:moveTo>
                    <a:lnTo>
                      <a:pt x="1028256" y="1569420"/>
                    </a:lnTo>
                    <a:cubicBezTo>
                      <a:pt x="1069214" y="1607520"/>
                      <a:pt x="1125411" y="1620855"/>
                      <a:pt x="1178751" y="1603710"/>
                    </a:cubicBezTo>
                    <a:cubicBezTo>
                      <a:pt x="1232091" y="1587518"/>
                      <a:pt x="1271144" y="1545608"/>
                      <a:pt x="1284479" y="1490363"/>
                    </a:cubicBezTo>
                    <a:lnTo>
                      <a:pt x="1583564" y="194010"/>
                    </a:lnTo>
                    <a:cubicBezTo>
                      <a:pt x="1595946" y="139718"/>
                      <a:pt x="1578801" y="84473"/>
                      <a:pt x="1538796" y="46373"/>
                    </a:cubicBezTo>
                    <a:cubicBezTo>
                      <a:pt x="1497839" y="8273"/>
                      <a:pt x="1441641" y="-5062"/>
                      <a:pt x="1388301" y="12083"/>
                    </a:cubicBezTo>
                    <a:lnTo>
                      <a:pt x="114809" y="401655"/>
                    </a:lnTo>
                    <a:cubicBezTo>
                      <a:pt x="61469" y="417848"/>
                      <a:pt x="22416" y="459758"/>
                      <a:pt x="9081" y="515003"/>
                    </a:cubicBezTo>
                    <a:cubicBezTo>
                      <a:pt x="-3301" y="568343"/>
                      <a:pt x="13844" y="623588"/>
                      <a:pt x="54801" y="661688"/>
                    </a:cubicBezTo>
                    <a:lnTo>
                      <a:pt x="54801" y="661688"/>
                    </a:lnTo>
                    <a:close/>
                  </a:path>
                </a:pathLst>
              </a:custGeom>
              <a:grpFill/>
              <a:ln w="9525" cap="flat">
                <a:noFill/>
                <a:prstDash val="solid"/>
                <a:miter/>
              </a:ln>
            </p:spPr>
            <p:txBody>
              <a:bodyPr rtlCol="0" anchor="ctr"/>
              <a:lstStyle/>
              <a:p>
                <a:endParaRPr lang="en-US" sz="1730"/>
              </a:p>
            </p:txBody>
          </p:sp>
          <p:sp>
            <p:nvSpPr>
              <p:cNvPr id="49" name="Freeform: Shape 48">
                <a:extLst>
                  <a:ext uri="{FF2B5EF4-FFF2-40B4-BE49-F238E27FC236}">
                    <a16:creationId xmlns:a16="http://schemas.microsoft.com/office/drawing/2014/main" id="{54102133-5E8C-4CB3-AC62-D09FC824D203}"/>
                  </a:ext>
                </a:extLst>
              </p:cNvPr>
              <p:cNvSpPr/>
              <p:nvPr/>
            </p:nvSpPr>
            <p:spPr>
              <a:xfrm>
                <a:off x="5569965" y="3033304"/>
                <a:ext cx="1648967" cy="1494562"/>
              </a:xfrm>
              <a:custGeom>
                <a:avLst/>
                <a:gdLst>
                  <a:gd name="connsiteX0" fmla="*/ 784479 w 1648967"/>
                  <a:gd name="connsiteY0" fmla="*/ 1494562 h 1494562"/>
                  <a:gd name="connsiteX1" fmla="*/ 778764 w 1648967"/>
                  <a:gd name="connsiteY1" fmla="*/ 1494562 h 1494562"/>
                  <a:gd name="connsiteX2" fmla="*/ 643509 w 1648967"/>
                  <a:gd name="connsiteY2" fmla="*/ 1409790 h 1494562"/>
                  <a:gd name="connsiteX3" fmla="*/ 18669 w 1648967"/>
                  <a:gd name="connsiteY3" fmla="*/ 235357 h 1494562"/>
                  <a:gd name="connsiteX4" fmla="*/ 18669 w 1648967"/>
                  <a:gd name="connsiteY4" fmla="*/ 235357 h 1494562"/>
                  <a:gd name="connsiteX5" fmla="*/ 24384 w 1648967"/>
                  <a:gd name="connsiteY5" fmla="*/ 75337 h 1494562"/>
                  <a:gd name="connsiteX6" fmla="*/ 165354 w 1648967"/>
                  <a:gd name="connsiteY6" fmla="*/ 90 h 1494562"/>
                  <a:gd name="connsiteX7" fmla="*/ 1495044 w 1648967"/>
                  <a:gd name="connsiteY7" fmla="*/ 46762 h 1494562"/>
                  <a:gd name="connsiteX8" fmla="*/ 1630299 w 1648967"/>
                  <a:gd name="connsiteY8" fmla="*/ 131535 h 1494562"/>
                  <a:gd name="connsiteX9" fmla="*/ 1624584 w 1648967"/>
                  <a:gd name="connsiteY9" fmla="*/ 291555 h 1494562"/>
                  <a:gd name="connsiteX10" fmla="*/ 919734 w 1648967"/>
                  <a:gd name="connsiteY10" fmla="*/ 1419315 h 1494562"/>
                  <a:gd name="connsiteX11" fmla="*/ 784479 w 1648967"/>
                  <a:gd name="connsiteY11" fmla="*/ 1494562 h 1494562"/>
                  <a:gd name="connsiteX12" fmla="*/ 158686 w 1648967"/>
                  <a:gd name="connsiteY12" fmla="*/ 5805 h 1494562"/>
                  <a:gd name="connsiteX13" fmla="*/ 28194 w 1648967"/>
                  <a:gd name="connsiteY13" fmla="*/ 78195 h 1494562"/>
                  <a:gd name="connsiteX14" fmla="*/ 22479 w 1648967"/>
                  <a:gd name="connsiteY14" fmla="*/ 232500 h 1494562"/>
                  <a:gd name="connsiteX15" fmla="*/ 22479 w 1648967"/>
                  <a:gd name="connsiteY15" fmla="*/ 232500 h 1494562"/>
                  <a:gd name="connsiteX16" fmla="*/ 647319 w 1648967"/>
                  <a:gd name="connsiteY16" fmla="*/ 1406932 h 1494562"/>
                  <a:gd name="connsiteX17" fmla="*/ 777812 w 1648967"/>
                  <a:gd name="connsiteY17" fmla="*/ 1488847 h 1494562"/>
                  <a:gd name="connsiteX18" fmla="*/ 914019 w 1648967"/>
                  <a:gd name="connsiteY18" fmla="*/ 1416457 h 1494562"/>
                  <a:gd name="connsiteX19" fmla="*/ 1618869 w 1648967"/>
                  <a:gd name="connsiteY19" fmla="*/ 288697 h 1494562"/>
                  <a:gd name="connsiteX20" fmla="*/ 1624584 w 1648967"/>
                  <a:gd name="connsiteY20" fmla="*/ 134392 h 1494562"/>
                  <a:gd name="connsiteX21" fmla="*/ 1494092 w 1648967"/>
                  <a:gd name="connsiteY21" fmla="*/ 52477 h 1494562"/>
                  <a:gd name="connsiteX22" fmla="*/ 164402 w 1648967"/>
                  <a:gd name="connsiteY22" fmla="*/ 5805 h 1494562"/>
                  <a:gd name="connsiteX23" fmla="*/ 158686 w 1648967"/>
                  <a:gd name="connsiteY23" fmla="*/ 5805 h 14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48967" h="1494562">
                    <a:moveTo>
                      <a:pt x="784479" y="1494562"/>
                    </a:moveTo>
                    <a:cubicBezTo>
                      <a:pt x="782574" y="1494562"/>
                      <a:pt x="780669" y="1494562"/>
                      <a:pt x="778764" y="1494562"/>
                    </a:cubicBezTo>
                    <a:cubicBezTo>
                      <a:pt x="720662" y="1492657"/>
                      <a:pt x="670179" y="1461225"/>
                      <a:pt x="643509" y="1409790"/>
                    </a:cubicBezTo>
                    <a:lnTo>
                      <a:pt x="18669" y="235357"/>
                    </a:lnTo>
                    <a:lnTo>
                      <a:pt x="18669" y="235357"/>
                    </a:lnTo>
                    <a:cubicBezTo>
                      <a:pt x="-8001" y="183922"/>
                      <a:pt x="-6096" y="124867"/>
                      <a:pt x="24384" y="75337"/>
                    </a:cubicBezTo>
                    <a:cubicBezTo>
                      <a:pt x="54864" y="26760"/>
                      <a:pt x="107252" y="-1815"/>
                      <a:pt x="165354" y="90"/>
                    </a:cubicBezTo>
                    <a:lnTo>
                      <a:pt x="1495044" y="46762"/>
                    </a:lnTo>
                    <a:cubicBezTo>
                      <a:pt x="1553147" y="48667"/>
                      <a:pt x="1603629" y="80100"/>
                      <a:pt x="1630299" y="131535"/>
                    </a:cubicBezTo>
                    <a:cubicBezTo>
                      <a:pt x="1656969" y="182970"/>
                      <a:pt x="1655064" y="242025"/>
                      <a:pt x="1624584" y="291555"/>
                    </a:cubicBezTo>
                    <a:lnTo>
                      <a:pt x="919734" y="1419315"/>
                    </a:lnTo>
                    <a:cubicBezTo>
                      <a:pt x="890206" y="1466940"/>
                      <a:pt x="839724" y="1494562"/>
                      <a:pt x="784479" y="1494562"/>
                    </a:cubicBezTo>
                    <a:close/>
                    <a:moveTo>
                      <a:pt x="158686" y="5805"/>
                    </a:moveTo>
                    <a:cubicBezTo>
                      <a:pt x="105347" y="5805"/>
                      <a:pt x="56769" y="32475"/>
                      <a:pt x="28194" y="78195"/>
                    </a:cubicBezTo>
                    <a:cubicBezTo>
                      <a:pt x="-1334" y="125820"/>
                      <a:pt x="-3239" y="182970"/>
                      <a:pt x="22479" y="232500"/>
                    </a:cubicBezTo>
                    <a:lnTo>
                      <a:pt x="22479" y="232500"/>
                    </a:lnTo>
                    <a:lnTo>
                      <a:pt x="647319" y="1406932"/>
                    </a:lnTo>
                    <a:cubicBezTo>
                      <a:pt x="673989" y="1456462"/>
                      <a:pt x="722567" y="1486942"/>
                      <a:pt x="777812" y="1488847"/>
                    </a:cubicBezTo>
                    <a:cubicBezTo>
                      <a:pt x="834009" y="1490752"/>
                      <a:pt x="884492" y="1464082"/>
                      <a:pt x="914019" y="1416457"/>
                    </a:cubicBezTo>
                    <a:lnTo>
                      <a:pt x="1618869" y="288697"/>
                    </a:lnTo>
                    <a:cubicBezTo>
                      <a:pt x="1648397" y="241072"/>
                      <a:pt x="1650302" y="183922"/>
                      <a:pt x="1624584" y="134392"/>
                    </a:cubicBezTo>
                    <a:cubicBezTo>
                      <a:pt x="1597914" y="84862"/>
                      <a:pt x="1549337" y="54382"/>
                      <a:pt x="1494092" y="52477"/>
                    </a:cubicBezTo>
                    <a:lnTo>
                      <a:pt x="164402" y="5805"/>
                    </a:lnTo>
                    <a:cubicBezTo>
                      <a:pt x="162497" y="5805"/>
                      <a:pt x="160592" y="5805"/>
                      <a:pt x="158686" y="5805"/>
                    </a:cubicBezTo>
                    <a:close/>
                  </a:path>
                </a:pathLst>
              </a:custGeom>
              <a:grpFill/>
              <a:ln w="9525" cap="flat">
                <a:noFill/>
                <a:prstDash val="solid"/>
                <a:miter/>
              </a:ln>
            </p:spPr>
            <p:txBody>
              <a:bodyPr rtlCol="0" anchor="ctr"/>
              <a:lstStyle/>
              <a:p>
                <a:endParaRPr lang="en-US" sz="1730"/>
              </a:p>
            </p:txBody>
          </p:sp>
          <p:sp>
            <p:nvSpPr>
              <p:cNvPr id="50" name="Freeform: Shape 49">
                <a:extLst>
                  <a:ext uri="{FF2B5EF4-FFF2-40B4-BE49-F238E27FC236}">
                    <a16:creationId xmlns:a16="http://schemas.microsoft.com/office/drawing/2014/main" id="{0BCE9930-CFBB-4646-901A-120648FA1B9E}"/>
                  </a:ext>
                </a:extLst>
              </p:cNvPr>
              <p:cNvSpPr/>
              <p:nvPr/>
            </p:nvSpPr>
            <p:spPr>
              <a:xfrm>
                <a:off x="5695335" y="2890984"/>
                <a:ext cx="1562058" cy="1634024"/>
              </a:xfrm>
              <a:custGeom>
                <a:avLst/>
                <a:gdLst>
                  <a:gd name="connsiteX0" fmla="*/ 368597 w 1562058"/>
                  <a:gd name="connsiteY0" fmla="*/ 1634025 h 1634024"/>
                  <a:gd name="connsiteX1" fmla="*/ 310494 w 1562058"/>
                  <a:gd name="connsiteY1" fmla="*/ 1623547 h 1634024"/>
                  <a:gd name="connsiteX2" fmla="*/ 209529 w 1562058"/>
                  <a:gd name="connsiteY2" fmla="*/ 1499722 h 1634024"/>
                  <a:gd name="connsiteX3" fmla="*/ 1884 w 1562058"/>
                  <a:gd name="connsiteY3" fmla="*/ 185272 h 1634024"/>
                  <a:gd name="connsiteX4" fmla="*/ 59034 w 1562058"/>
                  <a:gd name="connsiteY4" fmla="*/ 35730 h 1634024"/>
                  <a:gd name="connsiteX5" fmla="*/ 217149 w 1562058"/>
                  <a:gd name="connsiteY5" fmla="*/ 10965 h 1634024"/>
                  <a:gd name="connsiteX6" fmla="*/ 1459210 w 1562058"/>
                  <a:gd name="connsiteY6" fmla="*/ 488167 h 1634024"/>
                  <a:gd name="connsiteX7" fmla="*/ 1560174 w 1562058"/>
                  <a:gd name="connsiteY7" fmla="*/ 611992 h 1634024"/>
                  <a:gd name="connsiteX8" fmla="*/ 1503024 w 1562058"/>
                  <a:gd name="connsiteY8" fmla="*/ 761535 h 1634024"/>
                  <a:gd name="connsiteX9" fmla="*/ 469562 w 1562058"/>
                  <a:gd name="connsiteY9" fmla="*/ 1598782 h 1634024"/>
                  <a:gd name="connsiteX10" fmla="*/ 368597 w 1562058"/>
                  <a:gd name="connsiteY10" fmla="*/ 1634025 h 1634024"/>
                  <a:gd name="connsiteX11" fmla="*/ 159047 w 1562058"/>
                  <a:gd name="connsiteY11" fmla="*/ 5250 h 1634024"/>
                  <a:gd name="connsiteX12" fmla="*/ 62844 w 1562058"/>
                  <a:gd name="connsiteY12" fmla="*/ 39540 h 1634024"/>
                  <a:gd name="connsiteX13" fmla="*/ 7599 w 1562058"/>
                  <a:gd name="connsiteY13" fmla="*/ 183367 h 1634024"/>
                  <a:gd name="connsiteX14" fmla="*/ 215244 w 1562058"/>
                  <a:gd name="connsiteY14" fmla="*/ 1497818 h 1634024"/>
                  <a:gd name="connsiteX15" fmla="*/ 312399 w 1562058"/>
                  <a:gd name="connsiteY15" fmla="*/ 1617832 h 1634024"/>
                  <a:gd name="connsiteX16" fmla="*/ 464799 w 1562058"/>
                  <a:gd name="connsiteY16" fmla="*/ 1594020 h 1634024"/>
                  <a:gd name="connsiteX17" fmla="*/ 1498262 w 1562058"/>
                  <a:gd name="connsiteY17" fmla="*/ 756772 h 1634024"/>
                  <a:gd name="connsiteX18" fmla="*/ 1553507 w 1562058"/>
                  <a:gd name="connsiteY18" fmla="*/ 612945 h 1634024"/>
                  <a:gd name="connsiteX19" fmla="*/ 1456352 w 1562058"/>
                  <a:gd name="connsiteY19" fmla="*/ 492930 h 1634024"/>
                  <a:gd name="connsiteX20" fmla="*/ 215244 w 1562058"/>
                  <a:gd name="connsiteY20" fmla="*/ 15727 h 1634024"/>
                  <a:gd name="connsiteX21" fmla="*/ 159047 w 1562058"/>
                  <a:gd name="connsiteY21" fmla="*/ 5250 h 1634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62058" h="1634024">
                    <a:moveTo>
                      <a:pt x="368597" y="1634025"/>
                    </a:moveTo>
                    <a:cubicBezTo>
                      <a:pt x="349547" y="1634025"/>
                      <a:pt x="329544" y="1630215"/>
                      <a:pt x="310494" y="1623547"/>
                    </a:cubicBezTo>
                    <a:cubicBezTo>
                      <a:pt x="256202" y="1602593"/>
                      <a:pt x="219054" y="1556872"/>
                      <a:pt x="209529" y="1499722"/>
                    </a:cubicBezTo>
                    <a:lnTo>
                      <a:pt x="1884" y="185272"/>
                    </a:lnTo>
                    <a:cubicBezTo>
                      <a:pt x="-6688" y="128122"/>
                      <a:pt x="14267" y="72877"/>
                      <a:pt x="59034" y="35730"/>
                    </a:cubicBezTo>
                    <a:cubicBezTo>
                      <a:pt x="103802" y="-465"/>
                      <a:pt x="162857" y="-9990"/>
                      <a:pt x="217149" y="10965"/>
                    </a:cubicBezTo>
                    <a:lnTo>
                      <a:pt x="1459210" y="488167"/>
                    </a:lnTo>
                    <a:cubicBezTo>
                      <a:pt x="1513502" y="509122"/>
                      <a:pt x="1550649" y="554842"/>
                      <a:pt x="1560174" y="611992"/>
                    </a:cubicBezTo>
                    <a:cubicBezTo>
                      <a:pt x="1568747" y="669142"/>
                      <a:pt x="1547792" y="724387"/>
                      <a:pt x="1503024" y="761535"/>
                    </a:cubicBezTo>
                    <a:lnTo>
                      <a:pt x="469562" y="1598782"/>
                    </a:lnTo>
                    <a:cubicBezTo>
                      <a:pt x="439082" y="1621643"/>
                      <a:pt x="404792" y="1634025"/>
                      <a:pt x="368597" y="1634025"/>
                    </a:cubicBezTo>
                    <a:close/>
                    <a:moveTo>
                      <a:pt x="159047" y="5250"/>
                    </a:moveTo>
                    <a:cubicBezTo>
                      <a:pt x="124757" y="5250"/>
                      <a:pt x="90467" y="16680"/>
                      <a:pt x="62844" y="39540"/>
                    </a:cubicBezTo>
                    <a:cubicBezTo>
                      <a:pt x="19029" y="74782"/>
                      <a:pt x="-973" y="128122"/>
                      <a:pt x="7599" y="183367"/>
                    </a:cubicBezTo>
                    <a:lnTo>
                      <a:pt x="215244" y="1497818"/>
                    </a:lnTo>
                    <a:cubicBezTo>
                      <a:pt x="223817" y="1553062"/>
                      <a:pt x="260012" y="1597830"/>
                      <a:pt x="312399" y="1617832"/>
                    </a:cubicBezTo>
                    <a:cubicBezTo>
                      <a:pt x="364787" y="1637835"/>
                      <a:pt x="421937" y="1629262"/>
                      <a:pt x="464799" y="1594020"/>
                    </a:cubicBezTo>
                    <a:lnTo>
                      <a:pt x="1498262" y="756772"/>
                    </a:lnTo>
                    <a:cubicBezTo>
                      <a:pt x="1542077" y="721530"/>
                      <a:pt x="1562080" y="668190"/>
                      <a:pt x="1553507" y="612945"/>
                    </a:cubicBezTo>
                    <a:cubicBezTo>
                      <a:pt x="1544935" y="557700"/>
                      <a:pt x="1508740" y="512932"/>
                      <a:pt x="1456352" y="492930"/>
                    </a:cubicBezTo>
                    <a:lnTo>
                      <a:pt x="215244" y="15727"/>
                    </a:lnTo>
                    <a:cubicBezTo>
                      <a:pt x="197147" y="9060"/>
                      <a:pt x="178097" y="5250"/>
                      <a:pt x="159047" y="5250"/>
                    </a:cubicBezTo>
                    <a:close/>
                  </a:path>
                </a:pathLst>
              </a:custGeom>
              <a:grpFill/>
              <a:ln w="9525" cap="flat">
                <a:noFill/>
                <a:prstDash val="solid"/>
                <a:miter/>
              </a:ln>
            </p:spPr>
            <p:txBody>
              <a:bodyPr rtlCol="0" anchor="ctr"/>
              <a:lstStyle/>
              <a:p>
                <a:endParaRPr lang="en-US" sz="1730"/>
              </a:p>
            </p:txBody>
          </p:sp>
          <p:sp>
            <p:nvSpPr>
              <p:cNvPr id="51" name="Freeform: Shape 50">
                <a:extLst>
                  <a:ext uri="{FF2B5EF4-FFF2-40B4-BE49-F238E27FC236}">
                    <a16:creationId xmlns:a16="http://schemas.microsoft.com/office/drawing/2014/main" id="{8C60FDBA-7C23-4806-88B5-29E31C6583DC}"/>
                  </a:ext>
                </a:extLst>
              </p:cNvPr>
              <p:cNvSpPr/>
              <p:nvPr/>
            </p:nvSpPr>
            <p:spPr>
              <a:xfrm>
                <a:off x="5630741" y="2796715"/>
                <a:ext cx="1568373" cy="1631138"/>
              </a:xfrm>
              <a:custGeom>
                <a:avLst/>
                <a:gdLst>
                  <a:gd name="connsiteX0" fmla="*/ 158870 w 1568373"/>
                  <a:gd name="connsiteY0" fmla="*/ 1631139 h 1631138"/>
                  <a:gd name="connsiteX1" fmla="*/ 56953 w 1568373"/>
                  <a:gd name="connsiteY1" fmla="*/ 1593991 h 1631138"/>
                  <a:gd name="connsiteX2" fmla="*/ 2660 w 1568373"/>
                  <a:gd name="connsiteY2" fmla="*/ 1443496 h 1631138"/>
                  <a:gd name="connsiteX3" fmla="*/ 232213 w 1568373"/>
                  <a:gd name="connsiteY3" fmla="*/ 132856 h 1631138"/>
                  <a:gd name="connsiteX4" fmla="*/ 335083 w 1568373"/>
                  <a:gd name="connsiteY4" fmla="*/ 9984 h 1631138"/>
                  <a:gd name="connsiteX5" fmla="*/ 492246 w 1568373"/>
                  <a:gd name="connsiteY5" fmla="*/ 37606 h 1631138"/>
                  <a:gd name="connsiteX6" fmla="*/ 1511421 w 1568373"/>
                  <a:gd name="connsiteY6" fmla="*/ 892951 h 1631138"/>
                  <a:gd name="connsiteX7" fmla="*/ 1565713 w 1568373"/>
                  <a:gd name="connsiteY7" fmla="*/ 1043446 h 1631138"/>
                  <a:gd name="connsiteX8" fmla="*/ 1462843 w 1568373"/>
                  <a:gd name="connsiteY8" fmla="*/ 1166319 h 1631138"/>
                  <a:gd name="connsiteX9" fmla="*/ 214116 w 1568373"/>
                  <a:gd name="connsiteY9" fmla="*/ 1620662 h 1631138"/>
                  <a:gd name="connsiteX10" fmla="*/ 158870 w 1568373"/>
                  <a:gd name="connsiteY10" fmla="*/ 1631139 h 1631138"/>
                  <a:gd name="connsiteX11" fmla="*/ 390328 w 1568373"/>
                  <a:gd name="connsiteY11" fmla="*/ 6174 h 1631138"/>
                  <a:gd name="connsiteX12" fmla="*/ 336988 w 1568373"/>
                  <a:gd name="connsiteY12" fmla="*/ 15699 h 1631138"/>
                  <a:gd name="connsiteX13" fmla="*/ 237928 w 1568373"/>
                  <a:gd name="connsiteY13" fmla="*/ 133809 h 1631138"/>
                  <a:gd name="connsiteX14" fmla="*/ 7423 w 1568373"/>
                  <a:gd name="connsiteY14" fmla="*/ 1444449 h 1631138"/>
                  <a:gd name="connsiteX15" fmla="*/ 59810 w 1568373"/>
                  <a:gd name="connsiteY15" fmla="*/ 1589229 h 1631138"/>
                  <a:gd name="connsiteX16" fmla="*/ 212210 w 1568373"/>
                  <a:gd name="connsiteY16" fmla="*/ 1615899 h 1631138"/>
                  <a:gd name="connsiteX17" fmla="*/ 1461891 w 1568373"/>
                  <a:gd name="connsiteY17" fmla="*/ 1160604 h 1631138"/>
                  <a:gd name="connsiteX18" fmla="*/ 1560951 w 1568373"/>
                  <a:gd name="connsiteY18" fmla="*/ 1042494 h 1631138"/>
                  <a:gd name="connsiteX19" fmla="*/ 1508563 w 1568373"/>
                  <a:gd name="connsiteY19" fmla="*/ 897714 h 1631138"/>
                  <a:gd name="connsiteX20" fmla="*/ 489388 w 1568373"/>
                  <a:gd name="connsiteY20" fmla="*/ 42369 h 1631138"/>
                  <a:gd name="connsiteX21" fmla="*/ 390328 w 1568373"/>
                  <a:gd name="connsiteY21" fmla="*/ 6174 h 163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68373" h="1631138">
                    <a:moveTo>
                      <a:pt x="158870" y="1631139"/>
                    </a:moveTo>
                    <a:cubicBezTo>
                      <a:pt x="121723" y="1631139"/>
                      <a:pt x="86481" y="1617804"/>
                      <a:pt x="56953" y="1593991"/>
                    </a:cubicBezTo>
                    <a:cubicBezTo>
                      <a:pt x="13138" y="1556844"/>
                      <a:pt x="-7817" y="1500646"/>
                      <a:pt x="2660" y="1443496"/>
                    </a:cubicBezTo>
                    <a:lnTo>
                      <a:pt x="232213" y="132856"/>
                    </a:lnTo>
                    <a:cubicBezTo>
                      <a:pt x="242691" y="75706"/>
                      <a:pt x="280791" y="29986"/>
                      <a:pt x="335083" y="9984"/>
                    </a:cubicBezTo>
                    <a:cubicBezTo>
                      <a:pt x="389375" y="-10019"/>
                      <a:pt x="448431" y="459"/>
                      <a:pt x="492246" y="37606"/>
                    </a:cubicBezTo>
                    <a:lnTo>
                      <a:pt x="1511421" y="892951"/>
                    </a:lnTo>
                    <a:cubicBezTo>
                      <a:pt x="1555236" y="930099"/>
                      <a:pt x="1576191" y="986296"/>
                      <a:pt x="1565713" y="1043446"/>
                    </a:cubicBezTo>
                    <a:cubicBezTo>
                      <a:pt x="1555236" y="1100596"/>
                      <a:pt x="1517136" y="1146316"/>
                      <a:pt x="1462843" y="1166319"/>
                    </a:cubicBezTo>
                    <a:lnTo>
                      <a:pt x="214116" y="1620662"/>
                    </a:lnTo>
                    <a:cubicBezTo>
                      <a:pt x="196018" y="1627329"/>
                      <a:pt x="176968" y="1631139"/>
                      <a:pt x="158870" y="1631139"/>
                    </a:cubicBezTo>
                    <a:close/>
                    <a:moveTo>
                      <a:pt x="390328" y="6174"/>
                    </a:moveTo>
                    <a:cubicBezTo>
                      <a:pt x="372231" y="6174"/>
                      <a:pt x="354133" y="9031"/>
                      <a:pt x="336988" y="15699"/>
                    </a:cubicBezTo>
                    <a:cubicBezTo>
                      <a:pt x="284600" y="34749"/>
                      <a:pt x="247453" y="78564"/>
                      <a:pt x="237928" y="133809"/>
                    </a:cubicBezTo>
                    <a:lnTo>
                      <a:pt x="7423" y="1444449"/>
                    </a:lnTo>
                    <a:cubicBezTo>
                      <a:pt x="-2102" y="1499694"/>
                      <a:pt x="17900" y="1553987"/>
                      <a:pt x="59810" y="1589229"/>
                    </a:cubicBezTo>
                    <a:cubicBezTo>
                      <a:pt x="102673" y="1625424"/>
                      <a:pt x="159823" y="1634949"/>
                      <a:pt x="212210" y="1615899"/>
                    </a:cubicBezTo>
                    <a:lnTo>
                      <a:pt x="1461891" y="1160604"/>
                    </a:lnTo>
                    <a:cubicBezTo>
                      <a:pt x="1514278" y="1141554"/>
                      <a:pt x="1551426" y="1097739"/>
                      <a:pt x="1560951" y="1042494"/>
                    </a:cubicBezTo>
                    <a:cubicBezTo>
                      <a:pt x="1570476" y="987249"/>
                      <a:pt x="1550473" y="932956"/>
                      <a:pt x="1508563" y="897714"/>
                    </a:cubicBezTo>
                    <a:lnTo>
                      <a:pt x="489388" y="42369"/>
                    </a:lnTo>
                    <a:cubicBezTo>
                      <a:pt x="460813" y="18556"/>
                      <a:pt x="426523" y="6174"/>
                      <a:pt x="390328" y="6174"/>
                    </a:cubicBezTo>
                    <a:close/>
                  </a:path>
                </a:pathLst>
              </a:custGeom>
              <a:grpFill/>
              <a:ln w="9525" cap="flat">
                <a:noFill/>
                <a:prstDash val="solid"/>
                <a:miter/>
              </a:ln>
            </p:spPr>
            <p:txBody>
              <a:bodyPr rtlCol="0" anchor="ctr"/>
              <a:lstStyle/>
              <a:p>
                <a:endParaRPr lang="en-US" sz="1730"/>
              </a:p>
            </p:txBody>
          </p:sp>
          <p:sp>
            <p:nvSpPr>
              <p:cNvPr id="52" name="Freeform: Shape 51">
                <a:extLst>
                  <a:ext uri="{FF2B5EF4-FFF2-40B4-BE49-F238E27FC236}">
                    <a16:creationId xmlns:a16="http://schemas.microsoft.com/office/drawing/2014/main" id="{7DC83954-308D-4CAC-ADE0-92CE37FA6207}"/>
                  </a:ext>
                </a:extLst>
              </p:cNvPr>
              <p:cNvSpPr/>
              <p:nvPr/>
            </p:nvSpPr>
            <p:spPr>
              <a:xfrm>
                <a:off x="5402873" y="2763813"/>
                <a:ext cx="1649777" cy="1482113"/>
              </a:xfrm>
              <a:custGeom>
                <a:avLst/>
                <a:gdLst>
                  <a:gd name="connsiteX0" fmla="*/ 160044 w 1649777"/>
                  <a:gd name="connsiteY0" fmla="*/ 1482113 h 1482113"/>
                  <a:gd name="connsiteX1" fmla="*/ 22884 w 1649777"/>
                  <a:gd name="connsiteY1" fmla="*/ 1404961 h 1482113"/>
                  <a:gd name="connsiteX2" fmla="*/ 20026 w 1649777"/>
                  <a:gd name="connsiteY2" fmla="*/ 1244941 h 1482113"/>
                  <a:gd name="connsiteX3" fmla="*/ 664869 w 1649777"/>
                  <a:gd name="connsiteY3" fmla="*/ 81938 h 1482113"/>
                  <a:gd name="connsiteX4" fmla="*/ 667726 w 1649777"/>
                  <a:gd name="connsiteY4" fmla="*/ 82891 h 1482113"/>
                  <a:gd name="connsiteX5" fmla="*/ 664869 w 1649777"/>
                  <a:gd name="connsiteY5" fmla="*/ 81938 h 1482113"/>
                  <a:gd name="connsiteX6" fmla="*/ 802029 w 1649777"/>
                  <a:gd name="connsiteY6" fmla="*/ 23 h 1482113"/>
                  <a:gd name="connsiteX7" fmla="*/ 942046 w 1649777"/>
                  <a:gd name="connsiteY7" fmla="*/ 77176 h 1482113"/>
                  <a:gd name="connsiteX8" fmla="*/ 1626894 w 1649777"/>
                  <a:gd name="connsiteY8" fmla="*/ 1217318 h 1482113"/>
                  <a:gd name="connsiteX9" fmla="*/ 1629751 w 1649777"/>
                  <a:gd name="connsiteY9" fmla="*/ 1377338 h 1482113"/>
                  <a:gd name="connsiteX10" fmla="*/ 1492591 w 1649777"/>
                  <a:gd name="connsiteY10" fmla="*/ 1459253 h 1482113"/>
                  <a:gd name="connsiteX11" fmla="*/ 161949 w 1649777"/>
                  <a:gd name="connsiteY11" fmla="*/ 1482113 h 1482113"/>
                  <a:gd name="connsiteX12" fmla="*/ 160044 w 1649777"/>
                  <a:gd name="connsiteY12" fmla="*/ 1482113 h 1482113"/>
                  <a:gd name="connsiteX13" fmla="*/ 804886 w 1649777"/>
                  <a:gd name="connsiteY13" fmla="*/ 4786 h 1482113"/>
                  <a:gd name="connsiteX14" fmla="*/ 802029 w 1649777"/>
                  <a:gd name="connsiteY14" fmla="*/ 4786 h 1482113"/>
                  <a:gd name="connsiteX15" fmla="*/ 669631 w 1649777"/>
                  <a:gd name="connsiteY15" fmla="*/ 83843 h 1482113"/>
                  <a:gd name="connsiteX16" fmla="*/ 24789 w 1649777"/>
                  <a:gd name="connsiteY16" fmla="*/ 1247798 h 1482113"/>
                  <a:gd name="connsiteX17" fmla="*/ 27646 w 1649777"/>
                  <a:gd name="connsiteY17" fmla="*/ 1402103 h 1482113"/>
                  <a:gd name="connsiteX18" fmla="*/ 162901 w 1649777"/>
                  <a:gd name="connsiteY18" fmla="*/ 1477351 h 1482113"/>
                  <a:gd name="connsiteX19" fmla="*/ 1493544 w 1649777"/>
                  <a:gd name="connsiteY19" fmla="*/ 1454491 h 1482113"/>
                  <a:gd name="connsiteX20" fmla="*/ 1625941 w 1649777"/>
                  <a:gd name="connsiteY20" fmla="*/ 1375433 h 1482113"/>
                  <a:gd name="connsiteX21" fmla="*/ 1623084 w 1649777"/>
                  <a:gd name="connsiteY21" fmla="*/ 1221128 h 1482113"/>
                  <a:gd name="connsiteX22" fmla="*/ 937284 w 1649777"/>
                  <a:gd name="connsiteY22" fmla="*/ 79081 h 1482113"/>
                  <a:gd name="connsiteX23" fmla="*/ 804886 w 1649777"/>
                  <a:gd name="connsiteY23" fmla="*/ 4786 h 148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49777" h="1482113">
                    <a:moveTo>
                      <a:pt x="160044" y="1482113"/>
                    </a:moveTo>
                    <a:cubicBezTo>
                      <a:pt x="103846" y="1482113"/>
                      <a:pt x="52411" y="1453538"/>
                      <a:pt x="22884" y="1404961"/>
                    </a:cubicBezTo>
                    <a:cubicBezTo>
                      <a:pt x="-6644" y="1355431"/>
                      <a:pt x="-7596" y="1295423"/>
                      <a:pt x="20026" y="1244941"/>
                    </a:cubicBezTo>
                    <a:lnTo>
                      <a:pt x="664869" y="81938"/>
                    </a:lnTo>
                    <a:lnTo>
                      <a:pt x="667726" y="82891"/>
                    </a:lnTo>
                    <a:lnTo>
                      <a:pt x="664869" y="81938"/>
                    </a:lnTo>
                    <a:cubicBezTo>
                      <a:pt x="692491" y="31456"/>
                      <a:pt x="743926" y="976"/>
                      <a:pt x="802029" y="23"/>
                    </a:cubicBezTo>
                    <a:cubicBezTo>
                      <a:pt x="859179" y="-929"/>
                      <a:pt x="912519" y="27646"/>
                      <a:pt x="942046" y="77176"/>
                    </a:cubicBezTo>
                    <a:lnTo>
                      <a:pt x="1626894" y="1217318"/>
                    </a:lnTo>
                    <a:cubicBezTo>
                      <a:pt x="1656421" y="1266848"/>
                      <a:pt x="1657374" y="1326856"/>
                      <a:pt x="1629751" y="1377338"/>
                    </a:cubicBezTo>
                    <a:cubicBezTo>
                      <a:pt x="1602129" y="1427821"/>
                      <a:pt x="1550694" y="1458301"/>
                      <a:pt x="1492591" y="1459253"/>
                    </a:cubicBezTo>
                    <a:lnTo>
                      <a:pt x="161949" y="1482113"/>
                    </a:lnTo>
                    <a:cubicBezTo>
                      <a:pt x="161949" y="1482113"/>
                      <a:pt x="160996" y="1482113"/>
                      <a:pt x="160044" y="1482113"/>
                    </a:cubicBezTo>
                    <a:close/>
                    <a:moveTo>
                      <a:pt x="804886" y="4786"/>
                    </a:moveTo>
                    <a:cubicBezTo>
                      <a:pt x="803934" y="4786"/>
                      <a:pt x="802981" y="4786"/>
                      <a:pt x="802029" y="4786"/>
                    </a:cubicBezTo>
                    <a:cubicBezTo>
                      <a:pt x="745831" y="5738"/>
                      <a:pt x="697254" y="35266"/>
                      <a:pt x="669631" y="83843"/>
                    </a:cubicBezTo>
                    <a:lnTo>
                      <a:pt x="24789" y="1247798"/>
                    </a:lnTo>
                    <a:cubicBezTo>
                      <a:pt x="-1881" y="1296376"/>
                      <a:pt x="-929" y="1354478"/>
                      <a:pt x="27646" y="1402103"/>
                    </a:cubicBezTo>
                    <a:cubicBezTo>
                      <a:pt x="56221" y="1449728"/>
                      <a:pt x="106704" y="1478303"/>
                      <a:pt x="162901" y="1477351"/>
                    </a:cubicBezTo>
                    <a:lnTo>
                      <a:pt x="1493544" y="1454491"/>
                    </a:lnTo>
                    <a:cubicBezTo>
                      <a:pt x="1549741" y="1453538"/>
                      <a:pt x="1598319" y="1424011"/>
                      <a:pt x="1625941" y="1375433"/>
                    </a:cubicBezTo>
                    <a:cubicBezTo>
                      <a:pt x="1652611" y="1326856"/>
                      <a:pt x="1651659" y="1268753"/>
                      <a:pt x="1623084" y="1221128"/>
                    </a:cubicBezTo>
                    <a:lnTo>
                      <a:pt x="937284" y="79081"/>
                    </a:lnTo>
                    <a:cubicBezTo>
                      <a:pt x="908709" y="32408"/>
                      <a:pt x="860131" y="4786"/>
                      <a:pt x="804886" y="4786"/>
                    </a:cubicBezTo>
                    <a:close/>
                  </a:path>
                </a:pathLst>
              </a:custGeom>
              <a:grpFill/>
              <a:ln w="9525" cap="flat">
                <a:noFill/>
                <a:prstDash val="solid"/>
                <a:miter/>
              </a:ln>
            </p:spPr>
            <p:txBody>
              <a:bodyPr rtlCol="0" anchor="ctr"/>
              <a:lstStyle/>
              <a:p>
                <a:endParaRPr lang="en-US" sz="1730"/>
              </a:p>
            </p:txBody>
          </p:sp>
          <p:sp>
            <p:nvSpPr>
              <p:cNvPr id="53" name="Freeform: Shape 52">
                <a:extLst>
                  <a:ext uri="{FF2B5EF4-FFF2-40B4-BE49-F238E27FC236}">
                    <a16:creationId xmlns:a16="http://schemas.microsoft.com/office/drawing/2014/main" id="{85339DC7-664E-4BEF-85FE-D1109A719B7E}"/>
                  </a:ext>
                </a:extLst>
              </p:cNvPr>
              <p:cNvSpPr/>
              <p:nvPr/>
            </p:nvSpPr>
            <p:spPr>
              <a:xfrm>
                <a:off x="5247730" y="2789965"/>
                <a:ext cx="1584777" cy="1622649"/>
              </a:xfrm>
              <a:custGeom>
                <a:avLst/>
                <a:gdLst>
                  <a:gd name="connsiteX0" fmla="*/ 1425801 w 1584777"/>
                  <a:gd name="connsiteY0" fmla="*/ 1622649 h 1622649"/>
                  <a:gd name="connsiteX1" fmla="*/ 1375319 w 1584777"/>
                  <a:gd name="connsiteY1" fmla="*/ 1615029 h 1622649"/>
                  <a:gd name="connsiteX2" fmla="*/ 110399 w 1584777"/>
                  <a:gd name="connsiteY2" fmla="*/ 1203549 h 1622649"/>
                  <a:gd name="connsiteX3" fmla="*/ 3719 w 1584777"/>
                  <a:gd name="connsiteY3" fmla="*/ 1084487 h 1622649"/>
                  <a:gd name="connsiteX4" fmla="*/ 53249 w 1584777"/>
                  <a:gd name="connsiteY4" fmla="*/ 932087 h 1622649"/>
                  <a:gd name="connsiteX5" fmla="*/ 1041944 w 1584777"/>
                  <a:gd name="connsiteY5" fmla="*/ 41499 h 1622649"/>
                  <a:gd name="connsiteX6" fmla="*/ 1043849 w 1584777"/>
                  <a:gd name="connsiteY6" fmla="*/ 43404 h 1622649"/>
                  <a:gd name="connsiteX7" fmla="*/ 1041944 w 1584777"/>
                  <a:gd name="connsiteY7" fmla="*/ 41499 h 1622649"/>
                  <a:gd name="connsiteX8" fmla="*/ 1198154 w 1584777"/>
                  <a:gd name="connsiteY8" fmla="*/ 8162 h 1622649"/>
                  <a:gd name="connsiteX9" fmla="*/ 1304834 w 1584777"/>
                  <a:gd name="connsiteY9" fmla="*/ 127224 h 1622649"/>
                  <a:gd name="connsiteX10" fmla="*/ 1581059 w 1584777"/>
                  <a:gd name="connsiteY10" fmla="*/ 1428339 h 1622649"/>
                  <a:gd name="connsiteX11" fmla="*/ 1531529 w 1584777"/>
                  <a:gd name="connsiteY11" fmla="*/ 1580739 h 1622649"/>
                  <a:gd name="connsiteX12" fmla="*/ 1425801 w 1584777"/>
                  <a:gd name="connsiteY12" fmla="*/ 1622649 h 1622649"/>
                  <a:gd name="connsiteX13" fmla="*/ 1147671 w 1584777"/>
                  <a:gd name="connsiteY13" fmla="*/ 6257 h 1622649"/>
                  <a:gd name="connsiteX14" fmla="*/ 1044801 w 1584777"/>
                  <a:gd name="connsiteY14" fmla="*/ 46262 h 1622649"/>
                  <a:gd name="connsiteX15" fmla="*/ 56106 w 1584777"/>
                  <a:gd name="connsiteY15" fmla="*/ 936849 h 1622649"/>
                  <a:gd name="connsiteX16" fmla="*/ 8481 w 1584777"/>
                  <a:gd name="connsiteY16" fmla="*/ 1083534 h 1622649"/>
                  <a:gd name="connsiteX17" fmla="*/ 111351 w 1584777"/>
                  <a:gd name="connsiteY17" fmla="*/ 1197834 h 1622649"/>
                  <a:gd name="connsiteX18" fmla="*/ 1376272 w 1584777"/>
                  <a:gd name="connsiteY18" fmla="*/ 1609314 h 1622649"/>
                  <a:gd name="connsiteX19" fmla="*/ 1526766 w 1584777"/>
                  <a:gd name="connsiteY19" fmla="*/ 1576929 h 1622649"/>
                  <a:gd name="connsiteX20" fmla="*/ 1574391 w 1584777"/>
                  <a:gd name="connsiteY20" fmla="*/ 1430244 h 1622649"/>
                  <a:gd name="connsiteX21" fmla="*/ 1298166 w 1584777"/>
                  <a:gd name="connsiteY21" fmla="*/ 129129 h 1622649"/>
                  <a:gd name="connsiteX22" fmla="*/ 1195297 w 1584777"/>
                  <a:gd name="connsiteY22" fmla="*/ 14829 h 1622649"/>
                  <a:gd name="connsiteX23" fmla="*/ 1147671 w 1584777"/>
                  <a:gd name="connsiteY23" fmla="*/ 6257 h 162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84777" h="1622649">
                    <a:moveTo>
                      <a:pt x="1425801" y="1622649"/>
                    </a:moveTo>
                    <a:cubicBezTo>
                      <a:pt x="1409609" y="1622649"/>
                      <a:pt x="1392464" y="1619792"/>
                      <a:pt x="1375319" y="1615029"/>
                    </a:cubicBezTo>
                    <a:lnTo>
                      <a:pt x="110399" y="1203549"/>
                    </a:lnTo>
                    <a:cubicBezTo>
                      <a:pt x="55154" y="1185452"/>
                      <a:pt x="15149" y="1141637"/>
                      <a:pt x="3719" y="1084487"/>
                    </a:cubicBezTo>
                    <a:cubicBezTo>
                      <a:pt x="-8664" y="1028289"/>
                      <a:pt x="10386" y="971139"/>
                      <a:pt x="53249" y="932087"/>
                    </a:cubicBezTo>
                    <a:lnTo>
                      <a:pt x="1041944" y="41499"/>
                    </a:lnTo>
                    <a:lnTo>
                      <a:pt x="1043849" y="43404"/>
                    </a:lnTo>
                    <a:lnTo>
                      <a:pt x="1041944" y="41499"/>
                    </a:lnTo>
                    <a:cubicBezTo>
                      <a:pt x="1084806" y="2447"/>
                      <a:pt x="1142909" y="-9936"/>
                      <a:pt x="1198154" y="8162"/>
                    </a:cubicBezTo>
                    <a:cubicBezTo>
                      <a:pt x="1253399" y="26259"/>
                      <a:pt x="1293404" y="70074"/>
                      <a:pt x="1304834" y="127224"/>
                    </a:cubicBezTo>
                    <a:lnTo>
                      <a:pt x="1581059" y="1428339"/>
                    </a:lnTo>
                    <a:cubicBezTo>
                      <a:pt x="1593441" y="1484537"/>
                      <a:pt x="1574391" y="1541687"/>
                      <a:pt x="1531529" y="1580739"/>
                    </a:cubicBezTo>
                    <a:cubicBezTo>
                      <a:pt x="1502001" y="1608362"/>
                      <a:pt x="1463901" y="1622649"/>
                      <a:pt x="1425801" y="1622649"/>
                    </a:cubicBezTo>
                    <a:close/>
                    <a:moveTo>
                      <a:pt x="1147671" y="6257"/>
                    </a:moveTo>
                    <a:cubicBezTo>
                      <a:pt x="1110524" y="6257"/>
                      <a:pt x="1074329" y="19592"/>
                      <a:pt x="1044801" y="46262"/>
                    </a:cubicBezTo>
                    <a:lnTo>
                      <a:pt x="56106" y="936849"/>
                    </a:lnTo>
                    <a:cubicBezTo>
                      <a:pt x="14196" y="973997"/>
                      <a:pt x="-2949" y="1029242"/>
                      <a:pt x="8481" y="1083534"/>
                    </a:cubicBezTo>
                    <a:cubicBezTo>
                      <a:pt x="19911" y="1137827"/>
                      <a:pt x="58964" y="1180689"/>
                      <a:pt x="111351" y="1197834"/>
                    </a:cubicBezTo>
                    <a:lnTo>
                      <a:pt x="1376272" y="1609314"/>
                    </a:lnTo>
                    <a:cubicBezTo>
                      <a:pt x="1429611" y="1626459"/>
                      <a:pt x="1485809" y="1615029"/>
                      <a:pt x="1526766" y="1576929"/>
                    </a:cubicBezTo>
                    <a:cubicBezTo>
                      <a:pt x="1568676" y="1539782"/>
                      <a:pt x="1585822" y="1484537"/>
                      <a:pt x="1574391" y="1430244"/>
                    </a:cubicBezTo>
                    <a:lnTo>
                      <a:pt x="1298166" y="129129"/>
                    </a:lnTo>
                    <a:cubicBezTo>
                      <a:pt x="1286736" y="74837"/>
                      <a:pt x="1247684" y="31974"/>
                      <a:pt x="1195297" y="14829"/>
                    </a:cubicBezTo>
                    <a:cubicBezTo>
                      <a:pt x="1180056" y="9114"/>
                      <a:pt x="1163864" y="6257"/>
                      <a:pt x="1147671" y="6257"/>
                    </a:cubicBezTo>
                    <a:close/>
                  </a:path>
                </a:pathLst>
              </a:custGeom>
              <a:grpFill/>
              <a:ln w="9525" cap="flat">
                <a:noFill/>
                <a:prstDash val="solid"/>
                <a:miter/>
              </a:ln>
            </p:spPr>
            <p:txBody>
              <a:bodyPr rtlCol="0" anchor="ctr"/>
              <a:lstStyle/>
              <a:p>
                <a:endParaRPr lang="en-US" sz="1730"/>
              </a:p>
            </p:txBody>
          </p:sp>
          <p:sp>
            <p:nvSpPr>
              <p:cNvPr id="54" name="Freeform: Shape 53">
                <a:extLst>
                  <a:ext uri="{FF2B5EF4-FFF2-40B4-BE49-F238E27FC236}">
                    <a16:creationId xmlns:a16="http://schemas.microsoft.com/office/drawing/2014/main" id="{DED6E3EF-BEB2-400D-A55F-8F548AA8A3C2}"/>
                  </a:ext>
                </a:extLst>
              </p:cNvPr>
              <p:cNvSpPr/>
              <p:nvPr/>
            </p:nvSpPr>
            <p:spPr>
              <a:xfrm>
                <a:off x="5179859" y="2878404"/>
                <a:ext cx="1545260" cy="1640889"/>
              </a:xfrm>
              <a:custGeom>
                <a:avLst/>
                <a:gdLst>
                  <a:gd name="connsiteX0" fmla="*/ 1222210 w 1545260"/>
                  <a:gd name="connsiteY0" fmla="*/ 1640890 h 1640889"/>
                  <a:gd name="connsiteX1" fmla="*/ 1126008 w 1545260"/>
                  <a:gd name="connsiteY1" fmla="*/ 1608505 h 1640889"/>
                  <a:gd name="connsiteX2" fmla="*/ 63970 w 1545260"/>
                  <a:gd name="connsiteY2" fmla="*/ 807452 h 1640889"/>
                  <a:gd name="connsiteX3" fmla="*/ 1105 w 1545260"/>
                  <a:gd name="connsiteY3" fmla="*/ 660767 h 1640889"/>
                  <a:gd name="connsiteX4" fmla="*/ 97308 w 1545260"/>
                  <a:gd name="connsiteY4" fmla="*/ 533132 h 1640889"/>
                  <a:gd name="connsiteX5" fmla="*/ 1322223 w 1545260"/>
                  <a:gd name="connsiteY5" fmla="*/ 13067 h 1640889"/>
                  <a:gd name="connsiteX6" fmla="*/ 1481290 w 1545260"/>
                  <a:gd name="connsiteY6" fmla="*/ 32117 h 1640889"/>
                  <a:gd name="connsiteX7" fmla="*/ 1544155 w 1545260"/>
                  <a:gd name="connsiteY7" fmla="*/ 178802 h 1640889"/>
                  <a:gd name="connsiteX8" fmla="*/ 1382230 w 1545260"/>
                  <a:gd name="connsiteY8" fmla="*/ 1498967 h 1640889"/>
                  <a:gd name="connsiteX9" fmla="*/ 1286028 w 1545260"/>
                  <a:gd name="connsiteY9" fmla="*/ 1626602 h 1640889"/>
                  <a:gd name="connsiteX10" fmla="*/ 1222210 w 1545260"/>
                  <a:gd name="connsiteY10" fmla="*/ 1640890 h 1640889"/>
                  <a:gd name="connsiteX11" fmla="*/ 1323175 w 1545260"/>
                  <a:gd name="connsiteY11" fmla="*/ 15925 h 1640889"/>
                  <a:gd name="connsiteX12" fmla="*/ 1324128 w 1545260"/>
                  <a:gd name="connsiteY12" fmla="*/ 18782 h 1640889"/>
                  <a:gd name="connsiteX13" fmla="*/ 100165 w 1545260"/>
                  <a:gd name="connsiteY13" fmla="*/ 537895 h 1640889"/>
                  <a:gd name="connsiteX14" fmla="*/ 6820 w 1545260"/>
                  <a:gd name="connsiteY14" fmla="*/ 660767 h 1640889"/>
                  <a:gd name="connsiteX15" fmla="*/ 66828 w 1545260"/>
                  <a:gd name="connsiteY15" fmla="*/ 803642 h 1640889"/>
                  <a:gd name="connsiteX16" fmla="*/ 1128865 w 1545260"/>
                  <a:gd name="connsiteY16" fmla="*/ 1604695 h 1640889"/>
                  <a:gd name="connsiteX17" fmla="*/ 1282218 w 1545260"/>
                  <a:gd name="connsiteY17" fmla="*/ 1623745 h 1640889"/>
                  <a:gd name="connsiteX18" fmla="*/ 1375563 w 1545260"/>
                  <a:gd name="connsiteY18" fmla="*/ 1500872 h 1640889"/>
                  <a:gd name="connsiteX19" fmla="*/ 1537488 w 1545260"/>
                  <a:gd name="connsiteY19" fmla="*/ 180707 h 1640889"/>
                  <a:gd name="connsiteX20" fmla="*/ 1477480 w 1545260"/>
                  <a:gd name="connsiteY20" fmla="*/ 38785 h 1640889"/>
                  <a:gd name="connsiteX21" fmla="*/ 1324128 w 1545260"/>
                  <a:gd name="connsiteY21" fmla="*/ 19735 h 1640889"/>
                  <a:gd name="connsiteX22" fmla="*/ 1323175 w 1545260"/>
                  <a:gd name="connsiteY22" fmla="*/ 15925 h 164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45260" h="1640889">
                    <a:moveTo>
                      <a:pt x="1222210" y="1640890"/>
                    </a:moveTo>
                    <a:cubicBezTo>
                      <a:pt x="1187920" y="1640890"/>
                      <a:pt x="1154583" y="1629460"/>
                      <a:pt x="1126008" y="1608505"/>
                    </a:cubicBezTo>
                    <a:lnTo>
                      <a:pt x="63970" y="807452"/>
                    </a:lnTo>
                    <a:cubicBezTo>
                      <a:pt x="18250" y="772210"/>
                      <a:pt x="-5562" y="717917"/>
                      <a:pt x="1105" y="660767"/>
                    </a:cubicBezTo>
                    <a:cubicBezTo>
                      <a:pt x="7773" y="603617"/>
                      <a:pt x="43968" y="555992"/>
                      <a:pt x="97308" y="533132"/>
                    </a:cubicBezTo>
                    <a:lnTo>
                      <a:pt x="1322223" y="13067"/>
                    </a:lnTo>
                    <a:cubicBezTo>
                      <a:pt x="1375563" y="-9793"/>
                      <a:pt x="1434618" y="-2173"/>
                      <a:pt x="1481290" y="32117"/>
                    </a:cubicBezTo>
                    <a:cubicBezTo>
                      <a:pt x="1527010" y="67360"/>
                      <a:pt x="1550823" y="121652"/>
                      <a:pt x="1544155" y="178802"/>
                    </a:cubicBezTo>
                    <a:lnTo>
                      <a:pt x="1382230" y="1498967"/>
                    </a:lnTo>
                    <a:cubicBezTo>
                      <a:pt x="1375563" y="1556117"/>
                      <a:pt x="1339368" y="1603742"/>
                      <a:pt x="1286028" y="1626602"/>
                    </a:cubicBezTo>
                    <a:cubicBezTo>
                      <a:pt x="1264120" y="1636127"/>
                      <a:pt x="1243165" y="1640890"/>
                      <a:pt x="1222210" y="1640890"/>
                    </a:cubicBezTo>
                    <a:close/>
                    <a:moveTo>
                      <a:pt x="1323175" y="15925"/>
                    </a:moveTo>
                    <a:lnTo>
                      <a:pt x="1324128" y="18782"/>
                    </a:lnTo>
                    <a:lnTo>
                      <a:pt x="100165" y="537895"/>
                    </a:lnTo>
                    <a:cubicBezTo>
                      <a:pt x="48730" y="559802"/>
                      <a:pt x="14440" y="605522"/>
                      <a:pt x="6820" y="660767"/>
                    </a:cubicBezTo>
                    <a:cubicBezTo>
                      <a:pt x="153" y="716965"/>
                      <a:pt x="23013" y="769352"/>
                      <a:pt x="66828" y="803642"/>
                    </a:cubicBezTo>
                    <a:lnTo>
                      <a:pt x="1128865" y="1604695"/>
                    </a:lnTo>
                    <a:cubicBezTo>
                      <a:pt x="1173633" y="1638032"/>
                      <a:pt x="1230783" y="1645652"/>
                      <a:pt x="1282218" y="1623745"/>
                    </a:cubicBezTo>
                    <a:cubicBezTo>
                      <a:pt x="1333653" y="1601837"/>
                      <a:pt x="1367943" y="1556117"/>
                      <a:pt x="1375563" y="1500872"/>
                    </a:cubicBezTo>
                    <a:lnTo>
                      <a:pt x="1537488" y="180707"/>
                    </a:lnTo>
                    <a:cubicBezTo>
                      <a:pt x="1544155" y="125462"/>
                      <a:pt x="1521295" y="72122"/>
                      <a:pt x="1477480" y="38785"/>
                    </a:cubicBezTo>
                    <a:cubicBezTo>
                      <a:pt x="1432713" y="5447"/>
                      <a:pt x="1375563" y="-2173"/>
                      <a:pt x="1324128" y="19735"/>
                    </a:cubicBezTo>
                    <a:lnTo>
                      <a:pt x="1323175" y="15925"/>
                    </a:lnTo>
                    <a:close/>
                  </a:path>
                </a:pathLst>
              </a:custGeom>
              <a:grpFill/>
              <a:ln w="9525" cap="flat">
                <a:noFill/>
                <a:prstDash val="solid"/>
                <a:miter/>
              </a:ln>
            </p:spPr>
            <p:txBody>
              <a:bodyPr rtlCol="0" anchor="ctr"/>
              <a:lstStyle/>
              <a:p>
                <a:endParaRPr lang="en-US" sz="1730"/>
              </a:p>
            </p:txBody>
          </p:sp>
          <p:sp>
            <p:nvSpPr>
              <p:cNvPr id="55" name="Freeform: Shape 54">
                <a:extLst>
                  <a:ext uri="{FF2B5EF4-FFF2-40B4-BE49-F238E27FC236}">
                    <a16:creationId xmlns:a16="http://schemas.microsoft.com/office/drawing/2014/main" id="{4056E671-564E-4828-B12C-3873C15097FD}"/>
                  </a:ext>
                </a:extLst>
              </p:cNvPr>
              <p:cNvSpPr/>
              <p:nvPr/>
            </p:nvSpPr>
            <p:spPr>
              <a:xfrm>
                <a:off x="5208682" y="3017783"/>
                <a:ext cx="1646681" cy="1514845"/>
              </a:xfrm>
              <a:custGeom>
                <a:avLst/>
                <a:gdLst>
                  <a:gd name="connsiteX0" fmla="*/ 902875 w 1646681"/>
                  <a:gd name="connsiteY0" fmla="*/ 1514846 h 1514845"/>
                  <a:gd name="connsiteX1" fmla="*/ 770477 w 1646681"/>
                  <a:gd name="connsiteY1" fmla="*/ 1444361 h 1514845"/>
                  <a:gd name="connsiteX2" fmla="*/ 27527 w 1646681"/>
                  <a:gd name="connsiteY2" fmla="*/ 341366 h 1514845"/>
                  <a:gd name="connsiteX3" fmla="*/ 16097 w 1646681"/>
                  <a:gd name="connsiteY3" fmla="*/ 182298 h 1514845"/>
                  <a:gd name="connsiteX4" fmla="*/ 148495 w 1646681"/>
                  <a:gd name="connsiteY4" fmla="*/ 92763 h 1514845"/>
                  <a:gd name="connsiteX5" fmla="*/ 1475327 w 1646681"/>
                  <a:gd name="connsiteY5" fmla="*/ 371 h 1514845"/>
                  <a:gd name="connsiteX6" fmla="*/ 1619155 w 1646681"/>
                  <a:gd name="connsiteY6" fmla="*/ 70856 h 1514845"/>
                  <a:gd name="connsiteX7" fmla="*/ 1630585 w 1646681"/>
                  <a:gd name="connsiteY7" fmla="*/ 229923 h 1514845"/>
                  <a:gd name="connsiteX8" fmla="*/ 1047655 w 1646681"/>
                  <a:gd name="connsiteY8" fmla="*/ 1424358 h 1514845"/>
                  <a:gd name="connsiteX9" fmla="*/ 915257 w 1646681"/>
                  <a:gd name="connsiteY9" fmla="*/ 1513893 h 1514845"/>
                  <a:gd name="connsiteX10" fmla="*/ 902875 w 1646681"/>
                  <a:gd name="connsiteY10" fmla="*/ 1514846 h 1514845"/>
                  <a:gd name="connsiteX11" fmla="*/ 1475327 w 1646681"/>
                  <a:gd name="connsiteY11" fmla="*/ 2276 h 1514845"/>
                  <a:gd name="connsiteX12" fmla="*/ 1475327 w 1646681"/>
                  <a:gd name="connsiteY12" fmla="*/ 5133 h 1514845"/>
                  <a:gd name="connsiteX13" fmla="*/ 148495 w 1646681"/>
                  <a:gd name="connsiteY13" fmla="*/ 97526 h 1514845"/>
                  <a:gd name="connsiteX14" fmla="*/ 20860 w 1646681"/>
                  <a:gd name="connsiteY14" fmla="*/ 184203 h 1514845"/>
                  <a:gd name="connsiteX15" fmla="*/ 31337 w 1646681"/>
                  <a:gd name="connsiteY15" fmla="*/ 338508 h 1514845"/>
                  <a:gd name="connsiteX16" fmla="*/ 775240 w 1646681"/>
                  <a:gd name="connsiteY16" fmla="*/ 1441503 h 1514845"/>
                  <a:gd name="connsiteX17" fmla="*/ 914305 w 1646681"/>
                  <a:gd name="connsiteY17" fmla="*/ 1509131 h 1514845"/>
                  <a:gd name="connsiteX18" fmla="*/ 1041940 w 1646681"/>
                  <a:gd name="connsiteY18" fmla="*/ 1422453 h 1514845"/>
                  <a:gd name="connsiteX19" fmla="*/ 1624870 w 1646681"/>
                  <a:gd name="connsiteY19" fmla="*/ 227066 h 1514845"/>
                  <a:gd name="connsiteX20" fmla="*/ 1614392 w 1646681"/>
                  <a:gd name="connsiteY20" fmla="*/ 72761 h 1514845"/>
                  <a:gd name="connsiteX21" fmla="*/ 1475327 w 1646681"/>
                  <a:gd name="connsiteY21" fmla="*/ 5133 h 1514845"/>
                  <a:gd name="connsiteX22" fmla="*/ 1475327 w 1646681"/>
                  <a:gd name="connsiteY22" fmla="*/ 2276 h 151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46681" h="1514845">
                    <a:moveTo>
                      <a:pt x="902875" y="1514846"/>
                    </a:moveTo>
                    <a:cubicBezTo>
                      <a:pt x="849535" y="1514846"/>
                      <a:pt x="800957" y="1489128"/>
                      <a:pt x="770477" y="1444361"/>
                    </a:cubicBezTo>
                    <a:lnTo>
                      <a:pt x="27527" y="341366"/>
                    </a:lnTo>
                    <a:cubicBezTo>
                      <a:pt x="-4858" y="293741"/>
                      <a:pt x="-8668" y="233733"/>
                      <a:pt x="16097" y="182298"/>
                    </a:cubicBezTo>
                    <a:cubicBezTo>
                      <a:pt x="41815" y="129911"/>
                      <a:pt x="91345" y="96573"/>
                      <a:pt x="148495" y="92763"/>
                    </a:cubicBezTo>
                    <a:lnTo>
                      <a:pt x="1475327" y="371"/>
                    </a:lnTo>
                    <a:cubicBezTo>
                      <a:pt x="1533430" y="-3439"/>
                      <a:pt x="1586770" y="22278"/>
                      <a:pt x="1619155" y="70856"/>
                    </a:cubicBezTo>
                    <a:cubicBezTo>
                      <a:pt x="1651540" y="118481"/>
                      <a:pt x="1655350" y="178488"/>
                      <a:pt x="1630585" y="229923"/>
                    </a:cubicBezTo>
                    <a:lnTo>
                      <a:pt x="1047655" y="1424358"/>
                    </a:lnTo>
                    <a:cubicBezTo>
                      <a:pt x="1021937" y="1476746"/>
                      <a:pt x="972407" y="1510083"/>
                      <a:pt x="915257" y="1513893"/>
                    </a:cubicBezTo>
                    <a:cubicBezTo>
                      <a:pt x="910495" y="1513893"/>
                      <a:pt x="906685" y="1514846"/>
                      <a:pt x="902875" y="1514846"/>
                    </a:cubicBezTo>
                    <a:close/>
                    <a:moveTo>
                      <a:pt x="1475327" y="2276"/>
                    </a:moveTo>
                    <a:lnTo>
                      <a:pt x="1475327" y="5133"/>
                    </a:lnTo>
                    <a:lnTo>
                      <a:pt x="148495" y="97526"/>
                    </a:lnTo>
                    <a:cubicBezTo>
                      <a:pt x="93250" y="101336"/>
                      <a:pt x="45625" y="133720"/>
                      <a:pt x="20860" y="184203"/>
                    </a:cubicBezTo>
                    <a:cubicBezTo>
                      <a:pt x="-3905" y="234686"/>
                      <a:pt x="857" y="291836"/>
                      <a:pt x="31337" y="338508"/>
                    </a:cubicBezTo>
                    <a:lnTo>
                      <a:pt x="775240" y="1441503"/>
                    </a:lnTo>
                    <a:cubicBezTo>
                      <a:pt x="806672" y="1488176"/>
                      <a:pt x="858107" y="1512941"/>
                      <a:pt x="914305" y="1509131"/>
                    </a:cubicBezTo>
                    <a:cubicBezTo>
                      <a:pt x="969550" y="1505321"/>
                      <a:pt x="1018127" y="1472936"/>
                      <a:pt x="1041940" y="1422453"/>
                    </a:cubicBezTo>
                    <a:lnTo>
                      <a:pt x="1624870" y="227066"/>
                    </a:lnTo>
                    <a:cubicBezTo>
                      <a:pt x="1649635" y="176583"/>
                      <a:pt x="1644872" y="119433"/>
                      <a:pt x="1614392" y="72761"/>
                    </a:cubicBezTo>
                    <a:cubicBezTo>
                      <a:pt x="1582960" y="26088"/>
                      <a:pt x="1531525" y="1323"/>
                      <a:pt x="1475327" y="5133"/>
                    </a:cubicBezTo>
                    <a:lnTo>
                      <a:pt x="1475327" y="2276"/>
                    </a:lnTo>
                    <a:close/>
                  </a:path>
                </a:pathLst>
              </a:custGeom>
              <a:grpFill/>
              <a:ln w="9525" cap="flat">
                <a:noFill/>
                <a:prstDash val="solid"/>
                <a:miter/>
              </a:ln>
            </p:spPr>
            <p:txBody>
              <a:bodyPr rtlCol="0" anchor="ctr"/>
              <a:lstStyle/>
              <a:p>
                <a:endParaRPr lang="en-US" sz="1730"/>
              </a:p>
            </p:txBody>
          </p:sp>
          <p:sp>
            <p:nvSpPr>
              <p:cNvPr id="56" name="Freeform: Shape 55">
                <a:extLst>
                  <a:ext uri="{FF2B5EF4-FFF2-40B4-BE49-F238E27FC236}">
                    <a16:creationId xmlns:a16="http://schemas.microsoft.com/office/drawing/2014/main" id="{CE2375AC-EE5D-462B-8769-A875F92C6D3F}"/>
                  </a:ext>
                </a:extLst>
              </p:cNvPr>
              <p:cNvSpPr/>
              <p:nvPr/>
            </p:nvSpPr>
            <p:spPr>
              <a:xfrm>
                <a:off x="5329614" y="2845675"/>
                <a:ext cx="1604843" cy="1605039"/>
              </a:xfrm>
              <a:custGeom>
                <a:avLst/>
                <a:gdLst>
                  <a:gd name="connsiteX0" fmla="*/ 504765 w 1604843"/>
                  <a:gd name="connsiteY0" fmla="*/ 1605039 h 1605039"/>
                  <a:gd name="connsiteX1" fmla="*/ 462856 w 1604843"/>
                  <a:gd name="connsiteY1" fmla="*/ 1599324 h 1605039"/>
                  <a:gd name="connsiteX2" fmla="*/ 349508 w 1604843"/>
                  <a:gd name="connsiteY2" fmla="*/ 1485977 h 1605039"/>
                  <a:gd name="connsiteX3" fmla="*/ 5655 w 1604843"/>
                  <a:gd name="connsiteY3" fmla="*/ 201054 h 1605039"/>
                  <a:gd name="connsiteX4" fmla="*/ 46613 w 1604843"/>
                  <a:gd name="connsiteY4" fmla="*/ 46749 h 1605039"/>
                  <a:gd name="connsiteX5" fmla="*/ 200918 w 1604843"/>
                  <a:gd name="connsiteY5" fmla="*/ 5792 h 1605039"/>
                  <a:gd name="connsiteX6" fmla="*/ 1485841 w 1604843"/>
                  <a:gd name="connsiteY6" fmla="*/ 350597 h 1605039"/>
                  <a:gd name="connsiteX7" fmla="*/ 1599188 w 1604843"/>
                  <a:gd name="connsiteY7" fmla="*/ 463944 h 1605039"/>
                  <a:gd name="connsiteX8" fmla="*/ 1558231 w 1604843"/>
                  <a:gd name="connsiteY8" fmla="*/ 618249 h 1605039"/>
                  <a:gd name="connsiteX9" fmla="*/ 617161 w 1604843"/>
                  <a:gd name="connsiteY9" fmla="*/ 1559319 h 1605039"/>
                  <a:gd name="connsiteX10" fmla="*/ 504765 w 1604843"/>
                  <a:gd name="connsiteY10" fmla="*/ 1605039 h 1605039"/>
                  <a:gd name="connsiteX11" fmla="*/ 159008 w 1604843"/>
                  <a:gd name="connsiteY11" fmla="*/ 4839 h 1605039"/>
                  <a:gd name="connsiteX12" fmla="*/ 50423 w 1604843"/>
                  <a:gd name="connsiteY12" fmla="*/ 50559 h 1605039"/>
                  <a:gd name="connsiteX13" fmla="*/ 10418 w 1604843"/>
                  <a:gd name="connsiteY13" fmla="*/ 200102 h 1605039"/>
                  <a:gd name="connsiteX14" fmla="*/ 355223 w 1604843"/>
                  <a:gd name="connsiteY14" fmla="*/ 1485024 h 1605039"/>
                  <a:gd name="connsiteX15" fmla="*/ 464760 w 1604843"/>
                  <a:gd name="connsiteY15" fmla="*/ 1594562 h 1605039"/>
                  <a:gd name="connsiteX16" fmla="*/ 614303 w 1604843"/>
                  <a:gd name="connsiteY16" fmla="*/ 1554557 h 1605039"/>
                  <a:gd name="connsiteX17" fmla="*/ 1555373 w 1604843"/>
                  <a:gd name="connsiteY17" fmla="*/ 613487 h 1605039"/>
                  <a:gd name="connsiteX18" fmla="*/ 1595378 w 1604843"/>
                  <a:gd name="connsiteY18" fmla="*/ 463944 h 1605039"/>
                  <a:gd name="connsiteX19" fmla="*/ 1485841 w 1604843"/>
                  <a:gd name="connsiteY19" fmla="*/ 354407 h 1605039"/>
                  <a:gd name="connsiteX20" fmla="*/ 199965 w 1604843"/>
                  <a:gd name="connsiteY20" fmla="*/ 10554 h 1605039"/>
                  <a:gd name="connsiteX21" fmla="*/ 159008 w 1604843"/>
                  <a:gd name="connsiteY21" fmla="*/ 4839 h 160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04843" h="1605039">
                    <a:moveTo>
                      <a:pt x="504765" y="1605039"/>
                    </a:moveTo>
                    <a:cubicBezTo>
                      <a:pt x="490478" y="1605039"/>
                      <a:pt x="477143" y="1603134"/>
                      <a:pt x="462856" y="1599324"/>
                    </a:cubicBezTo>
                    <a:cubicBezTo>
                      <a:pt x="406658" y="1584084"/>
                      <a:pt x="364748" y="1542174"/>
                      <a:pt x="349508" y="1485977"/>
                    </a:cubicBezTo>
                    <a:lnTo>
                      <a:pt x="5655" y="201054"/>
                    </a:lnTo>
                    <a:cubicBezTo>
                      <a:pt x="-9585" y="144857"/>
                      <a:pt x="6608" y="87707"/>
                      <a:pt x="46613" y="46749"/>
                    </a:cubicBezTo>
                    <a:cubicBezTo>
                      <a:pt x="87570" y="5792"/>
                      <a:pt x="144720" y="-9448"/>
                      <a:pt x="200918" y="5792"/>
                    </a:cubicBezTo>
                    <a:lnTo>
                      <a:pt x="1485841" y="350597"/>
                    </a:lnTo>
                    <a:cubicBezTo>
                      <a:pt x="1542038" y="365837"/>
                      <a:pt x="1583948" y="407747"/>
                      <a:pt x="1599188" y="463944"/>
                    </a:cubicBezTo>
                    <a:cubicBezTo>
                      <a:pt x="1614428" y="520142"/>
                      <a:pt x="1598236" y="577292"/>
                      <a:pt x="1558231" y="618249"/>
                    </a:cubicBezTo>
                    <a:lnTo>
                      <a:pt x="617161" y="1559319"/>
                    </a:lnTo>
                    <a:cubicBezTo>
                      <a:pt x="586681" y="1588847"/>
                      <a:pt x="546675" y="1605039"/>
                      <a:pt x="504765" y="1605039"/>
                    </a:cubicBezTo>
                    <a:close/>
                    <a:moveTo>
                      <a:pt x="159008" y="4839"/>
                    </a:moveTo>
                    <a:cubicBezTo>
                      <a:pt x="119003" y="4839"/>
                      <a:pt x="79950" y="21032"/>
                      <a:pt x="50423" y="50559"/>
                    </a:cubicBezTo>
                    <a:cubicBezTo>
                      <a:pt x="11370" y="89612"/>
                      <a:pt x="-3870" y="145809"/>
                      <a:pt x="10418" y="200102"/>
                    </a:cubicBezTo>
                    <a:lnTo>
                      <a:pt x="355223" y="1485024"/>
                    </a:lnTo>
                    <a:cubicBezTo>
                      <a:pt x="369510" y="1539317"/>
                      <a:pt x="410468" y="1579322"/>
                      <a:pt x="464760" y="1594562"/>
                    </a:cubicBezTo>
                    <a:cubicBezTo>
                      <a:pt x="519053" y="1608849"/>
                      <a:pt x="574298" y="1593609"/>
                      <a:pt x="614303" y="1554557"/>
                    </a:cubicBezTo>
                    <a:lnTo>
                      <a:pt x="1555373" y="613487"/>
                    </a:lnTo>
                    <a:cubicBezTo>
                      <a:pt x="1594426" y="574434"/>
                      <a:pt x="1609666" y="518237"/>
                      <a:pt x="1595378" y="463944"/>
                    </a:cubicBezTo>
                    <a:cubicBezTo>
                      <a:pt x="1581091" y="409652"/>
                      <a:pt x="1540133" y="369647"/>
                      <a:pt x="1485841" y="354407"/>
                    </a:cubicBezTo>
                    <a:lnTo>
                      <a:pt x="199965" y="10554"/>
                    </a:lnTo>
                    <a:cubicBezTo>
                      <a:pt x="185678" y="6744"/>
                      <a:pt x="172343" y="4839"/>
                      <a:pt x="159008" y="4839"/>
                    </a:cubicBezTo>
                    <a:close/>
                  </a:path>
                </a:pathLst>
              </a:custGeom>
              <a:grpFill/>
              <a:ln w="9525" cap="flat">
                <a:noFill/>
                <a:prstDash val="solid"/>
                <a:miter/>
              </a:ln>
            </p:spPr>
            <p:txBody>
              <a:bodyPr rtlCol="0" anchor="ctr"/>
              <a:lstStyle/>
              <a:p>
                <a:endParaRPr lang="en-US" sz="1730"/>
              </a:p>
            </p:txBody>
          </p:sp>
          <p:sp>
            <p:nvSpPr>
              <p:cNvPr id="57" name="Freeform: Shape 56">
                <a:extLst>
                  <a:ext uri="{FF2B5EF4-FFF2-40B4-BE49-F238E27FC236}">
                    <a16:creationId xmlns:a16="http://schemas.microsoft.com/office/drawing/2014/main" id="{5543C42A-4AA4-4EE3-9D6A-20D705974B93}"/>
                  </a:ext>
                </a:extLst>
              </p:cNvPr>
              <p:cNvSpPr/>
              <p:nvPr/>
            </p:nvSpPr>
            <p:spPr>
              <a:xfrm>
                <a:off x="5435874" y="2634946"/>
                <a:ext cx="1515194" cy="1647175"/>
              </a:xfrm>
              <a:custGeom>
                <a:avLst/>
                <a:gdLst>
                  <a:gd name="connsiteX0" fmla="*/ 160380 w 1515194"/>
                  <a:gd name="connsiteY0" fmla="*/ 1647176 h 1647175"/>
                  <a:gd name="connsiteX1" fmla="*/ 70845 w 1515194"/>
                  <a:gd name="connsiteY1" fmla="*/ 1619553 h 1647175"/>
                  <a:gd name="connsiteX2" fmla="*/ 360 w 1515194"/>
                  <a:gd name="connsiteY2" fmla="*/ 1475726 h 1647175"/>
                  <a:gd name="connsiteX3" fmla="*/ 92752 w 1515194"/>
                  <a:gd name="connsiteY3" fmla="*/ 148893 h 1647175"/>
                  <a:gd name="connsiteX4" fmla="*/ 182287 w 1515194"/>
                  <a:gd name="connsiteY4" fmla="*/ 16496 h 1647175"/>
                  <a:gd name="connsiteX5" fmla="*/ 341355 w 1515194"/>
                  <a:gd name="connsiteY5" fmla="*/ 27926 h 1647175"/>
                  <a:gd name="connsiteX6" fmla="*/ 1444350 w 1515194"/>
                  <a:gd name="connsiteY6" fmla="*/ 771828 h 1647175"/>
                  <a:gd name="connsiteX7" fmla="*/ 1514835 w 1515194"/>
                  <a:gd name="connsiteY7" fmla="*/ 915656 h 1647175"/>
                  <a:gd name="connsiteX8" fmla="*/ 1425300 w 1515194"/>
                  <a:gd name="connsiteY8" fmla="*/ 1048053 h 1647175"/>
                  <a:gd name="connsiteX9" fmla="*/ 230865 w 1515194"/>
                  <a:gd name="connsiteY9" fmla="*/ 1630983 h 1647175"/>
                  <a:gd name="connsiteX10" fmla="*/ 160380 w 1515194"/>
                  <a:gd name="connsiteY10" fmla="*/ 1647176 h 1647175"/>
                  <a:gd name="connsiteX11" fmla="*/ 253725 w 1515194"/>
                  <a:gd name="connsiteY11" fmla="*/ 5066 h 1647175"/>
                  <a:gd name="connsiteX12" fmla="*/ 186097 w 1515194"/>
                  <a:gd name="connsiteY12" fmla="*/ 21258 h 1647175"/>
                  <a:gd name="connsiteX13" fmla="*/ 99420 w 1515194"/>
                  <a:gd name="connsiteY13" fmla="*/ 148893 h 1647175"/>
                  <a:gd name="connsiteX14" fmla="*/ 7027 w 1515194"/>
                  <a:gd name="connsiteY14" fmla="*/ 1475726 h 1647175"/>
                  <a:gd name="connsiteX15" fmla="*/ 74655 w 1515194"/>
                  <a:gd name="connsiteY15" fmla="*/ 1614791 h 1647175"/>
                  <a:gd name="connsiteX16" fmla="*/ 228960 w 1515194"/>
                  <a:gd name="connsiteY16" fmla="*/ 1625268 h 1647175"/>
                  <a:gd name="connsiteX17" fmla="*/ 1424347 w 1515194"/>
                  <a:gd name="connsiteY17" fmla="*/ 1042338 h 1647175"/>
                  <a:gd name="connsiteX18" fmla="*/ 1511025 w 1515194"/>
                  <a:gd name="connsiteY18" fmla="*/ 914703 h 1647175"/>
                  <a:gd name="connsiteX19" fmla="*/ 1443397 w 1515194"/>
                  <a:gd name="connsiteY19" fmla="*/ 775638 h 1647175"/>
                  <a:gd name="connsiteX20" fmla="*/ 340402 w 1515194"/>
                  <a:gd name="connsiteY20" fmla="*/ 31736 h 1647175"/>
                  <a:gd name="connsiteX21" fmla="*/ 253725 w 1515194"/>
                  <a:gd name="connsiteY21" fmla="*/ 5066 h 164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5194" h="1647175">
                    <a:moveTo>
                      <a:pt x="160380" y="1647176"/>
                    </a:moveTo>
                    <a:cubicBezTo>
                      <a:pt x="128947" y="1647176"/>
                      <a:pt x="98467" y="1637651"/>
                      <a:pt x="70845" y="1619553"/>
                    </a:cubicBezTo>
                    <a:cubicBezTo>
                      <a:pt x="23220" y="1587168"/>
                      <a:pt x="-3450" y="1533828"/>
                      <a:pt x="360" y="1475726"/>
                    </a:cubicBezTo>
                    <a:lnTo>
                      <a:pt x="92752" y="148893"/>
                    </a:lnTo>
                    <a:cubicBezTo>
                      <a:pt x="96562" y="90791"/>
                      <a:pt x="129900" y="41261"/>
                      <a:pt x="182287" y="16496"/>
                    </a:cubicBezTo>
                    <a:cubicBezTo>
                      <a:pt x="234675" y="-9222"/>
                      <a:pt x="293730" y="-4459"/>
                      <a:pt x="341355" y="27926"/>
                    </a:cubicBezTo>
                    <a:lnTo>
                      <a:pt x="1444350" y="771828"/>
                    </a:lnTo>
                    <a:cubicBezTo>
                      <a:pt x="1491975" y="804213"/>
                      <a:pt x="1518645" y="857553"/>
                      <a:pt x="1514835" y="915656"/>
                    </a:cubicBezTo>
                    <a:cubicBezTo>
                      <a:pt x="1511025" y="973758"/>
                      <a:pt x="1477687" y="1023288"/>
                      <a:pt x="1425300" y="1048053"/>
                    </a:cubicBezTo>
                    <a:lnTo>
                      <a:pt x="230865" y="1630983"/>
                    </a:lnTo>
                    <a:cubicBezTo>
                      <a:pt x="208005" y="1641461"/>
                      <a:pt x="184192" y="1647176"/>
                      <a:pt x="160380" y="1647176"/>
                    </a:cubicBezTo>
                    <a:close/>
                    <a:moveTo>
                      <a:pt x="253725" y="5066"/>
                    </a:moveTo>
                    <a:cubicBezTo>
                      <a:pt x="230865" y="5066"/>
                      <a:pt x="208005" y="10781"/>
                      <a:pt x="186097" y="21258"/>
                    </a:cubicBezTo>
                    <a:cubicBezTo>
                      <a:pt x="135615" y="46023"/>
                      <a:pt x="103230" y="93648"/>
                      <a:pt x="99420" y="148893"/>
                    </a:cubicBezTo>
                    <a:lnTo>
                      <a:pt x="7027" y="1475726"/>
                    </a:lnTo>
                    <a:cubicBezTo>
                      <a:pt x="3217" y="1530971"/>
                      <a:pt x="27982" y="1583358"/>
                      <a:pt x="74655" y="1614791"/>
                    </a:cubicBezTo>
                    <a:cubicBezTo>
                      <a:pt x="121327" y="1646223"/>
                      <a:pt x="178477" y="1650033"/>
                      <a:pt x="228960" y="1625268"/>
                    </a:cubicBezTo>
                    <a:lnTo>
                      <a:pt x="1424347" y="1042338"/>
                    </a:lnTo>
                    <a:cubicBezTo>
                      <a:pt x="1474830" y="1017573"/>
                      <a:pt x="1507215" y="969948"/>
                      <a:pt x="1511025" y="914703"/>
                    </a:cubicBezTo>
                    <a:cubicBezTo>
                      <a:pt x="1514835" y="859458"/>
                      <a:pt x="1490070" y="807071"/>
                      <a:pt x="1443397" y="775638"/>
                    </a:cubicBezTo>
                    <a:lnTo>
                      <a:pt x="340402" y="31736"/>
                    </a:lnTo>
                    <a:cubicBezTo>
                      <a:pt x="313732" y="14591"/>
                      <a:pt x="284205" y="5066"/>
                      <a:pt x="253725" y="5066"/>
                    </a:cubicBezTo>
                    <a:close/>
                  </a:path>
                </a:pathLst>
              </a:custGeom>
              <a:grpFill/>
              <a:ln w="9525" cap="flat">
                <a:noFill/>
                <a:prstDash val="solid"/>
                <a:miter/>
              </a:ln>
            </p:spPr>
            <p:txBody>
              <a:bodyPr rtlCol="0" anchor="ctr"/>
              <a:lstStyle/>
              <a:p>
                <a:endParaRPr lang="en-US" sz="1730"/>
              </a:p>
            </p:txBody>
          </p:sp>
          <p:sp>
            <p:nvSpPr>
              <p:cNvPr id="58" name="Freeform: Shape 57">
                <a:extLst>
                  <a:ext uri="{FF2B5EF4-FFF2-40B4-BE49-F238E27FC236}">
                    <a16:creationId xmlns:a16="http://schemas.microsoft.com/office/drawing/2014/main" id="{5A06D381-5E3A-45E2-943A-D8A9CD6DDB02}"/>
                  </a:ext>
                </a:extLst>
              </p:cNvPr>
              <p:cNvSpPr/>
              <p:nvPr/>
            </p:nvSpPr>
            <p:spPr>
              <a:xfrm>
                <a:off x="5267647" y="2501714"/>
                <a:ext cx="1640193" cy="1544187"/>
              </a:xfrm>
              <a:custGeom>
                <a:avLst/>
                <a:gdLst>
                  <a:gd name="connsiteX0" fmla="*/ 159062 w 1640193"/>
                  <a:gd name="connsiteY0" fmla="*/ 1544188 h 1544187"/>
                  <a:gd name="connsiteX1" fmla="*/ 32379 w 1640193"/>
                  <a:gd name="connsiteY1" fmla="*/ 1480370 h 1544187"/>
                  <a:gd name="connsiteX2" fmla="*/ 13329 w 1640193"/>
                  <a:gd name="connsiteY2" fmla="*/ 1321303 h 1544187"/>
                  <a:gd name="connsiteX3" fmla="*/ 532442 w 1640193"/>
                  <a:gd name="connsiteY3" fmla="*/ 97340 h 1544187"/>
                  <a:gd name="connsiteX4" fmla="*/ 660077 w 1640193"/>
                  <a:gd name="connsiteY4" fmla="*/ 1138 h 1544187"/>
                  <a:gd name="connsiteX5" fmla="*/ 806762 w 1640193"/>
                  <a:gd name="connsiteY5" fmla="*/ 64003 h 1544187"/>
                  <a:gd name="connsiteX6" fmla="*/ 1607814 w 1640193"/>
                  <a:gd name="connsiteY6" fmla="*/ 1126040 h 1544187"/>
                  <a:gd name="connsiteX7" fmla="*/ 1626864 w 1640193"/>
                  <a:gd name="connsiteY7" fmla="*/ 1285108 h 1544187"/>
                  <a:gd name="connsiteX8" fmla="*/ 1499229 w 1640193"/>
                  <a:gd name="connsiteY8" fmla="*/ 1381310 h 1544187"/>
                  <a:gd name="connsiteX9" fmla="*/ 179064 w 1640193"/>
                  <a:gd name="connsiteY9" fmla="*/ 1543235 h 1544187"/>
                  <a:gd name="connsiteX10" fmla="*/ 159062 w 1640193"/>
                  <a:gd name="connsiteY10" fmla="*/ 1544188 h 1544187"/>
                  <a:gd name="connsiteX11" fmla="*/ 680079 w 1640193"/>
                  <a:gd name="connsiteY11" fmla="*/ 4948 h 1544187"/>
                  <a:gd name="connsiteX12" fmla="*/ 661029 w 1640193"/>
                  <a:gd name="connsiteY12" fmla="*/ 5900 h 1544187"/>
                  <a:gd name="connsiteX13" fmla="*/ 538157 w 1640193"/>
                  <a:gd name="connsiteY13" fmla="*/ 99245 h 1544187"/>
                  <a:gd name="connsiteX14" fmla="*/ 18092 w 1640193"/>
                  <a:gd name="connsiteY14" fmla="*/ 1324160 h 1544187"/>
                  <a:gd name="connsiteX15" fmla="*/ 37142 w 1640193"/>
                  <a:gd name="connsiteY15" fmla="*/ 1477513 h 1544187"/>
                  <a:gd name="connsiteX16" fmla="*/ 179064 w 1640193"/>
                  <a:gd name="connsiteY16" fmla="*/ 1537520 h 1544187"/>
                  <a:gd name="connsiteX17" fmla="*/ 1499229 w 1640193"/>
                  <a:gd name="connsiteY17" fmla="*/ 1375595 h 1544187"/>
                  <a:gd name="connsiteX18" fmla="*/ 1622102 w 1640193"/>
                  <a:gd name="connsiteY18" fmla="*/ 1282250 h 1544187"/>
                  <a:gd name="connsiteX19" fmla="*/ 1603052 w 1640193"/>
                  <a:gd name="connsiteY19" fmla="*/ 1128898 h 1544187"/>
                  <a:gd name="connsiteX20" fmla="*/ 802952 w 1640193"/>
                  <a:gd name="connsiteY20" fmla="*/ 66860 h 1544187"/>
                  <a:gd name="connsiteX21" fmla="*/ 680079 w 1640193"/>
                  <a:gd name="connsiteY21" fmla="*/ 4948 h 154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0193" h="1544187">
                    <a:moveTo>
                      <a:pt x="159062" y="1544188"/>
                    </a:moveTo>
                    <a:cubicBezTo>
                      <a:pt x="109532" y="1544188"/>
                      <a:pt x="62859" y="1521328"/>
                      <a:pt x="32379" y="1480370"/>
                    </a:cubicBezTo>
                    <a:cubicBezTo>
                      <a:pt x="-2863" y="1434650"/>
                      <a:pt x="-9531" y="1374643"/>
                      <a:pt x="13329" y="1321303"/>
                    </a:cubicBezTo>
                    <a:lnTo>
                      <a:pt x="532442" y="97340"/>
                    </a:lnTo>
                    <a:cubicBezTo>
                      <a:pt x="555302" y="44000"/>
                      <a:pt x="602927" y="7805"/>
                      <a:pt x="660077" y="1138"/>
                    </a:cubicBezTo>
                    <a:cubicBezTo>
                      <a:pt x="717227" y="-5530"/>
                      <a:pt x="772472" y="17330"/>
                      <a:pt x="806762" y="64003"/>
                    </a:cubicBezTo>
                    <a:lnTo>
                      <a:pt x="1607814" y="1126040"/>
                    </a:lnTo>
                    <a:cubicBezTo>
                      <a:pt x="1643057" y="1171760"/>
                      <a:pt x="1649724" y="1231768"/>
                      <a:pt x="1626864" y="1285108"/>
                    </a:cubicBezTo>
                    <a:cubicBezTo>
                      <a:pt x="1604004" y="1338448"/>
                      <a:pt x="1556379" y="1374643"/>
                      <a:pt x="1499229" y="1381310"/>
                    </a:cubicBezTo>
                    <a:lnTo>
                      <a:pt x="179064" y="1543235"/>
                    </a:lnTo>
                    <a:cubicBezTo>
                      <a:pt x="172397" y="1544188"/>
                      <a:pt x="165729" y="1544188"/>
                      <a:pt x="159062" y="1544188"/>
                    </a:cubicBezTo>
                    <a:close/>
                    <a:moveTo>
                      <a:pt x="680079" y="4948"/>
                    </a:moveTo>
                    <a:cubicBezTo>
                      <a:pt x="673412" y="4948"/>
                      <a:pt x="666744" y="4948"/>
                      <a:pt x="661029" y="5900"/>
                    </a:cubicBezTo>
                    <a:cubicBezTo>
                      <a:pt x="605784" y="12568"/>
                      <a:pt x="559112" y="47810"/>
                      <a:pt x="538157" y="99245"/>
                    </a:cubicBezTo>
                    <a:lnTo>
                      <a:pt x="18092" y="1324160"/>
                    </a:lnTo>
                    <a:cubicBezTo>
                      <a:pt x="-3816" y="1375595"/>
                      <a:pt x="2852" y="1432745"/>
                      <a:pt x="37142" y="1477513"/>
                    </a:cubicBezTo>
                    <a:cubicBezTo>
                      <a:pt x="70479" y="1522280"/>
                      <a:pt x="123819" y="1544188"/>
                      <a:pt x="179064" y="1537520"/>
                    </a:cubicBezTo>
                    <a:lnTo>
                      <a:pt x="1499229" y="1375595"/>
                    </a:lnTo>
                    <a:cubicBezTo>
                      <a:pt x="1554474" y="1368928"/>
                      <a:pt x="1601147" y="1333685"/>
                      <a:pt x="1622102" y="1282250"/>
                    </a:cubicBezTo>
                    <a:cubicBezTo>
                      <a:pt x="1644009" y="1230815"/>
                      <a:pt x="1637342" y="1173665"/>
                      <a:pt x="1603052" y="1128898"/>
                    </a:cubicBezTo>
                    <a:lnTo>
                      <a:pt x="802952" y="66860"/>
                    </a:lnTo>
                    <a:cubicBezTo>
                      <a:pt x="773424" y="27808"/>
                      <a:pt x="728657" y="4948"/>
                      <a:pt x="680079" y="4948"/>
                    </a:cubicBezTo>
                    <a:close/>
                  </a:path>
                </a:pathLst>
              </a:custGeom>
              <a:grpFill/>
              <a:ln w="9525" cap="flat">
                <a:noFill/>
                <a:prstDash val="solid"/>
                <a:miter/>
              </a:ln>
            </p:spPr>
            <p:txBody>
              <a:bodyPr rtlCol="0" anchor="ctr"/>
              <a:lstStyle/>
              <a:p>
                <a:endParaRPr lang="en-US" sz="1730"/>
              </a:p>
            </p:txBody>
          </p:sp>
          <p:sp>
            <p:nvSpPr>
              <p:cNvPr id="59" name="Freeform: Shape 58">
                <a:extLst>
                  <a:ext uri="{FF2B5EF4-FFF2-40B4-BE49-F238E27FC236}">
                    <a16:creationId xmlns:a16="http://schemas.microsoft.com/office/drawing/2014/main" id="{6A50715D-06C2-4A50-B805-7C779755D7AD}"/>
                  </a:ext>
                </a:extLst>
              </p:cNvPr>
              <p:cNvSpPr/>
              <p:nvPr/>
            </p:nvSpPr>
            <p:spPr>
              <a:xfrm>
                <a:off x="5184232" y="2459493"/>
                <a:ext cx="1623190" cy="1584503"/>
              </a:xfrm>
              <a:custGeom>
                <a:avLst/>
                <a:gdLst>
                  <a:gd name="connsiteX0" fmla="*/ 1462629 w 1623190"/>
                  <a:gd name="connsiteY0" fmla="*/ 1584504 h 1584503"/>
                  <a:gd name="connsiteX1" fmla="*/ 1428339 w 1623190"/>
                  <a:gd name="connsiteY1" fmla="*/ 1580694 h 1584503"/>
                  <a:gd name="connsiteX2" fmla="*/ 127224 w 1623190"/>
                  <a:gd name="connsiteY2" fmla="*/ 1304469 h 1584503"/>
                  <a:gd name="connsiteX3" fmla="*/ 8162 w 1623190"/>
                  <a:gd name="connsiteY3" fmla="*/ 1197789 h 1584503"/>
                  <a:gd name="connsiteX4" fmla="*/ 41499 w 1623190"/>
                  <a:gd name="connsiteY4" fmla="*/ 1041579 h 1584503"/>
                  <a:gd name="connsiteX5" fmla="*/ 932087 w 1623190"/>
                  <a:gd name="connsiteY5" fmla="*/ 52884 h 1584503"/>
                  <a:gd name="connsiteX6" fmla="*/ 1084487 w 1623190"/>
                  <a:gd name="connsiteY6" fmla="*/ 3354 h 1584503"/>
                  <a:gd name="connsiteX7" fmla="*/ 1203549 w 1623190"/>
                  <a:gd name="connsiteY7" fmla="*/ 110034 h 1584503"/>
                  <a:gd name="connsiteX8" fmla="*/ 1615029 w 1623190"/>
                  <a:gd name="connsiteY8" fmla="*/ 1374954 h 1584503"/>
                  <a:gd name="connsiteX9" fmla="*/ 1581692 w 1623190"/>
                  <a:gd name="connsiteY9" fmla="*/ 1531164 h 1584503"/>
                  <a:gd name="connsiteX10" fmla="*/ 1462629 w 1623190"/>
                  <a:gd name="connsiteY10" fmla="*/ 1584504 h 1584503"/>
                  <a:gd name="connsiteX11" fmla="*/ 1050197 w 1623190"/>
                  <a:gd name="connsiteY11" fmla="*/ 5259 h 1584503"/>
                  <a:gd name="connsiteX12" fmla="*/ 935897 w 1623190"/>
                  <a:gd name="connsiteY12" fmla="*/ 56694 h 1584503"/>
                  <a:gd name="connsiteX13" fmla="*/ 45309 w 1623190"/>
                  <a:gd name="connsiteY13" fmla="*/ 1044436 h 1584503"/>
                  <a:gd name="connsiteX14" fmla="*/ 12924 w 1623190"/>
                  <a:gd name="connsiteY14" fmla="*/ 1194931 h 1584503"/>
                  <a:gd name="connsiteX15" fmla="*/ 127224 w 1623190"/>
                  <a:gd name="connsiteY15" fmla="*/ 1297801 h 1584503"/>
                  <a:gd name="connsiteX16" fmla="*/ 1428339 w 1623190"/>
                  <a:gd name="connsiteY16" fmla="*/ 1574026 h 1584503"/>
                  <a:gd name="connsiteX17" fmla="*/ 1575024 w 1623190"/>
                  <a:gd name="connsiteY17" fmla="*/ 1526401 h 1584503"/>
                  <a:gd name="connsiteX18" fmla="*/ 1607409 w 1623190"/>
                  <a:gd name="connsiteY18" fmla="*/ 1375906 h 1584503"/>
                  <a:gd name="connsiteX19" fmla="*/ 1197834 w 1623190"/>
                  <a:gd name="connsiteY19" fmla="*/ 111939 h 1584503"/>
                  <a:gd name="connsiteX20" fmla="*/ 1083534 w 1623190"/>
                  <a:gd name="connsiteY20" fmla="*/ 9069 h 1584503"/>
                  <a:gd name="connsiteX21" fmla="*/ 1050197 w 1623190"/>
                  <a:gd name="connsiteY21" fmla="*/ 5259 h 158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23190" h="1584503">
                    <a:moveTo>
                      <a:pt x="1462629" y="1584504"/>
                    </a:moveTo>
                    <a:cubicBezTo>
                      <a:pt x="1451199" y="1584504"/>
                      <a:pt x="1439769" y="1583551"/>
                      <a:pt x="1428339" y="1580694"/>
                    </a:cubicBezTo>
                    <a:lnTo>
                      <a:pt x="127224" y="1304469"/>
                    </a:lnTo>
                    <a:cubicBezTo>
                      <a:pt x="71027" y="1292086"/>
                      <a:pt x="26259" y="1252081"/>
                      <a:pt x="8162" y="1197789"/>
                    </a:cubicBezTo>
                    <a:cubicBezTo>
                      <a:pt x="-9936" y="1142544"/>
                      <a:pt x="2447" y="1084441"/>
                      <a:pt x="41499" y="1041579"/>
                    </a:cubicBezTo>
                    <a:lnTo>
                      <a:pt x="932087" y="52884"/>
                    </a:lnTo>
                    <a:cubicBezTo>
                      <a:pt x="971139" y="10021"/>
                      <a:pt x="1027337" y="-8076"/>
                      <a:pt x="1084487" y="3354"/>
                    </a:cubicBezTo>
                    <a:cubicBezTo>
                      <a:pt x="1140684" y="15736"/>
                      <a:pt x="1185452" y="55741"/>
                      <a:pt x="1203549" y="110034"/>
                    </a:cubicBezTo>
                    <a:lnTo>
                      <a:pt x="1615029" y="1374954"/>
                    </a:lnTo>
                    <a:cubicBezTo>
                      <a:pt x="1633127" y="1430199"/>
                      <a:pt x="1620744" y="1488301"/>
                      <a:pt x="1581692" y="1531164"/>
                    </a:cubicBezTo>
                    <a:cubicBezTo>
                      <a:pt x="1549307" y="1566406"/>
                      <a:pt x="1507397" y="1584504"/>
                      <a:pt x="1462629" y="1584504"/>
                    </a:cubicBezTo>
                    <a:close/>
                    <a:moveTo>
                      <a:pt x="1050197" y="5259"/>
                    </a:moveTo>
                    <a:cubicBezTo>
                      <a:pt x="1007334" y="5259"/>
                      <a:pt x="966377" y="23356"/>
                      <a:pt x="935897" y="56694"/>
                    </a:cubicBezTo>
                    <a:lnTo>
                      <a:pt x="45309" y="1044436"/>
                    </a:lnTo>
                    <a:cubicBezTo>
                      <a:pt x="8162" y="1086346"/>
                      <a:pt x="-4221" y="1142544"/>
                      <a:pt x="12924" y="1194931"/>
                    </a:cubicBezTo>
                    <a:cubicBezTo>
                      <a:pt x="30069" y="1248271"/>
                      <a:pt x="72932" y="1286371"/>
                      <a:pt x="127224" y="1297801"/>
                    </a:cubicBezTo>
                    <a:lnTo>
                      <a:pt x="1428339" y="1574026"/>
                    </a:lnTo>
                    <a:cubicBezTo>
                      <a:pt x="1482632" y="1585456"/>
                      <a:pt x="1537877" y="1567359"/>
                      <a:pt x="1575024" y="1526401"/>
                    </a:cubicBezTo>
                    <a:cubicBezTo>
                      <a:pt x="1612172" y="1484491"/>
                      <a:pt x="1624554" y="1428294"/>
                      <a:pt x="1607409" y="1375906"/>
                    </a:cubicBezTo>
                    <a:lnTo>
                      <a:pt x="1197834" y="111939"/>
                    </a:lnTo>
                    <a:cubicBezTo>
                      <a:pt x="1180689" y="58599"/>
                      <a:pt x="1137827" y="20499"/>
                      <a:pt x="1083534" y="9069"/>
                    </a:cubicBezTo>
                    <a:cubicBezTo>
                      <a:pt x="1072104" y="6211"/>
                      <a:pt x="1060674" y="5259"/>
                      <a:pt x="1050197" y="5259"/>
                    </a:cubicBezTo>
                    <a:close/>
                  </a:path>
                </a:pathLst>
              </a:custGeom>
              <a:grpFill/>
              <a:ln w="9525" cap="flat">
                <a:noFill/>
                <a:prstDash val="solid"/>
                <a:miter/>
              </a:ln>
            </p:spPr>
            <p:txBody>
              <a:bodyPr rtlCol="0" anchor="ctr"/>
              <a:lstStyle/>
              <a:p>
                <a:endParaRPr lang="en-US" sz="1730"/>
              </a:p>
            </p:txBody>
          </p:sp>
          <p:sp>
            <p:nvSpPr>
              <p:cNvPr id="60" name="Freeform: Shape 59">
                <a:extLst>
                  <a:ext uri="{FF2B5EF4-FFF2-40B4-BE49-F238E27FC236}">
                    <a16:creationId xmlns:a16="http://schemas.microsoft.com/office/drawing/2014/main" id="{76CB3FBA-91B0-4DCE-AC92-F9A18FF4D65A}"/>
                  </a:ext>
                </a:extLst>
              </p:cNvPr>
              <p:cNvSpPr/>
              <p:nvPr/>
            </p:nvSpPr>
            <p:spPr>
              <a:xfrm>
                <a:off x="5197133" y="2512353"/>
                <a:ext cx="1483088" cy="1650706"/>
              </a:xfrm>
              <a:custGeom>
                <a:avLst/>
                <a:gdLst>
                  <a:gd name="connsiteX0" fmla="*/ 1300186 w 1483088"/>
                  <a:gd name="connsiteY0" fmla="*/ 1650706 h 1650706"/>
                  <a:gd name="connsiteX1" fmla="*/ 1218271 w 1483088"/>
                  <a:gd name="connsiteY1" fmla="*/ 1627846 h 1650706"/>
                  <a:gd name="connsiteX2" fmla="*/ 77176 w 1483088"/>
                  <a:gd name="connsiteY2" fmla="*/ 942046 h 1650706"/>
                  <a:gd name="connsiteX3" fmla="*/ 23 w 1483088"/>
                  <a:gd name="connsiteY3" fmla="*/ 802029 h 1650706"/>
                  <a:gd name="connsiteX4" fmla="*/ 81938 w 1483088"/>
                  <a:gd name="connsiteY4" fmla="*/ 664869 h 1650706"/>
                  <a:gd name="connsiteX5" fmla="*/ 1245893 w 1483088"/>
                  <a:gd name="connsiteY5" fmla="*/ 20026 h 1650706"/>
                  <a:gd name="connsiteX6" fmla="*/ 1405913 w 1483088"/>
                  <a:gd name="connsiteY6" fmla="*/ 22884 h 1650706"/>
                  <a:gd name="connsiteX7" fmla="*/ 1483066 w 1483088"/>
                  <a:gd name="connsiteY7" fmla="*/ 162901 h 1650706"/>
                  <a:gd name="connsiteX8" fmla="*/ 1460206 w 1483088"/>
                  <a:gd name="connsiteY8" fmla="*/ 1493544 h 1650706"/>
                  <a:gd name="connsiteX9" fmla="*/ 1378291 w 1483088"/>
                  <a:gd name="connsiteY9" fmla="*/ 1630704 h 1650706"/>
                  <a:gd name="connsiteX10" fmla="*/ 1300186 w 1483088"/>
                  <a:gd name="connsiteY10" fmla="*/ 1650706 h 1650706"/>
                  <a:gd name="connsiteX11" fmla="*/ 1323046 w 1483088"/>
                  <a:gd name="connsiteY11" fmla="*/ 5739 h 1650706"/>
                  <a:gd name="connsiteX12" fmla="*/ 1247798 w 1483088"/>
                  <a:gd name="connsiteY12" fmla="*/ 25741 h 1650706"/>
                  <a:gd name="connsiteX13" fmla="*/ 84796 w 1483088"/>
                  <a:gd name="connsiteY13" fmla="*/ 669631 h 1650706"/>
                  <a:gd name="connsiteX14" fmla="*/ 5738 w 1483088"/>
                  <a:gd name="connsiteY14" fmla="*/ 802029 h 1650706"/>
                  <a:gd name="connsiteX15" fmla="*/ 80033 w 1483088"/>
                  <a:gd name="connsiteY15" fmla="*/ 937284 h 1650706"/>
                  <a:gd name="connsiteX16" fmla="*/ 1220176 w 1483088"/>
                  <a:gd name="connsiteY16" fmla="*/ 1622131 h 1650706"/>
                  <a:gd name="connsiteX17" fmla="*/ 1374481 w 1483088"/>
                  <a:gd name="connsiteY17" fmla="*/ 1624989 h 1650706"/>
                  <a:gd name="connsiteX18" fmla="*/ 1453538 w 1483088"/>
                  <a:gd name="connsiteY18" fmla="*/ 1492591 h 1650706"/>
                  <a:gd name="connsiteX19" fmla="*/ 1456396 w 1483088"/>
                  <a:gd name="connsiteY19" fmla="*/ 1492591 h 1650706"/>
                  <a:gd name="connsiteX20" fmla="*/ 1453538 w 1483088"/>
                  <a:gd name="connsiteY20" fmla="*/ 1492591 h 1650706"/>
                  <a:gd name="connsiteX21" fmla="*/ 1476398 w 1483088"/>
                  <a:gd name="connsiteY21" fmla="*/ 161949 h 1650706"/>
                  <a:gd name="connsiteX22" fmla="*/ 1401151 w 1483088"/>
                  <a:gd name="connsiteY22" fmla="*/ 26694 h 1650706"/>
                  <a:gd name="connsiteX23" fmla="*/ 1323046 w 1483088"/>
                  <a:gd name="connsiteY23" fmla="*/ 5739 h 16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83088" h="1650706">
                    <a:moveTo>
                      <a:pt x="1300186" y="1650706"/>
                    </a:moveTo>
                    <a:cubicBezTo>
                      <a:pt x="1271611" y="1650706"/>
                      <a:pt x="1243036" y="1643086"/>
                      <a:pt x="1218271" y="1627846"/>
                    </a:cubicBezTo>
                    <a:lnTo>
                      <a:pt x="77176" y="942046"/>
                    </a:lnTo>
                    <a:cubicBezTo>
                      <a:pt x="27646" y="912519"/>
                      <a:pt x="-929" y="860131"/>
                      <a:pt x="23" y="802029"/>
                    </a:cubicBezTo>
                    <a:cubicBezTo>
                      <a:pt x="976" y="743926"/>
                      <a:pt x="31456" y="693444"/>
                      <a:pt x="81938" y="664869"/>
                    </a:cubicBezTo>
                    <a:lnTo>
                      <a:pt x="1245893" y="20026"/>
                    </a:lnTo>
                    <a:cubicBezTo>
                      <a:pt x="1296376" y="-7596"/>
                      <a:pt x="1356383" y="-6644"/>
                      <a:pt x="1405913" y="22884"/>
                    </a:cubicBezTo>
                    <a:cubicBezTo>
                      <a:pt x="1455443" y="52411"/>
                      <a:pt x="1484018" y="104799"/>
                      <a:pt x="1483066" y="162901"/>
                    </a:cubicBezTo>
                    <a:lnTo>
                      <a:pt x="1460206" y="1493544"/>
                    </a:lnTo>
                    <a:cubicBezTo>
                      <a:pt x="1459253" y="1551646"/>
                      <a:pt x="1428773" y="1602129"/>
                      <a:pt x="1378291" y="1630704"/>
                    </a:cubicBezTo>
                    <a:cubicBezTo>
                      <a:pt x="1353526" y="1644039"/>
                      <a:pt x="1326856" y="1650706"/>
                      <a:pt x="1300186" y="1650706"/>
                    </a:cubicBezTo>
                    <a:close/>
                    <a:moveTo>
                      <a:pt x="1323046" y="5739"/>
                    </a:moveTo>
                    <a:cubicBezTo>
                      <a:pt x="1297328" y="5739"/>
                      <a:pt x="1271611" y="12406"/>
                      <a:pt x="1247798" y="25741"/>
                    </a:cubicBezTo>
                    <a:lnTo>
                      <a:pt x="84796" y="669631"/>
                    </a:lnTo>
                    <a:cubicBezTo>
                      <a:pt x="36218" y="696301"/>
                      <a:pt x="6691" y="745831"/>
                      <a:pt x="5738" y="802029"/>
                    </a:cubicBezTo>
                    <a:cubicBezTo>
                      <a:pt x="4786" y="858226"/>
                      <a:pt x="32408" y="908709"/>
                      <a:pt x="80033" y="937284"/>
                    </a:cubicBezTo>
                    <a:lnTo>
                      <a:pt x="1220176" y="1622131"/>
                    </a:lnTo>
                    <a:cubicBezTo>
                      <a:pt x="1267801" y="1650706"/>
                      <a:pt x="1325903" y="1651659"/>
                      <a:pt x="1374481" y="1624989"/>
                    </a:cubicBezTo>
                    <a:cubicBezTo>
                      <a:pt x="1423058" y="1598319"/>
                      <a:pt x="1452586" y="1548789"/>
                      <a:pt x="1453538" y="1492591"/>
                    </a:cubicBezTo>
                    <a:lnTo>
                      <a:pt x="1456396" y="1492591"/>
                    </a:lnTo>
                    <a:lnTo>
                      <a:pt x="1453538" y="1492591"/>
                    </a:lnTo>
                    <a:lnTo>
                      <a:pt x="1476398" y="161949"/>
                    </a:lnTo>
                    <a:cubicBezTo>
                      <a:pt x="1477351" y="105751"/>
                      <a:pt x="1449728" y="55269"/>
                      <a:pt x="1401151" y="26694"/>
                    </a:cubicBezTo>
                    <a:cubicBezTo>
                      <a:pt x="1378291" y="13359"/>
                      <a:pt x="1350668" y="5739"/>
                      <a:pt x="1323046" y="5739"/>
                    </a:cubicBezTo>
                    <a:close/>
                  </a:path>
                </a:pathLst>
              </a:custGeom>
              <a:grpFill/>
              <a:ln w="9525" cap="flat">
                <a:noFill/>
                <a:prstDash val="solid"/>
                <a:miter/>
              </a:ln>
            </p:spPr>
            <p:txBody>
              <a:bodyPr rtlCol="0" anchor="ctr"/>
              <a:lstStyle/>
              <a:p>
                <a:endParaRPr lang="en-US" sz="1730"/>
              </a:p>
            </p:txBody>
          </p:sp>
          <p:sp>
            <p:nvSpPr>
              <p:cNvPr id="61" name="Freeform: Shape 60">
                <a:extLst>
                  <a:ext uri="{FF2B5EF4-FFF2-40B4-BE49-F238E27FC236}">
                    <a16:creationId xmlns:a16="http://schemas.microsoft.com/office/drawing/2014/main" id="{22045ED4-534F-4B15-8795-D2C7547978FE}"/>
                  </a:ext>
                </a:extLst>
              </p:cNvPr>
              <p:cNvSpPr/>
              <p:nvPr/>
            </p:nvSpPr>
            <p:spPr>
              <a:xfrm>
                <a:off x="5302425" y="2655449"/>
                <a:ext cx="1631597" cy="1570475"/>
              </a:xfrm>
              <a:custGeom>
                <a:avLst/>
                <a:gdLst>
                  <a:gd name="connsiteX0" fmla="*/ 1014871 w 1631597"/>
                  <a:gd name="connsiteY0" fmla="*/ 1570476 h 1570475"/>
                  <a:gd name="connsiteX1" fmla="*/ 892951 w 1631597"/>
                  <a:gd name="connsiteY1" fmla="*/ 1513326 h 1570475"/>
                  <a:gd name="connsiteX2" fmla="*/ 37606 w 1631597"/>
                  <a:gd name="connsiteY2" fmla="*/ 494151 h 1570475"/>
                  <a:gd name="connsiteX3" fmla="*/ 9984 w 1631597"/>
                  <a:gd name="connsiteY3" fmla="*/ 336988 h 1570475"/>
                  <a:gd name="connsiteX4" fmla="*/ 132856 w 1631597"/>
                  <a:gd name="connsiteY4" fmla="*/ 234118 h 1570475"/>
                  <a:gd name="connsiteX5" fmla="*/ 1443496 w 1631597"/>
                  <a:gd name="connsiteY5" fmla="*/ 2660 h 1570475"/>
                  <a:gd name="connsiteX6" fmla="*/ 1593991 w 1631597"/>
                  <a:gd name="connsiteY6" fmla="*/ 56953 h 1570475"/>
                  <a:gd name="connsiteX7" fmla="*/ 1621614 w 1631597"/>
                  <a:gd name="connsiteY7" fmla="*/ 214115 h 1570475"/>
                  <a:gd name="connsiteX8" fmla="*/ 1166319 w 1631597"/>
                  <a:gd name="connsiteY8" fmla="*/ 1464748 h 1570475"/>
                  <a:gd name="connsiteX9" fmla="*/ 1043446 w 1631597"/>
                  <a:gd name="connsiteY9" fmla="*/ 1567618 h 1570475"/>
                  <a:gd name="connsiteX10" fmla="*/ 1014871 w 1631597"/>
                  <a:gd name="connsiteY10" fmla="*/ 1570476 h 1570475"/>
                  <a:gd name="connsiteX11" fmla="*/ 1471119 w 1631597"/>
                  <a:gd name="connsiteY11" fmla="*/ 6470 h 1570475"/>
                  <a:gd name="connsiteX12" fmla="*/ 1443496 w 1631597"/>
                  <a:gd name="connsiteY12" fmla="*/ 9328 h 1570475"/>
                  <a:gd name="connsiteX13" fmla="*/ 133809 w 1631597"/>
                  <a:gd name="connsiteY13" fmla="*/ 239833 h 1570475"/>
                  <a:gd name="connsiteX14" fmla="*/ 15699 w 1631597"/>
                  <a:gd name="connsiteY14" fmla="*/ 338893 h 1570475"/>
                  <a:gd name="connsiteX15" fmla="*/ 42369 w 1631597"/>
                  <a:gd name="connsiteY15" fmla="*/ 491293 h 1570475"/>
                  <a:gd name="connsiteX16" fmla="*/ 897714 w 1631597"/>
                  <a:gd name="connsiteY16" fmla="*/ 1510468 h 1570475"/>
                  <a:gd name="connsiteX17" fmla="*/ 1042494 w 1631597"/>
                  <a:gd name="connsiteY17" fmla="*/ 1562856 h 1570475"/>
                  <a:gd name="connsiteX18" fmla="*/ 1160604 w 1631597"/>
                  <a:gd name="connsiteY18" fmla="*/ 1463796 h 1570475"/>
                  <a:gd name="connsiteX19" fmla="*/ 1163461 w 1631597"/>
                  <a:gd name="connsiteY19" fmla="*/ 1464748 h 1570475"/>
                  <a:gd name="connsiteX20" fmla="*/ 1160604 w 1631597"/>
                  <a:gd name="connsiteY20" fmla="*/ 1463796 h 1570475"/>
                  <a:gd name="connsiteX21" fmla="*/ 1615899 w 1631597"/>
                  <a:gd name="connsiteY21" fmla="*/ 213163 h 1570475"/>
                  <a:gd name="connsiteX22" fmla="*/ 1589229 w 1631597"/>
                  <a:gd name="connsiteY22" fmla="*/ 60763 h 1570475"/>
                  <a:gd name="connsiteX23" fmla="*/ 1471119 w 1631597"/>
                  <a:gd name="connsiteY23" fmla="*/ 6470 h 157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1597" h="1570475">
                    <a:moveTo>
                      <a:pt x="1014871" y="1570476"/>
                    </a:moveTo>
                    <a:cubicBezTo>
                      <a:pt x="968199" y="1570476"/>
                      <a:pt x="924384" y="1550473"/>
                      <a:pt x="892951" y="1513326"/>
                    </a:cubicBezTo>
                    <a:lnTo>
                      <a:pt x="37606" y="494151"/>
                    </a:lnTo>
                    <a:cubicBezTo>
                      <a:pt x="459" y="450336"/>
                      <a:pt x="-10019" y="391281"/>
                      <a:pt x="9984" y="336988"/>
                    </a:cubicBezTo>
                    <a:cubicBezTo>
                      <a:pt x="29986" y="282695"/>
                      <a:pt x="75706" y="244595"/>
                      <a:pt x="132856" y="234118"/>
                    </a:cubicBezTo>
                    <a:lnTo>
                      <a:pt x="1443496" y="2660"/>
                    </a:lnTo>
                    <a:cubicBezTo>
                      <a:pt x="1500646" y="-7817"/>
                      <a:pt x="1556844" y="13138"/>
                      <a:pt x="1593991" y="56953"/>
                    </a:cubicBezTo>
                    <a:cubicBezTo>
                      <a:pt x="1631139" y="100768"/>
                      <a:pt x="1641616" y="159823"/>
                      <a:pt x="1621614" y="214115"/>
                    </a:cubicBezTo>
                    <a:lnTo>
                      <a:pt x="1166319" y="1464748"/>
                    </a:lnTo>
                    <a:cubicBezTo>
                      <a:pt x="1146316" y="1519041"/>
                      <a:pt x="1100596" y="1557141"/>
                      <a:pt x="1043446" y="1567618"/>
                    </a:cubicBezTo>
                    <a:cubicBezTo>
                      <a:pt x="1033921" y="1569523"/>
                      <a:pt x="1024396" y="1570476"/>
                      <a:pt x="1014871" y="1570476"/>
                    </a:cubicBezTo>
                    <a:close/>
                    <a:moveTo>
                      <a:pt x="1471119" y="6470"/>
                    </a:moveTo>
                    <a:cubicBezTo>
                      <a:pt x="1461594" y="6470"/>
                      <a:pt x="1453021" y="7423"/>
                      <a:pt x="1443496" y="9328"/>
                    </a:cubicBezTo>
                    <a:lnTo>
                      <a:pt x="133809" y="239833"/>
                    </a:lnTo>
                    <a:cubicBezTo>
                      <a:pt x="78564" y="249358"/>
                      <a:pt x="34749" y="286506"/>
                      <a:pt x="15699" y="338893"/>
                    </a:cubicBezTo>
                    <a:cubicBezTo>
                      <a:pt x="-3351" y="391281"/>
                      <a:pt x="6174" y="448430"/>
                      <a:pt x="42369" y="491293"/>
                    </a:cubicBezTo>
                    <a:lnTo>
                      <a:pt x="897714" y="1510468"/>
                    </a:lnTo>
                    <a:cubicBezTo>
                      <a:pt x="933909" y="1553331"/>
                      <a:pt x="988201" y="1573333"/>
                      <a:pt x="1042494" y="1562856"/>
                    </a:cubicBezTo>
                    <a:cubicBezTo>
                      <a:pt x="1097739" y="1553331"/>
                      <a:pt x="1141554" y="1516183"/>
                      <a:pt x="1160604" y="1463796"/>
                    </a:cubicBezTo>
                    <a:lnTo>
                      <a:pt x="1163461" y="1464748"/>
                    </a:lnTo>
                    <a:lnTo>
                      <a:pt x="1160604" y="1463796"/>
                    </a:lnTo>
                    <a:lnTo>
                      <a:pt x="1615899" y="213163"/>
                    </a:lnTo>
                    <a:cubicBezTo>
                      <a:pt x="1634949" y="160775"/>
                      <a:pt x="1625424" y="103625"/>
                      <a:pt x="1589229" y="60763"/>
                    </a:cubicBezTo>
                    <a:cubicBezTo>
                      <a:pt x="1558749" y="25520"/>
                      <a:pt x="1515886" y="6470"/>
                      <a:pt x="1471119" y="6470"/>
                    </a:cubicBezTo>
                    <a:close/>
                  </a:path>
                </a:pathLst>
              </a:custGeom>
              <a:grpFill/>
              <a:ln w="9525" cap="flat">
                <a:noFill/>
                <a:prstDash val="solid"/>
                <a:miter/>
              </a:ln>
            </p:spPr>
            <p:txBody>
              <a:bodyPr rtlCol="0" anchor="ctr"/>
              <a:lstStyle/>
              <a:p>
                <a:endParaRPr lang="en-US" sz="1730"/>
              </a:p>
            </p:txBody>
          </p:sp>
          <p:sp>
            <p:nvSpPr>
              <p:cNvPr id="62" name="Freeform: Shape 61">
                <a:extLst>
                  <a:ext uri="{FF2B5EF4-FFF2-40B4-BE49-F238E27FC236}">
                    <a16:creationId xmlns:a16="http://schemas.microsoft.com/office/drawing/2014/main" id="{FEE68F87-0B6B-4885-866B-61423AE3724E}"/>
                  </a:ext>
                </a:extLst>
              </p:cNvPr>
              <p:cNvSpPr/>
              <p:nvPr/>
            </p:nvSpPr>
            <p:spPr>
              <a:xfrm>
                <a:off x="5490992" y="2665438"/>
                <a:ext cx="1634512" cy="1562390"/>
              </a:xfrm>
              <a:custGeom>
                <a:avLst/>
                <a:gdLst>
                  <a:gd name="connsiteX0" fmla="*/ 637710 w 1634512"/>
                  <a:gd name="connsiteY0" fmla="*/ 1562391 h 1562390"/>
                  <a:gd name="connsiteX1" fmla="*/ 611992 w 1634512"/>
                  <a:gd name="connsiteY1" fmla="*/ 1560486 h 1562390"/>
                  <a:gd name="connsiteX2" fmla="*/ 488167 w 1634512"/>
                  <a:gd name="connsiteY2" fmla="*/ 1459521 h 1562390"/>
                  <a:gd name="connsiteX3" fmla="*/ 10965 w 1634512"/>
                  <a:gd name="connsiteY3" fmla="*/ 217461 h 1562390"/>
                  <a:gd name="connsiteX4" fmla="*/ 35730 w 1634512"/>
                  <a:gd name="connsiteY4" fmla="*/ 59346 h 1562390"/>
                  <a:gd name="connsiteX5" fmla="*/ 185272 w 1634512"/>
                  <a:gd name="connsiteY5" fmla="*/ 2196 h 1562390"/>
                  <a:gd name="connsiteX6" fmla="*/ 1499723 w 1634512"/>
                  <a:gd name="connsiteY6" fmla="*/ 209841 h 1562390"/>
                  <a:gd name="connsiteX7" fmla="*/ 1623548 w 1634512"/>
                  <a:gd name="connsiteY7" fmla="*/ 310806 h 1562390"/>
                  <a:gd name="connsiteX8" fmla="*/ 1598782 w 1634512"/>
                  <a:gd name="connsiteY8" fmla="*/ 468921 h 1562390"/>
                  <a:gd name="connsiteX9" fmla="*/ 761535 w 1634512"/>
                  <a:gd name="connsiteY9" fmla="*/ 1502383 h 1562390"/>
                  <a:gd name="connsiteX10" fmla="*/ 759630 w 1634512"/>
                  <a:gd name="connsiteY10" fmla="*/ 1500478 h 1562390"/>
                  <a:gd name="connsiteX11" fmla="*/ 761535 w 1634512"/>
                  <a:gd name="connsiteY11" fmla="*/ 1502383 h 1562390"/>
                  <a:gd name="connsiteX12" fmla="*/ 637710 w 1634512"/>
                  <a:gd name="connsiteY12" fmla="*/ 1562391 h 1562390"/>
                  <a:gd name="connsiteX13" fmla="*/ 159555 w 1634512"/>
                  <a:gd name="connsiteY13" fmla="*/ 6006 h 1562390"/>
                  <a:gd name="connsiteX14" fmla="*/ 40492 w 1634512"/>
                  <a:gd name="connsiteY14" fmla="*/ 63156 h 1562390"/>
                  <a:gd name="connsiteX15" fmla="*/ 16680 w 1634512"/>
                  <a:gd name="connsiteY15" fmla="*/ 215556 h 1562390"/>
                  <a:gd name="connsiteX16" fmla="*/ 493882 w 1634512"/>
                  <a:gd name="connsiteY16" fmla="*/ 1457616 h 1562390"/>
                  <a:gd name="connsiteX17" fmla="*/ 613897 w 1634512"/>
                  <a:gd name="connsiteY17" fmla="*/ 1554771 h 1562390"/>
                  <a:gd name="connsiteX18" fmla="*/ 757725 w 1634512"/>
                  <a:gd name="connsiteY18" fmla="*/ 1499526 h 1562390"/>
                  <a:gd name="connsiteX19" fmla="*/ 1594020 w 1634512"/>
                  <a:gd name="connsiteY19" fmla="*/ 465111 h 1562390"/>
                  <a:gd name="connsiteX20" fmla="*/ 1617832 w 1634512"/>
                  <a:gd name="connsiteY20" fmla="*/ 312711 h 1562390"/>
                  <a:gd name="connsiteX21" fmla="*/ 1497817 w 1634512"/>
                  <a:gd name="connsiteY21" fmla="*/ 215556 h 1562390"/>
                  <a:gd name="connsiteX22" fmla="*/ 184320 w 1634512"/>
                  <a:gd name="connsiteY22" fmla="*/ 7911 h 1562390"/>
                  <a:gd name="connsiteX23" fmla="*/ 159555 w 1634512"/>
                  <a:gd name="connsiteY23" fmla="*/ 6006 h 156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4512" h="1562390">
                    <a:moveTo>
                      <a:pt x="637710" y="1562391"/>
                    </a:moveTo>
                    <a:cubicBezTo>
                      <a:pt x="629137" y="1562391"/>
                      <a:pt x="620565" y="1561438"/>
                      <a:pt x="611992" y="1560486"/>
                    </a:cubicBezTo>
                    <a:cubicBezTo>
                      <a:pt x="554842" y="1551913"/>
                      <a:pt x="508170" y="1513813"/>
                      <a:pt x="488167" y="1459521"/>
                    </a:cubicBezTo>
                    <a:lnTo>
                      <a:pt x="10965" y="217461"/>
                    </a:lnTo>
                    <a:cubicBezTo>
                      <a:pt x="-9990" y="163168"/>
                      <a:pt x="-465" y="104113"/>
                      <a:pt x="35730" y="59346"/>
                    </a:cubicBezTo>
                    <a:cubicBezTo>
                      <a:pt x="71925" y="14578"/>
                      <a:pt x="128122" y="-7329"/>
                      <a:pt x="185272" y="2196"/>
                    </a:cubicBezTo>
                    <a:lnTo>
                      <a:pt x="1499723" y="209841"/>
                    </a:lnTo>
                    <a:cubicBezTo>
                      <a:pt x="1556873" y="218413"/>
                      <a:pt x="1603545" y="256513"/>
                      <a:pt x="1623548" y="310806"/>
                    </a:cubicBezTo>
                    <a:cubicBezTo>
                      <a:pt x="1644502" y="365098"/>
                      <a:pt x="1634977" y="424153"/>
                      <a:pt x="1598782" y="468921"/>
                    </a:cubicBezTo>
                    <a:lnTo>
                      <a:pt x="761535" y="1502383"/>
                    </a:lnTo>
                    <a:lnTo>
                      <a:pt x="759630" y="1500478"/>
                    </a:lnTo>
                    <a:lnTo>
                      <a:pt x="761535" y="1502383"/>
                    </a:lnTo>
                    <a:cubicBezTo>
                      <a:pt x="730102" y="1541436"/>
                      <a:pt x="685335" y="1562391"/>
                      <a:pt x="637710" y="1562391"/>
                    </a:cubicBezTo>
                    <a:close/>
                    <a:moveTo>
                      <a:pt x="159555" y="6006"/>
                    </a:moveTo>
                    <a:cubicBezTo>
                      <a:pt x="113835" y="6006"/>
                      <a:pt x="70020" y="26008"/>
                      <a:pt x="40492" y="63156"/>
                    </a:cubicBezTo>
                    <a:cubicBezTo>
                      <a:pt x="5250" y="106971"/>
                      <a:pt x="-3323" y="163168"/>
                      <a:pt x="16680" y="215556"/>
                    </a:cubicBezTo>
                    <a:lnTo>
                      <a:pt x="493882" y="1457616"/>
                    </a:lnTo>
                    <a:cubicBezTo>
                      <a:pt x="513885" y="1510003"/>
                      <a:pt x="558652" y="1546198"/>
                      <a:pt x="613897" y="1554771"/>
                    </a:cubicBezTo>
                    <a:cubicBezTo>
                      <a:pt x="669142" y="1563343"/>
                      <a:pt x="722482" y="1542388"/>
                      <a:pt x="757725" y="1499526"/>
                    </a:cubicBezTo>
                    <a:lnTo>
                      <a:pt x="1594020" y="465111"/>
                    </a:lnTo>
                    <a:cubicBezTo>
                      <a:pt x="1629262" y="421296"/>
                      <a:pt x="1637835" y="365098"/>
                      <a:pt x="1617832" y="312711"/>
                    </a:cubicBezTo>
                    <a:cubicBezTo>
                      <a:pt x="1597830" y="260323"/>
                      <a:pt x="1553062" y="224128"/>
                      <a:pt x="1497817" y="215556"/>
                    </a:cubicBezTo>
                    <a:lnTo>
                      <a:pt x="184320" y="7911"/>
                    </a:lnTo>
                    <a:cubicBezTo>
                      <a:pt x="175747" y="6958"/>
                      <a:pt x="167175" y="6006"/>
                      <a:pt x="159555" y="6006"/>
                    </a:cubicBezTo>
                    <a:close/>
                  </a:path>
                </a:pathLst>
              </a:custGeom>
              <a:grpFill/>
              <a:ln w="9525" cap="flat">
                <a:noFill/>
                <a:prstDash val="solid"/>
                <a:miter/>
              </a:ln>
            </p:spPr>
            <p:txBody>
              <a:bodyPr rtlCol="0" anchor="ctr"/>
              <a:lstStyle/>
              <a:p>
                <a:endParaRPr lang="en-US" sz="1730"/>
              </a:p>
            </p:txBody>
          </p:sp>
          <p:sp>
            <p:nvSpPr>
              <p:cNvPr id="63" name="Freeform: Shape 62">
                <a:extLst>
                  <a:ext uri="{FF2B5EF4-FFF2-40B4-BE49-F238E27FC236}">
                    <a16:creationId xmlns:a16="http://schemas.microsoft.com/office/drawing/2014/main" id="{E99B4F58-0E6C-41DE-99A2-C3FCE7F11DB0}"/>
                  </a:ext>
                </a:extLst>
              </p:cNvPr>
              <p:cNvSpPr/>
              <p:nvPr/>
            </p:nvSpPr>
            <p:spPr>
              <a:xfrm>
                <a:off x="5740942" y="2518472"/>
                <a:ext cx="1494657" cy="1649348"/>
              </a:xfrm>
              <a:custGeom>
                <a:avLst/>
                <a:gdLst>
                  <a:gd name="connsiteX0" fmla="*/ 206785 w 1494657"/>
                  <a:gd name="connsiteY0" fmla="*/ 1649349 h 1649348"/>
                  <a:gd name="connsiteX1" fmla="*/ 131537 w 1494657"/>
                  <a:gd name="connsiteY1" fmla="*/ 1630299 h 1649348"/>
                  <a:gd name="connsiteX2" fmla="*/ 46765 w 1494657"/>
                  <a:gd name="connsiteY2" fmla="*/ 1495044 h 1649348"/>
                  <a:gd name="connsiteX3" fmla="*/ 92 w 1494657"/>
                  <a:gd name="connsiteY3" fmla="*/ 165354 h 1649348"/>
                  <a:gd name="connsiteX4" fmla="*/ 75340 w 1494657"/>
                  <a:gd name="connsiteY4" fmla="*/ 24384 h 1649348"/>
                  <a:gd name="connsiteX5" fmla="*/ 235360 w 1494657"/>
                  <a:gd name="connsiteY5" fmla="*/ 18669 h 1649348"/>
                  <a:gd name="connsiteX6" fmla="*/ 1409792 w 1494657"/>
                  <a:gd name="connsiteY6" fmla="*/ 643509 h 1649348"/>
                  <a:gd name="connsiteX7" fmla="*/ 1494565 w 1494657"/>
                  <a:gd name="connsiteY7" fmla="*/ 778764 h 1649348"/>
                  <a:gd name="connsiteX8" fmla="*/ 1419317 w 1494657"/>
                  <a:gd name="connsiteY8" fmla="*/ 919734 h 1649348"/>
                  <a:gd name="connsiteX9" fmla="*/ 291557 w 1494657"/>
                  <a:gd name="connsiteY9" fmla="*/ 1624584 h 1649348"/>
                  <a:gd name="connsiteX10" fmla="*/ 206785 w 1494657"/>
                  <a:gd name="connsiteY10" fmla="*/ 1649349 h 1649348"/>
                  <a:gd name="connsiteX11" fmla="*/ 160112 w 1494657"/>
                  <a:gd name="connsiteY11" fmla="*/ 4381 h 1649348"/>
                  <a:gd name="connsiteX12" fmla="*/ 78197 w 1494657"/>
                  <a:gd name="connsiteY12" fmla="*/ 28194 h 1649348"/>
                  <a:gd name="connsiteX13" fmla="*/ 5807 w 1494657"/>
                  <a:gd name="connsiteY13" fmla="*/ 164402 h 1649348"/>
                  <a:gd name="connsiteX14" fmla="*/ 52480 w 1494657"/>
                  <a:gd name="connsiteY14" fmla="*/ 1494092 h 1649348"/>
                  <a:gd name="connsiteX15" fmla="*/ 134395 w 1494657"/>
                  <a:gd name="connsiteY15" fmla="*/ 1624584 h 1649348"/>
                  <a:gd name="connsiteX16" fmla="*/ 288700 w 1494657"/>
                  <a:gd name="connsiteY16" fmla="*/ 1618869 h 1649348"/>
                  <a:gd name="connsiteX17" fmla="*/ 290605 w 1494657"/>
                  <a:gd name="connsiteY17" fmla="*/ 1620774 h 1649348"/>
                  <a:gd name="connsiteX18" fmla="*/ 288700 w 1494657"/>
                  <a:gd name="connsiteY18" fmla="*/ 1618869 h 1649348"/>
                  <a:gd name="connsiteX19" fmla="*/ 1416460 w 1494657"/>
                  <a:gd name="connsiteY19" fmla="*/ 914019 h 1649348"/>
                  <a:gd name="connsiteX20" fmla="*/ 1488850 w 1494657"/>
                  <a:gd name="connsiteY20" fmla="*/ 777812 h 1649348"/>
                  <a:gd name="connsiteX21" fmla="*/ 1406935 w 1494657"/>
                  <a:gd name="connsiteY21" fmla="*/ 647319 h 1649348"/>
                  <a:gd name="connsiteX22" fmla="*/ 232502 w 1494657"/>
                  <a:gd name="connsiteY22" fmla="*/ 23431 h 1649348"/>
                  <a:gd name="connsiteX23" fmla="*/ 160112 w 1494657"/>
                  <a:gd name="connsiteY23" fmla="*/ 4381 h 164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94657" h="1649348">
                    <a:moveTo>
                      <a:pt x="206785" y="1649349"/>
                    </a:moveTo>
                    <a:cubicBezTo>
                      <a:pt x="181067" y="1649349"/>
                      <a:pt x="155350" y="1642682"/>
                      <a:pt x="131537" y="1630299"/>
                    </a:cubicBezTo>
                    <a:cubicBezTo>
                      <a:pt x="80102" y="1603629"/>
                      <a:pt x="48670" y="1552194"/>
                      <a:pt x="46765" y="1495044"/>
                    </a:cubicBezTo>
                    <a:lnTo>
                      <a:pt x="92" y="165354"/>
                    </a:lnTo>
                    <a:cubicBezTo>
                      <a:pt x="-1813" y="107252"/>
                      <a:pt x="25810" y="54864"/>
                      <a:pt x="75340" y="24384"/>
                    </a:cubicBezTo>
                    <a:cubicBezTo>
                      <a:pt x="123917" y="-6096"/>
                      <a:pt x="183925" y="-8001"/>
                      <a:pt x="235360" y="18669"/>
                    </a:cubicBezTo>
                    <a:lnTo>
                      <a:pt x="1409792" y="643509"/>
                    </a:lnTo>
                    <a:cubicBezTo>
                      <a:pt x="1461228" y="670179"/>
                      <a:pt x="1492660" y="721614"/>
                      <a:pt x="1494565" y="778764"/>
                    </a:cubicBezTo>
                    <a:cubicBezTo>
                      <a:pt x="1496470" y="836867"/>
                      <a:pt x="1468848" y="889254"/>
                      <a:pt x="1419317" y="919734"/>
                    </a:cubicBezTo>
                    <a:lnTo>
                      <a:pt x="291557" y="1624584"/>
                    </a:lnTo>
                    <a:cubicBezTo>
                      <a:pt x="264887" y="1640777"/>
                      <a:pt x="236312" y="1649349"/>
                      <a:pt x="206785" y="1649349"/>
                    </a:cubicBezTo>
                    <a:close/>
                    <a:moveTo>
                      <a:pt x="160112" y="4381"/>
                    </a:moveTo>
                    <a:cubicBezTo>
                      <a:pt x="131537" y="4381"/>
                      <a:pt x="103915" y="12002"/>
                      <a:pt x="78197" y="28194"/>
                    </a:cubicBezTo>
                    <a:cubicBezTo>
                      <a:pt x="30572" y="57722"/>
                      <a:pt x="3902" y="109157"/>
                      <a:pt x="5807" y="164402"/>
                    </a:cubicBezTo>
                    <a:lnTo>
                      <a:pt x="52480" y="1494092"/>
                    </a:lnTo>
                    <a:cubicBezTo>
                      <a:pt x="54385" y="1550289"/>
                      <a:pt x="84865" y="1598867"/>
                      <a:pt x="134395" y="1624584"/>
                    </a:cubicBezTo>
                    <a:cubicBezTo>
                      <a:pt x="183925" y="1651254"/>
                      <a:pt x="241075" y="1648397"/>
                      <a:pt x="288700" y="1618869"/>
                    </a:cubicBezTo>
                    <a:lnTo>
                      <a:pt x="290605" y="1620774"/>
                    </a:lnTo>
                    <a:lnTo>
                      <a:pt x="288700" y="1618869"/>
                    </a:lnTo>
                    <a:lnTo>
                      <a:pt x="1416460" y="914019"/>
                    </a:lnTo>
                    <a:cubicBezTo>
                      <a:pt x="1464085" y="884492"/>
                      <a:pt x="1490755" y="833057"/>
                      <a:pt x="1488850" y="777812"/>
                    </a:cubicBezTo>
                    <a:cubicBezTo>
                      <a:pt x="1486945" y="721614"/>
                      <a:pt x="1456465" y="673037"/>
                      <a:pt x="1406935" y="647319"/>
                    </a:cubicBezTo>
                    <a:lnTo>
                      <a:pt x="232502" y="23431"/>
                    </a:lnTo>
                    <a:cubicBezTo>
                      <a:pt x="209642" y="11049"/>
                      <a:pt x="184877" y="4381"/>
                      <a:pt x="160112" y="4381"/>
                    </a:cubicBezTo>
                    <a:close/>
                  </a:path>
                </a:pathLst>
              </a:custGeom>
              <a:grpFill/>
              <a:ln w="9525" cap="flat">
                <a:noFill/>
                <a:prstDash val="solid"/>
                <a:miter/>
              </a:ln>
            </p:spPr>
            <p:txBody>
              <a:bodyPr rtlCol="0" anchor="ctr"/>
              <a:lstStyle/>
              <a:p>
                <a:endParaRPr lang="en-US" sz="1730"/>
              </a:p>
            </p:txBody>
          </p:sp>
          <p:sp>
            <p:nvSpPr>
              <p:cNvPr id="64" name="Freeform: Shape 63">
                <a:extLst>
                  <a:ext uri="{FF2B5EF4-FFF2-40B4-BE49-F238E27FC236}">
                    <a16:creationId xmlns:a16="http://schemas.microsoft.com/office/drawing/2014/main" id="{98213603-4044-4EDC-B3E0-CE20E3EE9BC2}"/>
                  </a:ext>
                </a:extLst>
              </p:cNvPr>
              <p:cNvSpPr/>
              <p:nvPr/>
            </p:nvSpPr>
            <p:spPr>
              <a:xfrm>
                <a:off x="5636186" y="2459480"/>
                <a:ext cx="1616538" cy="1592136"/>
              </a:xfrm>
              <a:custGeom>
                <a:avLst/>
                <a:gdLst>
                  <a:gd name="connsiteX0" fmla="*/ 159141 w 1616538"/>
                  <a:gd name="connsiteY0" fmla="*/ 1592136 h 1592136"/>
                  <a:gd name="connsiteX1" fmla="*/ 42936 w 1616538"/>
                  <a:gd name="connsiteY1" fmla="*/ 1541654 h 1592136"/>
                  <a:gd name="connsiteX2" fmla="*/ 6741 w 1616538"/>
                  <a:gd name="connsiteY2" fmla="*/ 1385444 h 1592136"/>
                  <a:gd name="connsiteX3" fmla="*/ 396313 w 1616538"/>
                  <a:gd name="connsiteY3" fmla="*/ 112904 h 1592136"/>
                  <a:gd name="connsiteX4" fmla="*/ 513471 w 1616538"/>
                  <a:gd name="connsiteY4" fmla="*/ 4319 h 1592136"/>
                  <a:gd name="connsiteX5" fmla="*/ 665871 w 1616538"/>
                  <a:gd name="connsiteY5" fmla="*/ 50991 h 1592136"/>
                  <a:gd name="connsiteX6" fmla="*/ 1573603 w 1616538"/>
                  <a:gd name="connsiteY6" fmla="*/ 1024446 h 1592136"/>
                  <a:gd name="connsiteX7" fmla="*/ 1609798 w 1616538"/>
                  <a:gd name="connsiteY7" fmla="*/ 1180656 h 1592136"/>
                  <a:gd name="connsiteX8" fmla="*/ 1492641 w 1616538"/>
                  <a:gd name="connsiteY8" fmla="*/ 1289241 h 1592136"/>
                  <a:gd name="connsiteX9" fmla="*/ 196288 w 1616538"/>
                  <a:gd name="connsiteY9" fmla="*/ 1588326 h 1592136"/>
                  <a:gd name="connsiteX10" fmla="*/ 195336 w 1616538"/>
                  <a:gd name="connsiteY10" fmla="*/ 1585469 h 1592136"/>
                  <a:gd name="connsiteX11" fmla="*/ 196288 w 1616538"/>
                  <a:gd name="connsiteY11" fmla="*/ 1588326 h 1592136"/>
                  <a:gd name="connsiteX12" fmla="*/ 159141 w 1616538"/>
                  <a:gd name="connsiteY12" fmla="*/ 1592136 h 1592136"/>
                  <a:gd name="connsiteX13" fmla="*/ 549666 w 1616538"/>
                  <a:gd name="connsiteY13" fmla="*/ 5271 h 1592136"/>
                  <a:gd name="connsiteX14" fmla="*/ 514423 w 1616538"/>
                  <a:gd name="connsiteY14" fmla="*/ 9081 h 1592136"/>
                  <a:gd name="connsiteX15" fmla="*/ 401076 w 1616538"/>
                  <a:gd name="connsiteY15" fmla="*/ 114809 h 1592136"/>
                  <a:gd name="connsiteX16" fmla="*/ 12456 w 1616538"/>
                  <a:gd name="connsiteY16" fmla="*/ 1387349 h 1592136"/>
                  <a:gd name="connsiteX17" fmla="*/ 46746 w 1616538"/>
                  <a:gd name="connsiteY17" fmla="*/ 1537844 h 1592136"/>
                  <a:gd name="connsiteX18" fmla="*/ 194383 w 1616538"/>
                  <a:gd name="connsiteY18" fmla="*/ 1582611 h 1592136"/>
                  <a:gd name="connsiteX19" fmla="*/ 1490736 w 1616538"/>
                  <a:gd name="connsiteY19" fmla="*/ 1283526 h 1592136"/>
                  <a:gd name="connsiteX20" fmla="*/ 1604083 w 1616538"/>
                  <a:gd name="connsiteY20" fmla="*/ 1177799 h 1592136"/>
                  <a:gd name="connsiteX21" fmla="*/ 1569793 w 1616538"/>
                  <a:gd name="connsiteY21" fmla="*/ 1027304 h 1592136"/>
                  <a:gd name="connsiteX22" fmla="*/ 662061 w 1616538"/>
                  <a:gd name="connsiteY22" fmla="*/ 54801 h 1592136"/>
                  <a:gd name="connsiteX23" fmla="*/ 549666 w 1616538"/>
                  <a:gd name="connsiteY23" fmla="*/ 5271 h 159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16538" h="1592136">
                    <a:moveTo>
                      <a:pt x="159141" y="1592136"/>
                    </a:moveTo>
                    <a:cubicBezTo>
                      <a:pt x="115326" y="1592136"/>
                      <a:pt x="73416" y="1574039"/>
                      <a:pt x="42936" y="1541654"/>
                    </a:cubicBezTo>
                    <a:cubicBezTo>
                      <a:pt x="3883" y="1499744"/>
                      <a:pt x="-9452" y="1441641"/>
                      <a:pt x="6741" y="1385444"/>
                    </a:cubicBezTo>
                    <a:lnTo>
                      <a:pt x="396313" y="112904"/>
                    </a:lnTo>
                    <a:cubicBezTo>
                      <a:pt x="413458" y="57659"/>
                      <a:pt x="457273" y="16701"/>
                      <a:pt x="513471" y="4319"/>
                    </a:cubicBezTo>
                    <a:cubicBezTo>
                      <a:pt x="569668" y="-9016"/>
                      <a:pt x="626818" y="9081"/>
                      <a:pt x="665871" y="50991"/>
                    </a:cubicBezTo>
                    <a:lnTo>
                      <a:pt x="1573603" y="1024446"/>
                    </a:lnTo>
                    <a:cubicBezTo>
                      <a:pt x="1612656" y="1066356"/>
                      <a:pt x="1625991" y="1124459"/>
                      <a:pt x="1609798" y="1180656"/>
                    </a:cubicBezTo>
                    <a:cubicBezTo>
                      <a:pt x="1592653" y="1235901"/>
                      <a:pt x="1548838" y="1276859"/>
                      <a:pt x="1492641" y="1289241"/>
                    </a:cubicBezTo>
                    <a:lnTo>
                      <a:pt x="196288" y="1588326"/>
                    </a:lnTo>
                    <a:lnTo>
                      <a:pt x="195336" y="1585469"/>
                    </a:lnTo>
                    <a:lnTo>
                      <a:pt x="196288" y="1588326"/>
                    </a:lnTo>
                    <a:cubicBezTo>
                      <a:pt x="183905" y="1591184"/>
                      <a:pt x="171523" y="1592136"/>
                      <a:pt x="159141" y="1592136"/>
                    </a:cubicBezTo>
                    <a:close/>
                    <a:moveTo>
                      <a:pt x="549666" y="5271"/>
                    </a:moveTo>
                    <a:cubicBezTo>
                      <a:pt x="538236" y="5271"/>
                      <a:pt x="525853" y="6224"/>
                      <a:pt x="514423" y="9081"/>
                    </a:cubicBezTo>
                    <a:cubicBezTo>
                      <a:pt x="460131" y="21464"/>
                      <a:pt x="418221" y="60516"/>
                      <a:pt x="401076" y="114809"/>
                    </a:cubicBezTo>
                    <a:lnTo>
                      <a:pt x="12456" y="1387349"/>
                    </a:lnTo>
                    <a:cubicBezTo>
                      <a:pt x="-3737" y="1440689"/>
                      <a:pt x="8646" y="1496886"/>
                      <a:pt x="46746" y="1537844"/>
                    </a:cubicBezTo>
                    <a:cubicBezTo>
                      <a:pt x="84846" y="1578801"/>
                      <a:pt x="140091" y="1595946"/>
                      <a:pt x="194383" y="1582611"/>
                    </a:cubicBezTo>
                    <a:lnTo>
                      <a:pt x="1490736" y="1283526"/>
                    </a:lnTo>
                    <a:cubicBezTo>
                      <a:pt x="1545028" y="1271144"/>
                      <a:pt x="1586938" y="1232091"/>
                      <a:pt x="1604083" y="1177799"/>
                    </a:cubicBezTo>
                    <a:cubicBezTo>
                      <a:pt x="1620276" y="1124459"/>
                      <a:pt x="1606941" y="1068261"/>
                      <a:pt x="1569793" y="1027304"/>
                    </a:cubicBezTo>
                    <a:lnTo>
                      <a:pt x="662061" y="54801"/>
                    </a:lnTo>
                    <a:cubicBezTo>
                      <a:pt x="632533" y="22416"/>
                      <a:pt x="592528" y="5271"/>
                      <a:pt x="549666" y="5271"/>
                    </a:cubicBezTo>
                    <a:close/>
                  </a:path>
                </a:pathLst>
              </a:custGeom>
              <a:grpFill/>
              <a:ln w="9525" cap="flat">
                <a:noFill/>
                <a:prstDash val="solid"/>
                <a:miter/>
              </a:ln>
            </p:spPr>
            <p:txBody>
              <a:bodyPr rtlCol="0" anchor="ctr"/>
              <a:lstStyle/>
              <a:p>
                <a:endParaRPr lang="en-US" sz="1730"/>
              </a:p>
            </p:txBody>
          </p:sp>
          <p:sp>
            <p:nvSpPr>
              <p:cNvPr id="65" name="Freeform: Shape 64">
                <a:extLst>
                  <a:ext uri="{FF2B5EF4-FFF2-40B4-BE49-F238E27FC236}">
                    <a16:creationId xmlns:a16="http://schemas.microsoft.com/office/drawing/2014/main" id="{DB035EF0-F3DA-4581-9198-447F52894F88}"/>
                  </a:ext>
                </a:extLst>
              </p:cNvPr>
              <p:cNvSpPr/>
              <p:nvPr/>
            </p:nvSpPr>
            <p:spPr>
              <a:xfrm>
                <a:off x="5531644" y="2497017"/>
                <a:ext cx="1643695" cy="1534597"/>
              </a:xfrm>
              <a:custGeom>
                <a:avLst/>
                <a:gdLst>
                  <a:gd name="connsiteX0" fmla="*/ 1483835 w 1643695"/>
                  <a:gd name="connsiteY0" fmla="*/ 1534598 h 1534597"/>
                  <a:gd name="connsiteX1" fmla="*/ 1466690 w 1643695"/>
                  <a:gd name="connsiteY1" fmla="*/ 1533645 h 1534597"/>
                  <a:gd name="connsiteX2" fmla="*/ 143668 w 1643695"/>
                  <a:gd name="connsiteY2" fmla="*/ 1395532 h 1534597"/>
                  <a:gd name="connsiteX3" fmla="*/ 14128 w 1643695"/>
                  <a:gd name="connsiteY3" fmla="*/ 1301235 h 1534597"/>
                  <a:gd name="connsiteX4" fmla="*/ 31273 w 1643695"/>
                  <a:gd name="connsiteY4" fmla="*/ 1142167 h 1534597"/>
                  <a:gd name="connsiteX5" fmla="*/ 813275 w 1643695"/>
                  <a:gd name="connsiteY5" fmla="*/ 65842 h 1534597"/>
                  <a:gd name="connsiteX6" fmla="*/ 959008 w 1643695"/>
                  <a:gd name="connsiteY6" fmla="*/ 1072 h 1534597"/>
                  <a:gd name="connsiteX7" fmla="*/ 1088548 w 1643695"/>
                  <a:gd name="connsiteY7" fmla="*/ 95370 h 1534597"/>
                  <a:gd name="connsiteX8" fmla="*/ 1629568 w 1643695"/>
                  <a:gd name="connsiteY8" fmla="*/ 1310760 h 1534597"/>
                  <a:gd name="connsiteX9" fmla="*/ 1612423 w 1643695"/>
                  <a:gd name="connsiteY9" fmla="*/ 1469827 h 1534597"/>
                  <a:gd name="connsiteX10" fmla="*/ 1483835 w 1643695"/>
                  <a:gd name="connsiteY10" fmla="*/ 1534598 h 1534597"/>
                  <a:gd name="connsiteX11" fmla="*/ 940910 w 1643695"/>
                  <a:gd name="connsiteY11" fmla="*/ 5835 h 1534597"/>
                  <a:gd name="connsiteX12" fmla="*/ 816133 w 1643695"/>
                  <a:gd name="connsiteY12" fmla="*/ 69652 h 1534597"/>
                  <a:gd name="connsiteX13" fmla="*/ 34130 w 1643695"/>
                  <a:gd name="connsiteY13" fmla="*/ 1145977 h 1534597"/>
                  <a:gd name="connsiteX14" fmla="*/ 17938 w 1643695"/>
                  <a:gd name="connsiteY14" fmla="*/ 1299330 h 1534597"/>
                  <a:gd name="connsiteX15" fmla="*/ 142715 w 1643695"/>
                  <a:gd name="connsiteY15" fmla="*/ 1389817 h 1534597"/>
                  <a:gd name="connsiteX16" fmla="*/ 1465738 w 1643695"/>
                  <a:gd name="connsiteY16" fmla="*/ 1528882 h 1534597"/>
                  <a:gd name="connsiteX17" fmla="*/ 1606708 w 1643695"/>
                  <a:gd name="connsiteY17" fmla="*/ 1466017 h 1534597"/>
                  <a:gd name="connsiteX18" fmla="*/ 1622900 w 1643695"/>
                  <a:gd name="connsiteY18" fmla="*/ 1312665 h 1534597"/>
                  <a:gd name="connsiteX19" fmla="*/ 1082833 w 1643695"/>
                  <a:gd name="connsiteY19" fmla="*/ 97275 h 1534597"/>
                  <a:gd name="connsiteX20" fmla="*/ 958055 w 1643695"/>
                  <a:gd name="connsiteY20" fmla="*/ 6787 h 1534597"/>
                  <a:gd name="connsiteX21" fmla="*/ 940910 w 1643695"/>
                  <a:gd name="connsiteY21" fmla="*/ 5835 h 153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3695" h="1534597">
                    <a:moveTo>
                      <a:pt x="1483835" y="1534598"/>
                    </a:moveTo>
                    <a:cubicBezTo>
                      <a:pt x="1478120" y="1534598"/>
                      <a:pt x="1472405" y="1534598"/>
                      <a:pt x="1466690" y="1533645"/>
                    </a:cubicBezTo>
                    <a:lnTo>
                      <a:pt x="143668" y="1395532"/>
                    </a:lnTo>
                    <a:cubicBezTo>
                      <a:pt x="86518" y="1389817"/>
                      <a:pt x="37940" y="1354575"/>
                      <a:pt x="14128" y="1301235"/>
                    </a:cubicBezTo>
                    <a:cubicBezTo>
                      <a:pt x="-9685" y="1248848"/>
                      <a:pt x="-3017" y="1188840"/>
                      <a:pt x="31273" y="1142167"/>
                    </a:cubicBezTo>
                    <a:lnTo>
                      <a:pt x="813275" y="65842"/>
                    </a:lnTo>
                    <a:cubicBezTo>
                      <a:pt x="847565" y="19170"/>
                      <a:pt x="901858" y="-5595"/>
                      <a:pt x="959008" y="1072"/>
                    </a:cubicBezTo>
                    <a:cubicBezTo>
                      <a:pt x="1016158" y="6787"/>
                      <a:pt x="1064735" y="42030"/>
                      <a:pt x="1088548" y="95370"/>
                    </a:cubicBezTo>
                    <a:lnTo>
                      <a:pt x="1629568" y="1310760"/>
                    </a:lnTo>
                    <a:cubicBezTo>
                      <a:pt x="1653380" y="1363148"/>
                      <a:pt x="1646713" y="1423155"/>
                      <a:pt x="1612423" y="1469827"/>
                    </a:cubicBezTo>
                    <a:cubicBezTo>
                      <a:pt x="1581943" y="1510785"/>
                      <a:pt x="1534318" y="1534598"/>
                      <a:pt x="1483835" y="1534598"/>
                    </a:cubicBezTo>
                    <a:close/>
                    <a:moveTo>
                      <a:pt x="940910" y="5835"/>
                    </a:moveTo>
                    <a:cubicBezTo>
                      <a:pt x="891380" y="5835"/>
                      <a:pt x="845660" y="28695"/>
                      <a:pt x="816133" y="69652"/>
                    </a:cubicBezTo>
                    <a:lnTo>
                      <a:pt x="34130" y="1145977"/>
                    </a:lnTo>
                    <a:cubicBezTo>
                      <a:pt x="1745" y="1190745"/>
                      <a:pt x="-4922" y="1248848"/>
                      <a:pt x="17938" y="1299330"/>
                    </a:cubicBezTo>
                    <a:cubicBezTo>
                      <a:pt x="40798" y="1350765"/>
                      <a:pt x="87470" y="1384102"/>
                      <a:pt x="142715" y="1389817"/>
                    </a:cubicBezTo>
                    <a:lnTo>
                      <a:pt x="1465738" y="1528882"/>
                    </a:lnTo>
                    <a:cubicBezTo>
                      <a:pt x="1520983" y="1534598"/>
                      <a:pt x="1574323" y="1510785"/>
                      <a:pt x="1606708" y="1466017"/>
                    </a:cubicBezTo>
                    <a:cubicBezTo>
                      <a:pt x="1639093" y="1421250"/>
                      <a:pt x="1645760" y="1363148"/>
                      <a:pt x="1622900" y="1312665"/>
                    </a:cubicBezTo>
                    <a:lnTo>
                      <a:pt x="1082833" y="97275"/>
                    </a:lnTo>
                    <a:cubicBezTo>
                      <a:pt x="1059973" y="45840"/>
                      <a:pt x="1013300" y="12502"/>
                      <a:pt x="958055" y="6787"/>
                    </a:cubicBezTo>
                    <a:cubicBezTo>
                      <a:pt x="952340" y="5835"/>
                      <a:pt x="946625" y="5835"/>
                      <a:pt x="940910" y="5835"/>
                    </a:cubicBezTo>
                    <a:close/>
                  </a:path>
                </a:pathLst>
              </a:custGeom>
              <a:grpFill/>
              <a:ln w="9525" cap="flat">
                <a:noFill/>
                <a:prstDash val="solid"/>
                <a:miter/>
              </a:ln>
            </p:spPr>
            <p:txBody>
              <a:bodyPr rtlCol="0" anchor="ctr"/>
              <a:lstStyle/>
              <a:p>
                <a:endParaRPr lang="en-US" sz="1730"/>
              </a:p>
            </p:txBody>
          </p:sp>
          <p:sp>
            <p:nvSpPr>
              <p:cNvPr id="66" name="Freeform: Shape 65">
                <a:extLst>
                  <a:ext uri="{FF2B5EF4-FFF2-40B4-BE49-F238E27FC236}">
                    <a16:creationId xmlns:a16="http://schemas.microsoft.com/office/drawing/2014/main" id="{41AE2AF0-7DD9-443B-8718-D31F62D3CF64}"/>
                  </a:ext>
                </a:extLst>
              </p:cNvPr>
              <p:cNvSpPr/>
              <p:nvPr/>
            </p:nvSpPr>
            <p:spPr>
              <a:xfrm>
                <a:off x="5484232" y="2627034"/>
                <a:ext cx="1525159" cy="1644610"/>
              </a:xfrm>
              <a:custGeom>
                <a:avLst/>
                <a:gdLst>
                  <a:gd name="connsiteX0" fmla="*/ 1365512 w 1525159"/>
                  <a:gd name="connsiteY0" fmla="*/ 1644610 h 1644610"/>
                  <a:gd name="connsiteX1" fmla="*/ 1297885 w 1525159"/>
                  <a:gd name="connsiteY1" fmla="*/ 1629370 h 1644610"/>
                  <a:gd name="connsiteX2" fmla="*/ 92020 w 1525159"/>
                  <a:gd name="connsiteY2" fmla="*/ 1067395 h 1644610"/>
                  <a:gd name="connsiteX3" fmla="*/ 580 w 1525159"/>
                  <a:gd name="connsiteY3" fmla="*/ 936903 h 1644610"/>
                  <a:gd name="connsiteX4" fmla="*/ 68207 w 1525159"/>
                  <a:gd name="connsiteY4" fmla="*/ 792123 h 1644610"/>
                  <a:gd name="connsiteX5" fmla="*/ 1157867 w 1525159"/>
                  <a:gd name="connsiteY5" fmla="*/ 29170 h 1644610"/>
                  <a:gd name="connsiteX6" fmla="*/ 1316935 w 1525159"/>
                  <a:gd name="connsiteY6" fmla="*/ 14883 h 1644610"/>
                  <a:gd name="connsiteX7" fmla="*/ 1408375 w 1525159"/>
                  <a:gd name="connsiteY7" fmla="*/ 145375 h 1644610"/>
                  <a:gd name="connsiteX8" fmla="*/ 1524580 w 1525159"/>
                  <a:gd name="connsiteY8" fmla="*/ 1470303 h 1644610"/>
                  <a:gd name="connsiteX9" fmla="*/ 1456952 w 1525159"/>
                  <a:gd name="connsiteY9" fmla="*/ 1615083 h 1644610"/>
                  <a:gd name="connsiteX10" fmla="*/ 1365512 w 1525159"/>
                  <a:gd name="connsiteY10" fmla="*/ 1644610 h 1644610"/>
                  <a:gd name="connsiteX11" fmla="*/ 1249307 w 1525159"/>
                  <a:gd name="connsiteY11" fmla="*/ 4405 h 1644610"/>
                  <a:gd name="connsiteX12" fmla="*/ 1160725 w 1525159"/>
                  <a:gd name="connsiteY12" fmla="*/ 32980 h 1644610"/>
                  <a:gd name="connsiteX13" fmla="*/ 71065 w 1525159"/>
                  <a:gd name="connsiteY13" fmla="*/ 795933 h 1644610"/>
                  <a:gd name="connsiteX14" fmla="*/ 6295 w 1525159"/>
                  <a:gd name="connsiteY14" fmla="*/ 935950 h 1644610"/>
                  <a:gd name="connsiteX15" fmla="*/ 94877 w 1525159"/>
                  <a:gd name="connsiteY15" fmla="*/ 1062633 h 1644610"/>
                  <a:gd name="connsiteX16" fmla="*/ 1300742 w 1525159"/>
                  <a:gd name="connsiteY16" fmla="*/ 1624608 h 1644610"/>
                  <a:gd name="connsiteX17" fmla="*/ 1454095 w 1525159"/>
                  <a:gd name="connsiteY17" fmla="*/ 1611273 h 1644610"/>
                  <a:gd name="connsiteX18" fmla="*/ 1518865 w 1525159"/>
                  <a:gd name="connsiteY18" fmla="*/ 1471255 h 1644610"/>
                  <a:gd name="connsiteX19" fmla="*/ 1403612 w 1525159"/>
                  <a:gd name="connsiteY19" fmla="*/ 145375 h 1644610"/>
                  <a:gd name="connsiteX20" fmla="*/ 1315030 w 1525159"/>
                  <a:gd name="connsiteY20" fmla="*/ 18693 h 1644610"/>
                  <a:gd name="connsiteX21" fmla="*/ 1249307 w 1525159"/>
                  <a:gd name="connsiteY21" fmla="*/ 4405 h 164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25159" h="1644610">
                    <a:moveTo>
                      <a:pt x="1365512" y="1644610"/>
                    </a:moveTo>
                    <a:cubicBezTo>
                      <a:pt x="1342652" y="1644610"/>
                      <a:pt x="1319792" y="1639848"/>
                      <a:pt x="1297885" y="1629370"/>
                    </a:cubicBezTo>
                    <a:lnTo>
                      <a:pt x="92020" y="1067395"/>
                    </a:lnTo>
                    <a:cubicBezTo>
                      <a:pt x="39632" y="1042630"/>
                      <a:pt x="5342" y="994053"/>
                      <a:pt x="580" y="936903"/>
                    </a:cubicBezTo>
                    <a:cubicBezTo>
                      <a:pt x="-4183" y="879753"/>
                      <a:pt x="20582" y="825460"/>
                      <a:pt x="68207" y="792123"/>
                    </a:cubicBezTo>
                    <a:lnTo>
                      <a:pt x="1157867" y="29170"/>
                    </a:lnTo>
                    <a:cubicBezTo>
                      <a:pt x="1205492" y="-4167"/>
                      <a:pt x="1264547" y="-8930"/>
                      <a:pt x="1316935" y="14883"/>
                    </a:cubicBezTo>
                    <a:cubicBezTo>
                      <a:pt x="1369322" y="39648"/>
                      <a:pt x="1403612" y="88225"/>
                      <a:pt x="1408375" y="145375"/>
                    </a:cubicBezTo>
                    <a:lnTo>
                      <a:pt x="1524580" y="1470303"/>
                    </a:lnTo>
                    <a:cubicBezTo>
                      <a:pt x="1529342" y="1527453"/>
                      <a:pt x="1504577" y="1581745"/>
                      <a:pt x="1456952" y="1615083"/>
                    </a:cubicBezTo>
                    <a:cubicBezTo>
                      <a:pt x="1429330" y="1634133"/>
                      <a:pt x="1397897" y="1644610"/>
                      <a:pt x="1365512" y="1644610"/>
                    </a:cubicBezTo>
                    <a:close/>
                    <a:moveTo>
                      <a:pt x="1249307" y="4405"/>
                    </a:moveTo>
                    <a:cubicBezTo>
                      <a:pt x="1218827" y="4405"/>
                      <a:pt x="1187395" y="13930"/>
                      <a:pt x="1160725" y="32980"/>
                    </a:cubicBezTo>
                    <a:lnTo>
                      <a:pt x="71065" y="795933"/>
                    </a:lnTo>
                    <a:cubicBezTo>
                      <a:pt x="25345" y="828318"/>
                      <a:pt x="580" y="880705"/>
                      <a:pt x="6295" y="935950"/>
                    </a:cubicBezTo>
                    <a:cubicBezTo>
                      <a:pt x="12010" y="991195"/>
                      <a:pt x="44395" y="1038820"/>
                      <a:pt x="94877" y="1062633"/>
                    </a:cubicBezTo>
                    <a:lnTo>
                      <a:pt x="1300742" y="1624608"/>
                    </a:lnTo>
                    <a:cubicBezTo>
                      <a:pt x="1351225" y="1648420"/>
                      <a:pt x="1408375" y="1642705"/>
                      <a:pt x="1454095" y="1611273"/>
                    </a:cubicBezTo>
                    <a:cubicBezTo>
                      <a:pt x="1499815" y="1578888"/>
                      <a:pt x="1524580" y="1527453"/>
                      <a:pt x="1518865" y="1471255"/>
                    </a:cubicBezTo>
                    <a:lnTo>
                      <a:pt x="1403612" y="145375"/>
                    </a:lnTo>
                    <a:cubicBezTo>
                      <a:pt x="1398850" y="90130"/>
                      <a:pt x="1365512" y="42505"/>
                      <a:pt x="1315030" y="18693"/>
                    </a:cubicBezTo>
                    <a:cubicBezTo>
                      <a:pt x="1294075" y="9168"/>
                      <a:pt x="1271215" y="4405"/>
                      <a:pt x="1249307" y="4405"/>
                    </a:cubicBezTo>
                    <a:close/>
                  </a:path>
                </a:pathLst>
              </a:custGeom>
              <a:grpFill/>
              <a:ln w="9525" cap="flat">
                <a:noFill/>
                <a:prstDash val="solid"/>
                <a:miter/>
              </a:ln>
            </p:spPr>
            <p:txBody>
              <a:bodyPr rtlCol="0" anchor="ctr"/>
              <a:lstStyle/>
              <a:p>
                <a:endParaRPr lang="en-US" sz="1730"/>
              </a:p>
            </p:txBody>
          </p:sp>
          <p:sp>
            <p:nvSpPr>
              <p:cNvPr id="67" name="Freeform: Shape 66">
                <a:extLst>
                  <a:ext uri="{FF2B5EF4-FFF2-40B4-BE49-F238E27FC236}">
                    <a16:creationId xmlns:a16="http://schemas.microsoft.com/office/drawing/2014/main" id="{1CB79995-5784-46B8-8607-92B5827FD726}"/>
                  </a:ext>
                </a:extLst>
              </p:cNvPr>
              <p:cNvSpPr/>
              <p:nvPr/>
            </p:nvSpPr>
            <p:spPr>
              <a:xfrm>
                <a:off x="5498775" y="2833512"/>
                <a:ext cx="1599894" cy="1610534"/>
              </a:xfrm>
              <a:custGeom>
                <a:avLst/>
                <a:gdLst>
                  <a:gd name="connsiteX0" fmla="*/ 1116654 w 1599894"/>
                  <a:gd name="connsiteY0" fmla="*/ 1610535 h 1610534"/>
                  <a:gd name="connsiteX1" fmla="*/ 1006164 w 1599894"/>
                  <a:gd name="connsiteY1" fmla="*/ 1565767 h 1610534"/>
                  <a:gd name="connsiteX2" fmla="*/ 48901 w 1599894"/>
                  <a:gd name="connsiteY2" fmla="*/ 641842 h 1610534"/>
                  <a:gd name="connsiteX3" fmla="*/ 5086 w 1599894"/>
                  <a:gd name="connsiteY3" fmla="*/ 488490 h 1610534"/>
                  <a:gd name="connsiteX4" fmla="*/ 116529 w 1599894"/>
                  <a:gd name="connsiteY4" fmla="*/ 373237 h 1610534"/>
                  <a:gd name="connsiteX5" fmla="*/ 1395736 w 1599894"/>
                  <a:gd name="connsiteY5" fmla="*/ 6525 h 1610534"/>
                  <a:gd name="connsiteX6" fmla="*/ 1550994 w 1599894"/>
                  <a:gd name="connsiteY6" fmla="*/ 45577 h 1610534"/>
                  <a:gd name="connsiteX7" fmla="*/ 1594809 w 1599894"/>
                  <a:gd name="connsiteY7" fmla="*/ 198930 h 1610534"/>
                  <a:gd name="connsiteX8" fmla="*/ 1271911 w 1599894"/>
                  <a:gd name="connsiteY8" fmla="*/ 1488615 h 1610534"/>
                  <a:gd name="connsiteX9" fmla="*/ 1160469 w 1599894"/>
                  <a:gd name="connsiteY9" fmla="*/ 1603867 h 1610534"/>
                  <a:gd name="connsiteX10" fmla="*/ 1116654 w 1599894"/>
                  <a:gd name="connsiteY10" fmla="*/ 1610535 h 1610534"/>
                  <a:gd name="connsiteX11" fmla="*/ 1439551 w 1599894"/>
                  <a:gd name="connsiteY11" fmla="*/ 4620 h 1610534"/>
                  <a:gd name="connsiteX12" fmla="*/ 1396689 w 1599894"/>
                  <a:gd name="connsiteY12" fmla="*/ 10335 h 1610534"/>
                  <a:gd name="connsiteX13" fmla="*/ 117481 w 1599894"/>
                  <a:gd name="connsiteY13" fmla="*/ 378000 h 1610534"/>
                  <a:gd name="connsiteX14" fmla="*/ 9849 w 1599894"/>
                  <a:gd name="connsiteY14" fmla="*/ 489442 h 1610534"/>
                  <a:gd name="connsiteX15" fmla="*/ 52711 w 1599894"/>
                  <a:gd name="connsiteY15" fmla="*/ 638033 h 1610534"/>
                  <a:gd name="connsiteX16" fmla="*/ 1009974 w 1599894"/>
                  <a:gd name="connsiteY16" fmla="*/ 1561958 h 1610534"/>
                  <a:gd name="connsiteX17" fmla="*/ 1159516 w 1599894"/>
                  <a:gd name="connsiteY17" fmla="*/ 1599105 h 1610534"/>
                  <a:gd name="connsiteX18" fmla="*/ 1267149 w 1599894"/>
                  <a:gd name="connsiteY18" fmla="*/ 1487663 h 1610534"/>
                  <a:gd name="connsiteX19" fmla="*/ 1589094 w 1599894"/>
                  <a:gd name="connsiteY19" fmla="*/ 197025 h 1610534"/>
                  <a:gd name="connsiteX20" fmla="*/ 1546231 w 1599894"/>
                  <a:gd name="connsiteY20" fmla="*/ 48435 h 1610534"/>
                  <a:gd name="connsiteX21" fmla="*/ 1439551 w 1599894"/>
                  <a:gd name="connsiteY21" fmla="*/ 4620 h 161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894" h="1610534">
                    <a:moveTo>
                      <a:pt x="1116654" y="1610535"/>
                    </a:moveTo>
                    <a:cubicBezTo>
                      <a:pt x="1075696" y="1610535"/>
                      <a:pt x="1036644" y="1595295"/>
                      <a:pt x="1006164" y="1565767"/>
                    </a:cubicBezTo>
                    <a:lnTo>
                      <a:pt x="48901" y="641842"/>
                    </a:lnTo>
                    <a:cubicBezTo>
                      <a:pt x="6991" y="601837"/>
                      <a:pt x="-9201" y="544687"/>
                      <a:pt x="5086" y="488490"/>
                    </a:cubicBezTo>
                    <a:cubicBezTo>
                      <a:pt x="19374" y="432292"/>
                      <a:pt x="60331" y="389430"/>
                      <a:pt x="116529" y="373237"/>
                    </a:cubicBezTo>
                    <a:lnTo>
                      <a:pt x="1395736" y="6525"/>
                    </a:lnTo>
                    <a:cubicBezTo>
                      <a:pt x="1450981" y="-9668"/>
                      <a:pt x="1509084" y="4620"/>
                      <a:pt x="1550994" y="45577"/>
                    </a:cubicBezTo>
                    <a:cubicBezTo>
                      <a:pt x="1592904" y="85582"/>
                      <a:pt x="1609096" y="142732"/>
                      <a:pt x="1594809" y="198930"/>
                    </a:cubicBezTo>
                    <a:lnTo>
                      <a:pt x="1271911" y="1488615"/>
                    </a:lnTo>
                    <a:cubicBezTo>
                      <a:pt x="1257624" y="1544813"/>
                      <a:pt x="1216666" y="1587675"/>
                      <a:pt x="1160469" y="1603867"/>
                    </a:cubicBezTo>
                    <a:cubicBezTo>
                      <a:pt x="1146181" y="1607678"/>
                      <a:pt x="1130941" y="1610535"/>
                      <a:pt x="1116654" y="1610535"/>
                    </a:cubicBezTo>
                    <a:close/>
                    <a:moveTo>
                      <a:pt x="1439551" y="4620"/>
                    </a:moveTo>
                    <a:cubicBezTo>
                      <a:pt x="1425264" y="4620"/>
                      <a:pt x="1410976" y="6525"/>
                      <a:pt x="1396689" y="10335"/>
                    </a:cubicBezTo>
                    <a:lnTo>
                      <a:pt x="117481" y="378000"/>
                    </a:lnTo>
                    <a:cubicBezTo>
                      <a:pt x="64141" y="393240"/>
                      <a:pt x="24136" y="435150"/>
                      <a:pt x="9849" y="489442"/>
                    </a:cubicBezTo>
                    <a:cubicBezTo>
                      <a:pt x="-3487" y="543735"/>
                      <a:pt x="12706" y="598980"/>
                      <a:pt x="52711" y="638033"/>
                    </a:cubicBezTo>
                    <a:lnTo>
                      <a:pt x="1009974" y="1561958"/>
                    </a:lnTo>
                    <a:cubicBezTo>
                      <a:pt x="1049979" y="1601010"/>
                      <a:pt x="1106176" y="1614345"/>
                      <a:pt x="1159516" y="1599105"/>
                    </a:cubicBezTo>
                    <a:cubicBezTo>
                      <a:pt x="1212856" y="1583865"/>
                      <a:pt x="1252861" y="1541955"/>
                      <a:pt x="1267149" y="1487663"/>
                    </a:cubicBezTo>
                    <a:lnTo>
                      <a:pt x="1589094" y="197025"/>
                    </a:lnTo>
                    <a:cubicBezTo>
                      <a:pt x="1602429" y="142732"/>
                      <a:pt x="1586236" y="87487"/>
                      <a:pt x="1546231" y="48435"/>
                    </a:cubicBezTo>
                    <a:cubicBezTo>
                      <a:pt x="1516704" y="19860"/>
                      <a:pt x="1478604" y="4620"/>
                      <a:pt x="1439551" y="4620"/>
                    </a:cubicBezTo>
                    <a:close/>
                  </a:path>
                </a:pathLst>
              </a:custGeom>
              <a:grpFill/>
              <a:ln w="9525" cap="flat">
                <a:noFill/>
                <a:prstDash val="solid"/>
                <a:miter/>
              </a:ln>
            </p:spPr>
            <p:txBody>
              <a:bodyPr rtlCol="0" anchor="ctr"/>
              <a:lstStyle/>
              <a:p>
                <a:endParaRPr lang="en-US" sz="1730"/>
              </a:p>
            </p:txBody>
          </p:sp>
          <p:sp>
            <p:nvSpPr>
              <p:cNvPr id="68" name="Freeform: Shape 67">
                <a:extLst>
                  <a:ext uri="{FF2B5EF4-FFF2-40B4-BE49-F238E27FC236}">
                    <a16:creationId xmlns:a16="http://schemas.microsoft.com/office/drawing/2014/main" id="{C2CD6B3F-A5CA-4C9E-A462-6CF2EE2A5719}"/>
                  </a:ext>
                </a:extLst>
              </p:cNvPr>
              <p:cNvSpPr/>
              <p:nvPr/>
            </p:nvSpPr>
            <p:spPr>
              <a:xfrm>
                <a:off x="5574695" y="3024613"/>
                <a:ext cx="1649985" cy="1506110"/>
              </a:xfrm>
              <a:custGeom>
                <a:avLst/>
                <a:gdLst>
                  <a:gd name="connsiteX0" fmla="*/ 764509 w 1649985"/>
                  <a:gd name="connsiteY0" fmla="*/ 1506111 h 1506110"/>
                  <a:gd name="connsiteX1" fmla="*/ 755937 w 1649985"/>
                  <a:gd name="connsiteY1" fmla="*/ 1506111 h 1506110"/>
                  <a:gd name="connsiteX2" fmla="*/ 621634 w 1649985"/>
                  <a:gd name="connsiteY2" fmla="*/ 1419433 h 1506110"/>
                  <a:gd name="connsiteX3" fmla="*/ 17749 w 1649985"/>
                  <a:gd name="connsiteY3" fmla="*/ 232618 h 1506110"/>
                  <a:gd name="connsiteX4" fmla="*/ 26322 w 1649985"/>
                  <a:gd name="connsiteY4" fmla="*/ 72598 h 1506110"/>
                  <a:gd name="connsiteX5" fmla="*/ 169197 w 1649985"/>
                  <a:gd name="connsiteY5" fmla="*/ 208 h 1506110"/>
                  <a:gd name="connsiteX6" fmla="*/ 1497934 w 1649985"/>
                  <a:gd name="connsiteY6" fmla="*/ 69741 h 1506110"/>
                  <a:gd name="connsiteX7" fmla="*/ 1632237 w 1649985"/>
                  <a:gd name="connsiteY7" fmla="*/ 156418 h 1506110"/>
                  <a:gd name="connsiteX8" fmla="*/ 1623664 w 1649985"/>
                  <a:gd name="connsiteY8" fmla="*/ 316438 h 1506110"/>
                  <a:gd name="connsiteX9" fmla="*/ 898812 w 1649985"/>
                  <a:gd name="connsiteY9" fmla="*/ 1431816 h 1506110"/>
                  <a:gd name="connsiteX10" fmla="*/ 764509 w 1649985"/>
                  <a:gd name="connsiteY10" fmla="*/ 1506111 h 1506110"/>
                  <a:gd name="connsiteX11" fmla="*/ 22512 w 1649985"/>
                  <a:gd name="connsiteY11" fmla="*/ 230713 h 1506110"/>
                  <a:gd name="connsiteX12" fmla="*/ 626397 w 1649985"/>
                  <a:gd name="connsiteY12" fmla="*/ 1415623 h 1506110"/>
                  <a:gd name="connsiteX13" fmla="*/ 755937 w 1649985"/>
                  <a:gd name="connsiteY13" fmla="*/ 1499443 h 1506110"/>
                  <a:gd name="connsiteX14" fmla="*/ 893097 w 1649985"/>
                  <a:gd name="connsiteY14" fmla="*/ 1428958 h 1506110"/>
                  <a:gd name="connsiteX15" fmla="*/ 1617949 w 1649985"/>
                  <a:gd name="connsiteY15" fmla="*/ 313581 h 1506110"/>
                  <a:gd name="connsiteX16" fmla="*/ 1625569 w 1649985"/>
                  <a:gd name="connsiteY16" fmla="*/ 159276 h 1506110"/>
                  <a:gd name="connsiteX17" fmla="*/ 1496029 w 1649985"/>
                  <a:gd name="connsiteY17" fmla="*/ 75456 h 1506110"/>
                  <a:gd name="connsiteX18" fmla="*/ 168244 w 1649985"/>
                  <a:gd name="connsiteY18" fmla="*/ 5923 h 1506110"/>
                  <a:gd name="connsiteX19" fmla="*/ 31084 w 1649985"/>
                  <a:gd name="connsiteY19" fmla="*/ 76408 h 1506110"/>
                  <a:gd name="connsiteX20" fmla="*/ 22512 w 1649985"/>
                  <a:gd name="connsiteY20" fmla="*/ 230713 h 15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9985" h="1506110">
                    <a:moveTo>
                      <a:pt x="764509" y="1506111"/>
                    </a:moveTo>
                    <a:cubicBezTo>
                      <a:pt x="761652" y="1506111"/>
                      <a:pt x="758794" y="1506111"/>
                      <a:pt x="755937" y="1506111"/>
                    </a:cubicBezTo>
                    <a:cubicBezTo>
                      <a:pt x="697834" y="1503253"/>
                      <a:pt x="648304" y="1470868"/>
                      <a:pt x="621634" y="1419433"/>
                    </a:cubicBezTo>
                    <a:lnTo>
                      <a:pt x="17749" y="232618"/>
                    </a:lnTo>
                    <a:cubicBezTo>
                      <a:pt x="-8921" y="181183"/>
                      <a:pt x="-5111" y="121176"/>
                      <a:pt x="26322" y="72598"/>
                    </a:cubicBezTo>
                    <a:cubicBezTo>
                      <a:pt x="57754" y="24021"/>
                      <a:pt x="111094" y="-2649"/>
                      <a:pt x="169197" y="208"/>
                    </a:cubicBezTo>
                    <a:lnTo>
                      <a:pt x="1497934" y="69741"/>
                    </a:lnTo>
                    <a:cubicBezTo>
                      <a:pt x="1556037" y="72598"/>
                      <a:pt x="1605567" y="104983"/>
                      <a:pt x="1632237" y="156418"/>
                    </a:cubicBezTo>
                    <a:cubicBezTo>
                      <a:pt x="1658907" y="207853"/>
                      <a:pt x="1655097" y="267861"/>
                      <a:pt x="1623664" y="316438"/>
                    </a:cubicBezTo>
                    <a:lnTo>
                      <a:pt x="898812" y="1431816"/>
                    </a:lnTo>
                    <a:cubicBezTo>
                      <a:pt x="868332" y="1478488"/>
                      <a:pt x="818802" y="1506111"/>
                      <a:pt x="764509" y="1506111"/>
                    </a:cubicBezTo>
                    <a:close/>
                    <a:moveTo>
                      <a:pt x="22512" y="230713"/>
                    </a:moveTo>
                    <a:lnTo>
                      <a:pt x="626397" y="1415623"/>
                    </a:lnTo>
                    <a:cubicBezTo>
                      <a:pt x="652114" y="1465153"/>
                      <a:pt x="699739" y="1496586"/>
                      <a:pt x="755937" y="1499443"/>
                    </a:cubicBezTo>
                    <a:cubicBezTo>
                      <a:pt x="812134" y="1502301"/>
                      <a:pt x="862617" y="1476583"/>
                      <a:pt x="893097" y="1428958"/>
                    </a:cubicBezTo>
                    <a:lnTo>
                      <a:pt x="1617949" y="313581"/>
                    </a:lnTo>
                    <a:cubicBezTo>
                      <a:pt x="1648429" y="266908"/>
                      <a:pt x="1651287" y="208806"/>
                      <a:pt x="1625569" y="159276"/>
                    </a:cubicBezTo>
                    <a:cubicBezTo>
                      <a:pt x="1599852" y="109746"/>
                      <a:pt x="1552227" y="78313"/>
                      <a:pt x="1496029" y="75456"/>
                    </a:cubicBezTo>
                    <a:lnTo>
                      <a:pt x="168244" y="5923"/>
                    </a:lnTo>
                    <a:cubicBezTo>
                      <a:pt x="112999" y="3066"/>
                      <a:pt x="61564" y="28783"/>
                      <a:pt x="31084" y="76408"/>
                    </a:cubicBezTo>
                    <a:cubicBezTo>
                      <a:pt x="604" y="123081"/>
                      <a:pt x="-3206" y="181183"/>
                      <a:pt x="22512" y="230713"/>
                    </a:cubicBezTo>
                    <a:close/>
                  </a:path>
                </a:pathLst>
              </a:custGeom>
              <a:grpFill/>
              <a:ln w="9525" cap="flat">
                <a:noFill/>
                <a:prstDash val="solid"/>
                <a:miter/>
              </a:ln>
            </p:spPr>
            <p:txBody>
              <a:bodyPr rtlCol="0" anchor="ctr"/>
              <a:lstStyle/>
              <a:p>
                <a:endParaRPr lang="en-US" sz="1730"/>
              </a:p>
            </p:txBody>
          </p:sp>
          <p:sp>
            <p:nvSpPr>
              <p:cNvPr id="69" name="Freeform: Shape 68">
                <a:extLst>
                  <a:ext uri="{FF2B5EF4-FFF2-40B4-BE49-F238E27FC236}">
                    <a16:creationId xmlns:a16="http://schemas.microsoft.com/office/drawing/2014/main" id="{078CAE18-6328-4577-A1E2-68D4E723AA5D}"/>
                  </a:ext>
                </a:extLst>
              </p:cNvPr>
              <p:cNvSpPr/>
              <p:nvPr/>
            </p:nvSpPr>
            <p:spPr>
              <a:xfrm>
                <a:off x="5703352" y="2884241"/>
                <a:ext cx="1552692" cy="1637910"/>
              </a:xfrm>
              <a:custGeom>
                <a:avLst/>
                <a:gdLst>
                  <a:gd name="connsiteX0" fmla="*/ 345340 w 1552692"/>
                  <a:gd name="connsiteY0" fmla="*/ 1637910 h 1637910"/>
                  <a:gd name="connsiteX1" fmla="*/ 285332 w 1552692"/>
                  <a:gd name="connsiteY1" fmla="*/ 1626480 h 1637910"/>
                  <a:gd name="connsiteX2" fmla="*/ 187225 w 1552692"/>
                  <a:gd name="connsiteY2" fmla="*/ 1500750 h 1637910"/>
                  <a:gd name="connsiteX3" fmla="*/ 1487 w 1552692"/>
                  <a:gd name="connsiteY3" fmla="*/ 182490 h 1637910"/>
                  <a:gd name="connsiteX4" fmla="*/ 61495 w 1552692"/>
                  <a:gd name="connsiteY4" fmla="*/ 33900 h 1637910"/>
                  <a:gd name="connsiteX5" fmla="*/ 219610 w 1552692"/>
                  <a:gd name="connsiteY5" fmla="*/ 11993 h 1637910"/>
                  <a:gd name="connsiteX6" fmla="*/ 1453097 w 1552692"/>
                  <a:gd name="connsiteY6" fmla="*/ 510150 h 1637910"/>
                  <a:gd name="connsiteX7" fmla="*/ 1551205 w 1552692"/>
                  <a:gd name="connsiteY7" fmla="*/ 635880 h 1637910"/>
                  <a:gd name="connsiteX8" fmla="*/ 1491197 w 1552692"/>
                  <a:gd name="connsiteY8" fmla="*/ 784470 h 1637910"/>
                  <a:gd name="connsiteX9" fmla="*/ 442495 w 1552692"/>
                  <a:gd name="connsiteY9" fmla="*/ 1603620 h 1637910"/>
                  <a:gd name="connsiteX10" fmla="*/ 345340 w 1552692"/>
                  <a:gd name="connsiteY10" fmla="*/ 1637910 h 1637910"/>
                  <a:gd name="connsiteX11" fmla="*/ 7202 w 1552692"/>
                  <a:gd name="connsiteY11" fmla="*/ 182490 h 1637910"/>
                  <a:gd name="connsiteX12" fmla="*/ 191987 w 1552692"/>
                  <a:gd name="connsiteY12" fmla="*/ 1499798 h 1637910"/>
                  <a:gd name="connsiteX13" fmla="*/ 287237 w 1552692"/>
                  <a:gd name="connsiteY13" fmla="*/ 1621718 h 1637910"/>
                  <a:gd name="connsiteX14" fmla="*/ 439637 w 1552692"/>
                  <a:gd name="connsiteY14" fmla="*/ 1599810 h 1637910"/>
                  <a:gd name="connsiteX15" fmla="*/ 1488340 w 1552692"/>
                  <a:gd name="connsiteY15" fmla="*/ 780660 h 1637910"/>
                  <a:gd name="connsiteX16" fmla="*/ 1546442 w 1552692"/>
                  <a:gd name="connsiteY16" fmla="*/ 637785 h 1637910"/>
                  <a:gd name="connsiteX17" fmla="*/ 1451192 w 1552692"/>
                  <a:gd name="connsiteY17" fmla="*/ 515865 h 1637910"/>
                  <a:gd name="connsiteX18" fmla="*/ 217705 w 1552692"/>
                  <a:gd name="connsiteY18" fmla="*/ 17708 h 1637910"/>
                  <a:gd name="connsiteX19" fmla="*/ 65305 w 1552692"/>
                  <a:gd name="connsiteY19" fmla="*/ 39615 h 1637910"/>
                  <a:gd name="connsiteX20" fmla="*/ 7202 w 1552692"/>
                  <a:gd name="connsiteY20" fmla="*/ 182490 h 163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52692" h="1637910">
                    <a:moveTo>
                      <a:pt x="345340" y="1637910"/>
                    </a:moveTo>
                    <a:cubicBezTo>
                      <a:pt x="325337" y="1637910"/>
                      <a:pt x="304382" y="1634100"/>
                      <a:pt x="285332" y="1626480"/>
                    </a:cubicBezTo>
                    <a:cubicBezTo>
                      <a:pt x="231992" y="1604573"/>
                      <a:pt x="194845" y="1557900"/>
                      <a:pt x="187225" y="1500750"/>
                    </a:cubicBezTo>
                    <a:lnTo>
                      <a:pt x="1487" y="182490"/>
                    </a:lnTo>
                    <a:cubicBezTo>
                      <a:pt x="-6133" y="125340"/>
                      <a:pt x="15775" y="70095"/>
                      <a:pt x="61495" y="33900"/>
                    </a:cubicBezTo>
                    <a:cubicBezTo>
                      <a:pt x="107215" y="-1342"/>
                      <a:pt x="166270" y="-9915"/>
                      <a:pt x="219610" y="11993"/>
                    </a:cubicBezTo>
                    <a:lnTo>
                      <a:pt x="1453097" y="510150"/>
                    </a:lnTo>
                    <a:cubicBezTo>
                      <a:pt x="1506437" y="532058"/>
                      <a:pt x="1543585" y="578730"/>
                      <a:pt x="1551205" y="635880"/>
                    </a:cubicBezTo>
                    <a:cubicBezTo>
                      <a:pt x="1558825" y="693030"/>
                      <a:pt x="1536917" y="748275"/>
                      <a:pt x="1491197" y="784470"/>
                    </a:cubicBezTo>
                    <a:lnTo>
                      <a:pt x="442495" y="1603620"/>
                    </a:lnTo>
                    <a:cubicBezTo>
                      <a:pt x="414872" y="1626480"/>
                      <a:pt x="380582" y="1637910"/>
                      <a:pt x="345340" y="1637910"/>
                    </a:cubicBezTo>
                    <a:close/>
                    <a:moveTo>
                      <a:pt x="7202" y="182490"/>
                    </a:moveTo>
                    <a:lnTo>
                      <a:pt x="191987" y="1499798"/>
                    </a:lnTo>
                    <a:cubicBezTo>
                      <a:pt x="199607" y="1555043"/>
                      <a:pt x="234850" y="1600763"/>
                      <a:pt x="287237" y="1621718"/>
                    </a:cubicBezTo>
                    <a:cubicBezTo>
                      <a:pt x="338672" y="1642673"/>
                      <a:pt x="395822" y="1635053"/>
                      <a:pt x="439637" y="1599810"/>
                    </a:cubicBezTo>
                    <a:lnTo>
                      <a:pt x="1488340" y="780660"/>
                    </a:lnTo>
                    <a:cubicBezTo>
                      <a:pt x="1532155" y="746370"/>
                      <a:pt x="1554062" y="693030"/>
                      <a:pt x="1546442" y="637785"/>
                    </a:cubicBezTo>
                    <a:cubicBezTo>
                      <a:pt x="1538822" y="582540"/>
                      <a:pt x="1503580" y="536820"/>
                      <a:pt x="1451192" y="515865"/>
                    </a:cubicBezTo>
                    <a:lnTo>
                      <a:pt x="217705" y="17708"/>
                    </a:lnTo>
                    <a:cubicBezTo>
                      <a:pt x="166270" y="-3247"/>
                      <a:pt x="109120" y="4373"/>
                      <a:pt x="65305" y="39615"/>
                    </a:cubicBezTo>
                    <a:cubicBezTo>
                      <a:pt x="20537" y="72953"/>
                      <a:pt x="-418" y="127245"/>
                      <a:pt x="7202" y="182490"/>
                    </a:cubicBezTo>
                    <a:close/>
                  </a:path>
                </a:pathLst>
              </a:custGeom>
              <a:grpFill/>
              <a:ln w="9525" cap="flat">
                <a:noFill/>
                <a:prstDash val="solid"/>
                <a:miter/>
              </a:ln>
            </p:spPr>
            <p:txBody>
              <a:bodyPr rtlCol="0" anchor="ctr"/>
              <a:lstStyle/>
              <a:p>
                <a:endParaRPr lang="en-US" sz="1730"/>
              </a:p>
            </p:txBody>
          </p:sp>
          <p:sp>
            <p:nvSpPr>
              <p:cNvPr id="70" name="Freeform: Shape 69">
                <a:extLst>
                  <a:ext uri="{FF2B5EF4-FFF2-40B4-BE49-F238E27FC236}">
                    <a16:creationId xmlns:a16="http://schemas.microsoft.com/office/drawing/2014/main" id="{EBA2E409-2F87-44E1-BDE0-C3F0C5F0EE68}"/>
                  </a:ext>
                </a:extLst>
              </p:cNvPr>
              <p:cNvSpPr/>
              <p:nvPr/>
            </p:nvSpPr>
            <p:spPr>
              <a:xfrm>
                <a:off x="5617251" y="2793839"/>
                <a:ext cx="1577256" cy="1626394"/>
              </a:xfrm>
              <a:custGeom>
                <a:avLst/>
                <a:gdLst>
                  <a:gd name="connsiteX0" fmla="*/ 159026 w 1577256"/>
                  <a:gd name="connsiteY0" fmla="*/ 1626395 h 1626394"/>
                  <a:gd name="connsiteX1" fmla="*/ 55203 w 1577256"/>
                  <a:gd name="connsiteY1" fmla="*/ 1587342 h 1626394"/>
                  <a:gd name="connsiteX2" fmla="*/ 2816 w 1577256"/>
                  <a:gd name="connsiteY2" fmla="*/ 1435895 h 1626394"/>
                  <a:gd name="connsiteX3" fmla="*/ 256181 w 1577256"/>
                  <a:gd name="connsiteY3" fmla="*/ 130017 h 1626394"/>
                  <a:gd name="connsiteX4" fmla="*/ 360956 w 1577256"/>
                  <a:gd name="connsiteY4" fmla="*/ 9050 h 1626394"/>
                  <a:gd name="connsiteX5" fmla="*/ 518118 w 1577256"/>
                  <a:gd name="connsiteY5" fmla="*/ 39530 h 1626394"/>
                  <a:gd name="connsiteX6" fmla="*/ 1522053 w 1577256"/>
                  <a:gd name="connsiteY6" fmla="*/ 912019 h 1626394"/>
                  <a:gd name="connsiteX7" fmla="*/ 1574441 w 1577256"/>
                  <a:gd name="connsiteY7" fmla="*/ 1063467 h 1626394"/>
                  <a:gd name="connsiteX8" fmla="*/ 1469666 w 1577256"/>
                  <a:gd name="connsiteY8" fmla="*/ 1184435 h 1626394"/>
                  <a:gd name="connsiteX9" fmla="*/ 211413 w 1577256"/>
                  <a:gd name="connsiteY9" fmla="*/ 1616870 h 1626394"/>
                  <a:gd name="connsiteX10" fmla="*/ 159026 w 1577256"/>
                  <a:gd name="connsiteY10" fmla="*/ 1626395 h 1626394"/>
                  <a:gd name="connsiteX11" fmla="*/ 259038 w 1577256"/>
                  <a:gd name="connsiteY11" fmla="*/ 130017 h 1626394"/>
                  <a:gd name="connsiteX12" fmla="*/ 261896 w 1577256"/>
                  <a:gd name="connsiteY12" fmla="*/ 130970 h 1626394"/>
                  <a:gd name="connsiteX13" fmla="*/ 7578 w 1577256"/>
                  <a:gd name="connsiteY13" fmla="*/ 1436847 h 1626394"/>
                  <a:gd name="connsiteX14" fmla="*/ 58061 w 1577256"/>
                  <a:gd name="connsiteY14" fmla="*/ 1582580 h 1626394"/>
                  <a:gd name="connsiteX15" fmla="*/ 209508 w 1577256"/>
                  <a:gd name="connsiteY15" fmla="*/ 1612107 h 1626394"/>
                  <a:gd name="connsiteX16" fmla="*/ 1467761 w 1577256"/>
                  <a:gd name="connsiteY16" fmla="*/ 1178720 h 1626394"/>
                  <a:gd name="connsiteX17" fmla="*/ 1568726 w 1577256"/>
                  <a:gd name="connsiteY17" fmla="*/ 1062515 h 1626394"/>
                  <a:gd name="connsiteX18" fmla="*/ 1518243 w 1577256"/>
                  <a:gd name="connsiteY18" fmla="*/ 916782 h 1626394"/>
                  <a:gd name="connsiteX19" fmla="*/ 514308 w 1577256"/>
                  <a:gd name="connsiteY19" fmla="*/ 43340 h 1626394"/>
                  <a:gd name="connsiteX20" fmla="*/ 362861 w 1577256"/>
                  <a:gd name="connsiteY20" fmla="*/ 13812 h 1626394"/>
                  <a:gd name="connsiteX21" fmla="*/ 261896 w 1577256"/>
                  <a:gd name="connsiteY21" fmla="*/ 130017 h 1626394"/>
                  <a:gd name="connsiteX22" fmla="*/ 259038 w 1577256"/>
                  <a:gd name="connsiteY22" fmla="*/ 130017 h 162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7256" h="1626394">
                    <a:moveTo>
                      <a:pt x="159026" y="1626395"/>
                    </a:moveTo>
                    <a:cubicBezTo>
                      <a:pt x="120926" y="1626395"/>
                      <a:pt x="84731" y="1613060"/>
                      <a:pt x="55203" y="1587342"/>
                    </a:cubicBezTo>
                    <a:cubicBezTo>
                      <a:pt x="11388" y="1549242"/>
                      <a:pt x="-7662" y="1493045"/>
                      <a:pt x="2816" y="1435895"/>
                    </a:cubicBezTo>
                    <a:lnTo>
                      <a:pt x="256181" y="130017"/>
                    </a:lnTo>
                    <a:cubicBezTo>
                      <a:pt x="267611" y="72867"/>
                      <a:pt x="306663" y="28100"/>
                      <a:pt x="360956" y="9050"/>
                    </a:cubicBezTo>
                    <a:cubicBezTo>
                      <a:pt x="415248" y="-10000"/>
                      <a:pt x="474303" y="1430"/>
                      <a:pt x="518118" y="39530"/>
                    </a:cubicBezTo>
                    <a:lnTo>
                      <a:pt x="1522053" y="912019"/>
                    </a:lnTo>
                    <a:cubicBezTo>
                      <a:pt x="1565868" y="950119"/>
                      <a:pt x="1584918" y="1006317"/>
                      <a:pt x="1574441" y="1063467"/>
                    </a:cubicBezTo>
                    <a:cubicBezTo>
                      <a:pt x="1563011" y="1120617"/>
                      <a:pt x="1523958" y="1165385"/>
                      <a:pt x="1469666" y="1184435"/>
                    </a:cubicBezTo>
                    <a:lnTo>
                      <a:pt x="211413" y="1616870"/>
                    </a:lnTo>
                    <a:cubicBezTo>
                      <a:pt x="194268" y="1623537"/>
                      <a:pt x="176171" y="1626395"/>
                      <a:pt x="159026" y="1626395"/>
                    </a:cubicBezTo>
                    <a:close/>
                    <a:moveTo>
                      <a:pt x="259038" y="130017"/>
                    </a:moveTo>
                    <a:lnTo>
                      <a:pt x="261896" y="130970"/>
                    </a:lnTo>
                    <a:lnTo>
                      <a:pt x="7578" y="1436847"/>
                    </a:lnTo>
                    <a:cubicBezTo>
                      <a:pt x="-2899" y="1492092"/>
                      <a:pt x="16151" y="1546385"/>
                      <a:pt x="58061" y="1582580"/>
                    </a:cubicBezTo>
                    <a:cubicBezTo>
                      <a:pt x="99971" y="1618775"/>
                      <a:pt x="157121" y="1630205"/>
                      <a:pt x="209508" y="1612107"/>
                    </a:cubicBezTo>
                    <a:lnTo>
                      <a:pt x="1467761" y="1178720"/>
                    </a:lnTo>
                    <a:cubicBezTo>
                      <a:pt x="1520148" y="1160622"/>
                      <a:pt x="1558248" y="1116807"/>
                      <a:pt x="1568726" y="1062515"/>
                    </a:cubicBezTo>
                    <a:cubicBezTo>
                      <a:pt x="1579203" y="1007269"/>
                      <a:pt x="1560153" y="952977"/>
                      <a:pt x="1518243" y="916782"/>
                    </a:cubicBezTo>
                    <a:lnTo>
                      <a:pt x="514308" y="43340"/>
                    </a:lnTo>
                    <a:cubicBezTo>
                      <a:pt x="472398" y="7145"/>
                      <a:pt x="415248" y="-4285"/>
                      <a:pt x="362861" y="13812"/>
                    </a:cubicBezTo>
                    <a:cubicBezTo>
                      <a:pt x="310473" y="31910"/>
                      <a:pt x="272373" y="75725"/>
                      <a:pt x="261896" y="130017"/>
                    </a:cubicBezTo>
                    <a:lnTo>
                      <a:pt x="259038" y="130017"/>
                    </a:lnTo>
                    <a:close/>
                  </a:path>
                </a:pathLst>
              </a:custGeom>
              <a:grpFill/>
              <a:ln w="9525" cap="flat">
                <a:noFill/>
                <a:prstDash val="solid"/>
                <a:miter/>
              </a:ln>
            </p:spPr>
            <p:txBody>
              <a:bodyPr rtlCol="0" anchor="ctr"/>
              <a:lstStyle/>
              <a:p>
                <a:endParaRPr lang="en-US" sz="1730"/>
              </a:p>
            </p:txBody>
          </p:sp>
          <p:sp>
            <p:nvSpPr>
              <p:cNvPr id="71" name="Freeform: Shape 70">
                <a:extLst>
                  <a:ext uri="{FF2B5EF4-FFF2-40B4-BE49-F238E27FC236}">
                    <a16:creationId xmlns:a16="http://schemas.microsoft.com/office/drawing/2014/main" id="{4B3569C1-CDDE-4300-A777-F5A88095235D}"/>
                  </a:ext>
                </a:extLst>
              </p:cNvPr>
              <p:cNvSpPr/>
              <p:nvPr/>
            </p:nvSpPr>
            <p:spPr>
              <a:xfrm>
                <a:off x="5392895" y="2761931"/>
                <a:ext cx="1648777" cy="1472564"/>
              </a:xfrm>
              <a:custGeom>
                <a:avLst/>
                <a:gdLst>
                  <a:gd name="connsiteX0" fmla="*/ 1490186 w 1648777"/>
                  <a:gd name="connsiteY0" fmla="*/ 1472565 h 1472564"/>
                  <a:gd name="connsiteX1" fmla="*/ 159544 w 1648777"/>
                  <a:gd name="connsiteY1" fmla="*/ 1472565 h 1472564"/>
                  <a:gd name="connsiteX2" fmla="*/ 21431 w 1648777"/>
                  <a:gd name="connsiteY2" fmla="*/ 1392555 h 1472564"/>
                  <a:gd name="connsiteX3" fmla="*/ 21431 w 1648777"/>
                  <a:gd name="connsiteY3" fmla="*/ 1232535 h 1472564"/>
                  <a:gd name="connsiteX4" fmla="*/ 686276 w 1648777"/>
                  <a:gd name="connsiteY4" fmla="*/ 80010 h 1472564"/>
                  <a:gd name="connsiteX5" fmla="*/ 824389 w 1648777"/>
                  <a:gd name="connsiteY5" fmla="*/ 0 h 1472564"/>
                  <a:gd name="connsiteX6" fmla="*/ 824389 w 1648777"/>
                  <a:gd name="connsiteY6" fmla="*/ 0 h 1472564"/>
                  <a:gd name="connsiteX7" fmla="*/ 962501 w 1648777"/>
                  <a:gd name="connsiteY7" fmla="*/ 80010 h 1472564"/>
                  <a:gd name="connsiteX8" fmla="*/ 1627346 w 1648777"/>
                  <a:gd name="connsiteY8" fmla="*/ 1232535 h 1472564"/>
                  <a:gd name="connsiteX9" fmla="*/ 1627346 w 1648777"/>
                  <a:gd name="connsiteY9" fmla="*/ 1392555 h 1472564"/>
                  <a:gd name="connsiteX10" fmla="*/ 1490186 w 1648777"/>
                  <a:gd name="connsiteY10" fmla="*/ 1472565 h 1472564"/>
                  <a:gd name="connsiteX11" fmla="*/ 691039 w 1648777"/>
                  <a:gd name="connsiteY11" fmla="*/ 83820 h 1472564"/>
                  <a:gd name="connsiteX12" fmla="*/ 26194 w 1648777"/>
                  <a:gd name="connsiteY12" fmla="*/ 1236345 h 1472564"/>
                  <a:gd name="connsiteX13" fmla="*/ 26194 w 1648777"/>
                  <a:gd name="connsiteY13" fmla="*/ 1390650 h 1472564"/>
                  <a:gd name="connsiteX14" fmla="*/ 159544 w 1648777"/>
                  <a:gd name="connsiteY14" fmla="*/ 1467803 h 1472564"/>
                  <a:gd name="connsiteX15" fmla="*/ 1490186 w 1648777"/>
                  <a:gd name="connsiteY15" fmla="*/ 1467803 h 1472564"/>
                  <a:gd name="connsiteX16" fmla="*/ 1623536 w 1648777"/>
                  <a:gd name="connsiteY16" fmla="*/ 1390650 h 1472564"/>
                  <a:gd name="connsiteX17" fmla="*/ 1623536 w 1648777"/>
                  <a:gd name="connsiteY17" fmla="*/ 1236345 h 1472564"/>
                  <a:gd name="connsiteX18" fmla="*/ 958691 w 1648777"/>
                  <a:gd name="connsiteY18" fmla="*/ 83820 h 1472564"/>
                  <a:gd name="connsiteX19" fmla="*/ 825341 w 1648777"/>
                  <a:gd name="connsiteY19" fmla="*/ 6668 h 1472564"/>
                  <a:gd name="connsiteX20" fmla="*/ 691039 w 1648777"/>
                  <a:gd name="connsiteY20" fmla="*/ 83820 h 1472564"/>
                  <a:gd name="connsiteX21" fmla="*/ 691039 w 1648777"/>
                  <a:gd name="connsiteY21" fmla="*/ 83820 h 147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8777" h="1472564">
                    <a:moveTo>
                      <a:pt x="1490186" y="1472565"/>
                    </a:moveTo>
                    <a:lnTo>
                      <a:pt x="159544" y="1472565"/>
                    </a:lnTo>
                    <a:cubicBezTo>
                      <a:pt x="101441" y="1472565"/>
                      <a:pt x="50006" y="1443038"/>
                      <a:pt x="21431" y="1392555"/>
                    </a:cubicBezTo>
                    <a:cubicBezTo>
                      <a:pt x="-7144" y="1342073"/>
                      <a:pt x="-7144" y="1283018"/>
                      <a:pt x="21431" y="1232535"/>
                    </a:cubicBezTo>
                    <a:lnTo>
                      <a:pt x="686276" y="80010"/>
                    </a:lnTo>
                    <a:cubicBezTo>
                      <a:pt x="714851" y="29528"/>
                      <a:pt x="767239" y="0"/>
                      <a:pt x="824389" y="0"/>
                    </a:cubicBezTo>
                    <a:cubicBezTo>
                      <a:pt x="824389" y="0"/>
                      <a:pt x="824389" y="0"/>
                      <a:pt x="824389" y="0"/>
                    </a:cubicBezTo>
                    <a:cubicBezTo>
                      <a:pt x="882491" y="0"/>
                      <a:pt x="933926" y="29528"/>
                      <a:pt x="962501" y="80010"/>
                    </a:cubicBezTo>
                    <a:lnTo>
                      <a:pt x="1627346" y="1232535"/>
                    </a:lnTo>
                    <a:cubicBezTo>
                      <a:pt x="1655921" y="1283018"/>
                      <a:pt x="1655921" y="1342073"/>
                      <a:pt x="1627346" y="1392555"/>
                    </a:cubicBezTo>
                    <a:cubicBezTo>
                      <a:pt x="1599724" y="1443038"/>
                      <a:pt x="1548289" y="1472565"/>
                      <a:pt x="1490186" y="1472565"/>
                    </a:cubicBezTo>
                    <a:close/>
                    <a:moveTo>
                      <a:pt x="691039" y="83820"/>
                    </a:moveTo>
                    <a:lnTo>
                      <a:pt x="26194" y="1236345"/>
                    </a:lnTo>
                    <a:cubicBezTo>
                      <a:pt x="-1429" y="1284923"/>
                      <a:pt x="-1429" y="1342073"/>
                      <a:pt x="26194" y="1390650"/>
                    </a:cubicBezTo>
                    <a:cubicBezTo>
                      <a:pt x="53816" y="1439228"/>
                      <a:pt x="104299" y="1467803"/>
                      <a:pt x="159544" y="1467803"/>
                    </a:cubicBezTo>
                    <a:lnTo>
                      <a:pt x="1490186" y="1467803"/>
                    </a:lnTo>
                    <a:cubicBezTo>
                      <a:pt x="1546384" y="1467803"/>
                      <a:pt x="1595914" y="1439228"/>
                      <a:pt x="1623536" y="1390650"/>
                    </a:cubicBezTo>
                    <a:cubicBezTo>
                      <a:pt x="1651159" y="1342073"/>
                      <a:pt x="1651159" y="1284923"/>
                      <a:pt x="1623536" y="1236345"/>
                    </a:cubicBezTo>
                    <a:lnTo>
                      <a:pt x="958691" y="83820"/>
                    </a:lnTo>
                    <a:cubicBezTo>
                      <a:pt x="931069" y="35243"/>
                      <a:pt x="880586" y="6668"/>
                      <a:pt x="825341" y="6668"/>
                    </a:cubicBezTo>
                    <a:cubicBezTo>
                      <a:pt x="769144" y="6668"/>
                      <a:pt x="719614" y="35243"/>
                      <a:pt x="691039" y="83820"/>
                    </a:cubicBezTo>
                    <a:lnTo>
                      <a:pt x="691039" y="83820"/>
                    </a:lnTo>
                    <a:close/>
                  </a:path>
                </a:pathLst>
              </a:custGeom>
              <a:grpFill/>
              <a:ln w="9525" cap="flat">
                <a:noFill/>
                <a:prstDash val="solid"/>
                <a:miter/>
              </a:ln>
            </p:spPr>
            <p:txBody>
              <a:bodyPr rtlCol="0" anchor="ctr"/>
              <a:lstStyle/>
              <a:p>
                <a:endParaRPr lang="en-US" sz="1730"/>
              </a:p>
            </p:txBody>
          </p:sp>
        </p:grpSp>
        <p:sp>
          <p:nvSpPr>
            <p:cNvPr id="39" name="Oval 38">
              <a:extLst>
                <a:ext uri="{FF2B5EF4-FFF2-40B4-BE49-F238E27FC236}">
                  <a16:creationId xmlns:a16="http://schemas.microsoft.com/office/drawing/2014/main" id="{9AE111FB-FF99-4626-BF15-A4F33CA3E1B5}"/>
                </a:ext>
              </a:extLst>
            </p:cNvPr>
            <p:cNvSpPr/>
            <p:nvPr userDrawn="1"/>
          </p:nvSpPr>
          <p:spPr bwMode="auto">
            <a:xfrm>
              <a:off x="7282905" y="3548967"/>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0" name="Oval 39">
              <a:extLst>
                <a:ext uri="{FF2B5EF4-FFF2-40B4-BE49-F238E27FC236}">
                  <a16:creationId xmlns:a16="http://schemas.microsoft.com/office/drawing/2014/main" id="{EEBF4D1F-7718-4CBE-B978-16FFCC2E3239}"/>
                </a:ext>
              </a:extLst>
            </p:cNvPr>
            <p:cNvSpPr/>
            <p:nvPr userDrawn="1"/>
          </p:nvSpPr>
          <p:spPr bwMode="auto">
            <a:xfrm>
              <a:off x="10896617" y="2909240"/>
              <a:ext cx="124272" cy="12429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1" name="Oval 40">
              <a:extLst>
                <a:ext uri="{FF2B5EF4-FFF2-40B4-BE49-F238E27FC236}">
                  <a16:creationId xmlns:a16="http://schemas.microsoft.com/office/drawing/2014/main" id="{59426D11-A3B4-4FDE-8641-D925588DAB39}"/>
                </a:ext>
              </a:extLst>
            </p:cNvPr>
            <p:cNvSpPr/>
            <p:nvPr userDrawn="1"/>
          </p:nvSpPr>
          <p:spPr bwMode="auto">
            <a:xfrm>
              <a:off x="9437993" y="5187887"/>
              <a:ext cx="124272" cy="12429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57EDB010-9BE7-4344-984B-7453B4FF8307}"/>
                </a:ext>
              </a:extLst>
            </p:cNvPr>
            <p:cNvSpPr/>
            <p:nvPr userDrawn="1"/>
          </p:nvSpPr>
          <p:spPr bwMode="auto">
            <a:xfrm>
              <a:off x="9087616" y="1541433"/>
              <a:ext cx="124272" cy="12429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786CA2CE-9797-4C92-9057-B3C8D9338727}"/>
                </a:ext>
              </a:extLst>
            </p:cNvPr>
            <p:cNvSpPr/>
            <p:nvPr userDrawn="1"/>
          </p:nvSpPr>
          <p:spPr bwMode="auto">
            <a:xfrm>
              <a:off x="9052314" y="3314275"/>
              <a:ext cx="229418" cy="22945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4" name="Oval 43">
              <a:extLst>
                <a:ext uri="{FF2B5EF4-FFF2-40B4-BE49-F238E27FC236}">
                  <a16:creationId xmlns:a16="http://schemas.microsoft.com/office/drawing/2014/main" id="{F9A1662E-1481-432B-8DC4-FF834AA60F57}"/>
                </a:ext>
              </a:extLst>
            </p:cNvPr>
            <p:cNvSpPr/>
            <p:nvPr userDrawn="1"/>
          </p:nvSpPr>
          <p:spPr bwMode="auto">
            <a:xfrm>
              <a:off x="9104887" y="2889394"/>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715F718A-84C5-42DA-9B9C-64E200753714}"/>
                </a:ext>
              </a:extLst>
            </p:cNvPr>
            <p:cNvSpPr/>
            <p:nvPr userDrawn="1"/>
          </p:nvSpPr>
          <p:spPr bwMode="auto">
            <a:xfrm>
              <a:off x="9104887" y="3844315"/>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6" name="Oval 45">
              <a:extLst>
                <a:ext uri="{FF2B5EF4-FFF2-40B4-BE49-F238E27FC236}">
                  <a16:creationId xmlns:a16="http://schemas.microsoft.com/office/drawing/2014/main" id="{48AC1770-CB0D-4E0F-BBE4-41A23A7256AC}"/>
                </a:ext>
              </a:extLst>
            </p:cNvPr>
            <p:cNvSpPr/>
            <p:nvPr userDrawn="1"/>
          </p:nvSpPr>
          <p:spPr bwMode="auto">
            <a:xfrm rot="16200000">
              <a:off x="8628699" y="3366864"/>
              <a:ext cx="124290" cy="12427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7" name="Oval 46">
              <a:extLst>
                <a:ext uri="{FF2B5EF4-FFF2-40B4-BE49-F238E27FC236}">
                  <a16:creationId xmlns:a16="http://schemas.microsoft.com/office/drawing/2014/main" id="{4DE4736B-6655-4B31-833F-1C130B67E3D0}"/>
                </a:ext>
              </a:extLst>
            </p:cNvPr>
            <p:cNvSpPr/>
            <p:nvPr userDrawn="1"/>
          </p:nvSpPr>
          <p:spPr bwMode="auto">
            <a:xfrm rot="16200000">
              <a:off x="9583486" y="3366864"/>
              <a:ext cx="124290" cy="12427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3" name="Footer Placeholder 1">
            <a:extLst>
              <a:ext uri="{FF2B5EF4-FFF2-40B4-BE49-F238E27FC236}">
                <a16:creationId xmlns:a16="http://schemas.microsoft.com/office/drawing/2014/main" id="{5B097BE3-EF10-4B46-96C1-8E86C90AEF09}"/>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72871213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22_SECTION ALT">
    <p:spTree>
      <p:nvGrpSpPr>
        <p:cNvPr id="1" name=""/>
        <p:cNvGrpSpPr/>
        <p:nvPr/>
      </p:nvGrpSpPr>
      <p:grpSpPr>
        <a:xfrm>
          <a:off x="0" y="0"/>
          <a:ext cx="0" cy="0"/>
          <a:chOff x="0" y="0"/>
          <a:chExt cx="0" cy="0"/>
        </a:xfrm>
      </p:grpSpPr>
      <p:sp>
        <p:nvSpPr>
          <p:cNvPr id="11" name="Freeform 10"/>
          <p:cNvSpPr>
            <a:spLocks/>
          </p:cNvSpPr>
          <p:nvPr userDrawn="1"/>
        </p:nvSpPr>
        <p:spPr bwMode="white">
          <a:xfrm rot="10800000">
            <a:off x="0" y="-2"/>
            <a:ext cx="4202723" cy="6860381"/>
          </a:xfrm>
          <a:prstGeom prst="rect">
            <a:avLst/>
          </a:prstGeom>
          <a:solidFill>
            <a:srgbClr val="0078D4"/>
          </a:solidFill>
          <a:ln>
            <a:noFill/>
          </a:ln>
        </p:spPr>
        <p:txBody>
          <a:bodyPr vert="horz" wrap="square" lIns="89630" tIns="44814" rIns="89630" bIns="44814" numCol="1" anchor="t" anchorCtr="0" compatLnSpc="1">
            <a:prstTxWarp prst="textNoShape">
              <a:avLst/>
            </a:prstTxWarp>
            <a:noAutofit/>
          </a:bodyPr>
          <a:lstStyle/>
          <a:p>
            <a:endParaRPr lang="en-US" sz="2129"/>
          </a:p>
        </p:txBody>
      </p:sp>
      <p:pic>
        <p:nvPicPr>
          <p:cNvPr id="3" name="Picture 2">
            <a:extLst>
              <a:ext uri="{FF2B5EF4-FFF2-40B4-BE49-F238E27FC236}">
                <a16:creationId xmlns:a16="http://schemas.microsoft.com/office/drawing/2014/main" id="{04F96CB1-5F59-4B71-A4FA-A7BE413A90B5}"/>
              </a:ext>
            </a:extLst>
          </p:cNvPr>
          <p:cNvPicPr>
            <a:picLocks/>
          </p:cNvPicPr>
          <p:nvPr userDrawn="1"/>
        </p:nvPicPr>
        <p:blipFill rotWithShape="1">
          <a:blip r:embed="rId3" cstate="print">
            <a:extLst>
              <a:ext uri="{28A0092B-C50C-407E-A947-70E740481C1C}">
                <a14:useLocalDpi xmlns:a14="http://schemas.microsoft.com/office/drawing/2010/main" val="0"/>
              </a:ext>
            </a:extLst>
          </a:blip>
          <a:srcRect b="-88"/>
          <a:stretch/>
        </p:blipFill>
        <p:spPr>
          <a:xfrm>
            <a:off x="4202723" y="0"/>
            <a:ext cx="7989277" cy="6864021"/>
          </a:xfrm>
          <a:prstGeom prst="rect">
            <a:avLst/>
          </a:prstGeom>
        </p:spPr>
      </p:pic>
    </p:spTree>
    <p:custDataLst>
      <p:tags r:id="rId1"/>
    </p:custDataLst>
    <p:extLst>
      <p:ext uri="{BB962C8B-B14F-4D97-AF65-F5344CB8AC3E}">
        <p14:creationId xmlns:p14="http://schemas.microsoft.com/office/powerpoint/2010/main" val="1298640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tx2"/>
        </a:solidFill>
        <a:effectLst/>
      </p:bgPr>
    </p:bg>
    <p:spTree>
      <p:nvGrpSpPr>
        <p:cNvPr id="1" name=""/>
        <p:cNvGrpSpPr/>
        <p:nvPr/>
      </p:nvGrpSpPr>
      <p:grpSpPr>
        <a:xfrm>
          <a:off x="0" y="0"/>
          <a:ext cx="0" cy="0"/>
          <a:chOff x="0" y="0"/>
          <a:chExt cx="0" cy="0"/>
        </a:xfrm>
      </p:grpSpPr>
      <p:pic>
        <p:nvPicPr>
          <p:cNvPr id="6" name="Picture Placeholder 3" descr="A smileing person sitting at a table in a restaurant useing a phone and laptop">
            <a:extLst>
              <a:ext uri="{FF2B5EF4-FFF2-40B4-BE49-F238E27FC236}">
                <a16:creationId xmlns:a16="http://schemas.microsoft.com/office/drawing/2014/main" id="{D83EE80F-2917-9C41-97F4-69ABF39D55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3"/>
          <a:stretch/>
        </p:blipFill>
        <p:spPr>
          <a:xfrm>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3379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_Banner_NoTert_Dark">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6" name="Text Placeholder 4">
            <a:extLst>
              <a:ext uri="{FF2B5EF4-FFF2-40B4-BE49-F238E27FC236}">
                <a16:creationId xmlns:a16="http://schemas.microsoft.com/office/drawing/2014/main" id="{EDC0548E-255F-AD1E-876E-BA9FBABB3202}"/>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184211867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Section slid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5" name="Footer Placeholder 1">
            <a:extLst>
              <a:ext uri="{FF2B5EF4-FFF2-40B4-BE49-F238E27FC236}">
                <a16:creationId xmlns:a16="http://schemas.microsoft.com/office/drawing/2014/main" id="{7744196A-122B-4882-AC59-654F494CE272}"/>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930575955"/>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599880395"/>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userDrawn="1">
  <p:cSld name="COVER BACKGROU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8120D6-8347-794E-B139-F37EEA261A46}"/>
              </a:ext>
              <a:ext uri="{C183D7F6-B498-43B3-948B-1728B52AA6E4}">
                <adec:decorative xmlns:adec="http://schemas.microsoft.com/office/drawing/2017/decorative" val="1"/>
              </a:ext>
            </a:extLst>
          </p:cNvPr>
          <p:cNvSpPr/>
          <p:nvPr userDrawn="1"/>
        </p:nvSpPr>
        <p:spPr>
          <a:xfrm>
            <a:off x="0" y="1"/>
            <a:ext cx="12192000" cy="6857999"/>
          </a:xfrm>
          <a:prstGeom prst="rect">
            <a:avLst/>
          </a:prstGeom>
          <a:gradFill flip="none" rotWithShape="1">
            <a:gsLst>
              <a:gs pos="67000">
                <a:srgbClr val="1B1D30">
                  <a:alpha val="58000"/>
                </a:srgbClr>
              </a:gs>
              <a:gs pos="100000">
                <a:srgbClr val="2E3252">
                  <a:alpha val="0"/>
                </a:srgbClr>
              </a:gs>
              <a:gs pos="15000">
                <a:srgbClr val="161828"/>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2" name="Title 1">
            <a:extLst>
              <a:ext uri="{FF2B5EF4-FFF2-40B4-BE49-F238E27FC236}">
                <a16:creationId xmlns:a16="http://schemas.microsoft.com/office/drawing/2014/main" id="{EF2E0AC5-6457-47B1-ADA9-40298FA07A33}"/>
              </a:ext>
            </a:extLst>
          </p:cNvPr>
          <p:cNvSpPr>
            <a:spLocks noGrp="1"/>
          </p:cNvSpPr>
          <p:nvPr>
            <p:ph type="title"/>
          </p:nvPr>
        </p:nvSpPr>
        <p:spPr>
          <a:xfrm>
            <a:off x="751256" y="653839"/>
            <a:ext cx="10678558" cy="504339"/>
          </a:xfrm>
          <a:prstGeom prst="rect">
            <a:avLst/>
          </a:prstGeom>
        </p:spPr>
        <p:txBody>
          <a:bodyPr lIns="45705" tIns="18273" rIns="45705" bIns="18273" anchor="ctr"/>
          <a:lstStyle>
            <a:lvl1pPr marL="0" indent="0" algn="l" defTabSz="912971" rtl="0" eaLnBrk="1" latinLnBrk="0" hangingPunct="1">
              <a:lnSpc>
                <a:spcPct val="90000"/>
              </a:lnSpc>
              <a:spcBef>
                <a:spcPts val="999"/>
              </a:spcBef>
              <a:buFont typeface="Arial" panose="020B0604020202020204" pitchFamily="34" charset="0"/>
              <a:buNone/>
              <a:defRPr lang="en-US" sz="3375" b="1" kern="1200" dirty="0">
                <a:solidFill>
                  <a:schemeClr val="bg1"/>
                </a:solidFill>
                <a:effectLst/>
                <a:latin typeface="Helvetica" pitchFamily="2" charset="0"/>
                <a:ea typeface="+mn-ea"/>
                <a:cs typeface="+mn-cs"/>
              </a:defRPr>
            </a:lvl1pPr>
          </a:lstStyle>
          <a:p>
            <a:r>
              <a:rPr lang="en-US" dirty="0"/>
              <a:t>Click to edit Master title style</a:t>
            </a:r>
          </a:p>
        </p:txBody>
      </p:sp>
      <p:cxnSp>
        <p:nvCxnSpPr>
          <p:cNvPr id="7" name="Google Shape;67;p15">
            <a:extLst>
              <a:ext uri="{FF2B5EF4-FFF2-40B4-BE49-F238E27FC236}">
                <a16:creationId xmlns:a16="http://schemas.microsoft.com/office/drawing/2014/main" id="{9C950167-4592-3534-1CFA-A065861E64DB}"/>
              </a:ext>
              <a:ext uri="{C183D7F6-B498-43B3-948B-1728B52AA6E4}">
                <adec:decorative xmlns:adec="http://schemas.microsoft.com/office/drawing/2017/decorative" val="1"/>
              </a:ext>
            </a:extLst>
          </p:cNvPr>
          <p:cNvCxnSpPr/>
          <p:nvPr userDrawn="1"/>
        </p:nvCxnSpPr>
        <p:spPr>
          <a:xfrm>
            <a:off x="840271" y="6377214"/>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1" name="Google Shape;268;p27">
            <a:extLst>
              <a:ext uri="{FF2B5EF4-FFF2-40B4-BE49-F238E27FC236}">
                <a16:creationId xmlns:a16="http://schemas.microsoft.com/office/drawing/2014/main" id="{A85CDCA3-5218-7913-EC90-D7FE8699D783}"/>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sp>
        <p:nvSpPr>
          <p:cNvPr id="4" name="Google Shape;56;p14">
            <a:extLst>
              <a:ext uri="{FF2B5EF4-FFF2-40B4-BE49-F238E27FC236}">
                <a16:creationId xmlns:a16="http://schemas.microsoft.com/office/drawing/2014/main" id="{243549B8-5064-2A3E-909E-36914EBF7314}"/>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179099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8120D6-8347-794E-B139-F37EEA261A46}"/>
              </a:ext>
              <a:ext uri="{C183D7F6-B498-43B3-948B-1728B52AA6E4}">
                <adec:decorative xmlns:adec="http://schemas.microsoft.com/office/drawing/2017/decorative" val="1"/>
              </a:ext>
            </a:extLst>
          </p:cNvPr>
          <p:cNvSpPr/>
          <p:nvPr userDrawn="1"/>
        </p:nvSpPr>
        <p:spPr>
          <a:xfrm>
            <a:off x="0" y="1"/>
            <a:ext cx="12192000" cy="6857999"/>
          </a:xfrm>
          <a:prstGeom prst="rect">
            <a:avLst/>
          </a:prstGeom>
          <a:gradFill flip="none" rotWithShape="1">
            <a:gsLst>
              <a:gs pos="67000">
                <a:srgbClr val="1B1D30">
                  <a:alpha val="58000"/>
                </a:srgbClr>
              </a:gs>
              <a:gs pos="100000">
                <a:srgbClr val="2E3252">
                  <a:alpha val="0"/>
                </a:srgbClr>
              </a:gs>
              <a:gs pos="15000">
                <a:srgbClr val="161828"/>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7" name="Freeform: Shape 6">
            <a:extLst>
              <a:ext uri="{FF2B5EF4-FFF2-40B4-BE49-F238E27FC236}">
                <a16:creationId xmlns:a16="http://schemas.microsoft.com/office/drawing/2014/main" id="{4CF96AC2-8C24-70C9-A3A3-E7084EDA589D}"/>
              </a:ext>
              <a:ext uri="{C183D7F6-B498-43B3-948B-1728B52AA6E4}">
                <adec:decorative xmlns:adec="http://schemas.microsoft.com/office/drawing/2017/decorative" val="1"/>
              </a:ext>
            </a:extLst>
          </p:cNvPr>
          <p:cNvSpPr/>
          <p:nvPr userDrawn="1"/>
        </p:nvSpPr>
        <p:spPr>
          <a:xfrm>
            <a:off x="1" y="1"/>
            <a:ext cx="7689829" cy="6857999"/>
          </a:xfrm>
          <a:custGeom>
            <a:avLst/>
            <a:gdLst>
              <a:gd name="connsiteX0" fmla="*/ 0 w 12284703"/>
              <a:gd name="connsiteY0" fmla="*/ 0 h 10972798"/>
              <a:gd name="connsiteX1" fmla="*/ 11386938 w 12284703"/>
              <a:gd name="connsiteY1" fmla="*/ 0 h 10972798"/>
              <a:gd name="connsiteX2" fmla="*/ 11433256 w 12284703"/>
              <a:gd name="connsiteY2" fmla="*/ 90435 h 10972798"/>
              <a:gd name="connsiteX3" fmla="*/ 12284703 w 12284703"/>
              <a:gd name="connsiteY3" fmla="*/ 3833809 h 10972798"/>
              <a:gd name="connsiteX4" fmla="*/ 8816398 w 12284703"/>
              <a:gd name="connsiteY4" fmla="*/ 10752868 h 10972798"/>
              <a:gd name="connsiteX5" fmla="*/ 8507122 w 12284703"/>
              <a:gd name="connsiteY5" fmla="*/ 10972798 h 10972798"/>
              <a:gd name="connsiteX6" fmla="*/ 0 w 12284703"/>
              <a:gd name="connsiteY6" fmla="*/ 10972798 h 10972798"/>
              <a:gd name="connsiteX7" fmla="*/ 0 w 12284703"/>
              <a:gd name="connsiteY7" fmla="*/ 0 h 1097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84703" h="10972798">
                <a:moveTo>
                  <a:pt x="0" y="0"/>
                </a:moveTo>
                <a:lnTo>
                  <a:pt x="11386938" y="0"/>
                </a:lnTo>
                <a:lnTo>
                  <a:pt x="11433256" y="90435"/>
                </a:lnTo>
                <a:cubicBezTo>
                  <a:pt x="11978916" y="1222862"/>
                  <a:pt x="12284703" y="2492625"/>
                  <a:pt x="12284703" y="3833809"/>
                </a:cubicBezTo>
                <a:cubicBezTo>
                  <a:pt x="12284703" y="6665197"/>
                  <a:pt x="10921873" y="9178278"/>
                  <a:pt x="8816398" y="10752868"/>
                </a:cubicBezTo>
                <a:lnTo>
                  <a:pt x="8507122" y="10972798"/>
                </a:lnTo>
                <a:lnTo>
                  <a:pt x="0" y="10972798"/>
                </a:lnTo>
                <a:lnTo>
                  <a:pt x="0" y="0"/>
                </a:lnTo>
                <a:close/>
              </a:path>
            </a:pathLst>
          </a:custGeom>
          <a:gradFill>
            <a:gsLst>
              <a:gs pos="68000">
                <a:srgbClr val="D59DFF">
                  <a:alpha val="0"/>
                </a:srgbClr>
              </a:gs>
              <a:gs pos="0">
                <a:schemeClr val="accent3">
                  <a:alpha val="58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125"/>
          </a:p>
        </p:txBody>
      </p:sp>
      <p:sp>
        <p:nvSpPr>
          <p:cNvPr id="2" name="Title 1">
            <a:extLst>
              <a:ext uri="{FF2B5EF4-FFF2-40B4-BE49-F238E27FC236}">
                <a16:creationId xmlns:a16="http://schemas.microsoft.com/office/drawing/2014/main" id="{EF2E0AC5-6457-47B1-ADA9-40298FA07A33}"/>
              </a:ext>
            </a:extLst>
          </p:cNvPr>
          <p:cNvSpPr>
            <a:spLocks noGrp="1"/>
          </p:cNvSpPr>
          <p:nvPr>
            <p:ph type="title"/>
          </p:nvPr>
        </p:nvSpPr>
        <p:spPr>
          <a:xfrm>
            <a:off x="751256" y="594385"/>
            <a:ext cx="10678558" cy="623248"/>
          </a:xfrm>
          <a:prstGeom prst="rect">
            <a:avLst/>
          </a:prstGeom>
        </p:spPr>
        <p:txBody>
          <a:bodyPr anchor="ctr"/>
          <a:lstStyle>
            <a:lvl1pPr marL="0" indent="0" algn="l" defTabSz="912971" rtl="0" eaLnBrk="1" latinLnBrk="0" hangingPunct="1">
              <a:lnSpc>
                <a:spcPct val="90000"/>
              </a:lnSpc>
              <a:spcBef>
                <a:spcPts val="999"/>
              </a:spcBef>
              <a:buFont typeface="Arial" panose="020B0604020202020204" pitchFamily="34" charset="0"/>
              <a:buNone/>
              <a:defRPr lang="en-US" sz="4500" b="1" kern="1200" dirty="0">
                <a:solidFill>
                  <a:schemeClr val="bg1"/>
                </a:solidFill>
                <a:effectLst>
                  <a:outerShdw blurRad="1270000" dist="914400" dir="8100000" algn="tr" rotWithShape="0">
                    <a:prstClr val="black">
                      <a:alpha val="40000"/>
                    </a:prstClr>
                  </a:outerShdw>
                </a:effectLst>
                <a:latin typeface="Helvetica" pitchFamily="2" charset="0"/>
                <a:ea typeface="+mn-ea"/>
                <a:cs typeface="+mn-cs"/>
              </a:defRPr>
            </a:lvl1pPr>
          </a:lstStyle>
          <a:p>
            <a:r>
              <a:rPr lang="en-US"/>
              <a:t>Click to edit Master title style</a:t>
            </a:r>
          </a:p>
        </p:txBody>
      </p:sp>
      <p:cxnSp>
        <p:nvCxnSpPr>
          <p:cNvPr id="3" name="Straight Connector 2">
            <a:extLst>
              <a:ext uri="{FF2B5EF4-FFF2-40B4-BE49-F238E27FC236}">
                <a16:creationId xmlns:a16="http://schemas.microsoft.com/office/drawing/2014/main" id="{4208A27C-250D-5645-8D7F-C2C259BD6246}"/>
              </a:ext>
              <a:ext uri="{C183D7F6-B498-43B3-948B-1728B52AA6E4}">
                <adec:decorative xmlns:adec="http://schemas.microsoft.com/office/drawing/2017/decorative" val="1"/>
              </a:ext>
            </a:extLst>
          </p:cNvPr>
          <p:cNvCxnSpPr>
            <a:cxnSpLocks/>
          </p:cNvCxnSpPr>
          <p:nvPr userDrawn="1"/>
        </p:nvCxnSpPr>
        <p:spPr>
          <a:xfrm>
            <a:off x="840270" y="6377214"/>
            <a:ext cx="11350923" cy="0"/>
          </a:xfrm>
          <a:prstGeom prst="line">
            <a:avLst/>
          </a:prstGeom>
          <a:ln w="12700">
            <a:solidFill>
              <a:srgbClr val="627597"/>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B4EF941-4A5E-7648-8DB6-246D20227A32}"/>
              </a:ext>
            </a:extLst>
          </p:cNvPr>
          <p:cNvSpPr/>
          <p:nvPr userDrawn="1"/>
        </p:nvSpPr>
        <p:spPr>
          <a:xfrm>
            <a:off x="789258" y="6534431"/>
            <a:ext cx="4794455" cy="197170"/>
          </a:xfrm>
          <a:prstGeom prst="rect">
            <a:avLst/>
          </a:prstGeom>
        </p:spPr>
        <p:txBody>
          <a:bodyPr wrap="square">
            <a:spAutoFit/>
          </a:bodyPr>
          <a:lstStyle/>
          <a:p>
            <a:pPr>
              <a:lnSpc>
                <a:spcPct val="120000"/>
              </a:lnSpc>
            </a:pPr>
            <a:r>
              <a:rPr lang="en-US" sz="625" spc="375" dirty="0">
                <a:solidFill>
                  <a:srgbClr val="627597"/>
                </a:solidFill>
                <a:latin typeface="Helvetica" pitchFamily="2" charset="0"/>
                <a:cs typeface="Segoe UI Light" panose="020B0502040204020203" pitchFamily="34" charset="0"/>
              </a:rPr>
              <a:t>ACCELERATING INNOVATION WITH DEVOPS</a:t>
            </a:r>
          </a:p>
        </p:txBody>
      </p:sp>
      <p:sp>
        <p:nvSpPr>
          <p:cNvPr id="5" name="Rectangle 4">
            <a:extLst>
              <a:ext uri="{FF2B5EF4-FFF2-40B4-BE49-F238E27FC236}">
                <a16:creationId xmlns:a16="http://schemas.microsoft.com/office/drawing/2014/main" id="{DE2E1DFE-61BD-AD43-94CE-AE6DD4A62E89}"/>
              </a:ext>
            </a:extLst>
          </p:cNvPr>
          <p:cNvSpPr/>
          <p:nvPr userDrawn="1"/>
        </p:nvSpPr>
        <p:spPr>
          <a:xfrm>
            <a:off x="7266884" y="6534432"/>
            <a:ext cx="4794455" cy="166352"/>
          </a:xfrm>
          <a:prstGeom prst="rect">
            <a:avLst/>
          </a:prstGeom>
        </p:spPr>
        <p:txBody>
          <a:bodyPr wrap="square">
            <a:noAutofit/>
          </a:bodyPr>
          <a:lstStyle/>
          <a:p>
            <a:pPr algn="r">
              <a:lnSpc>
                <a:spcPct val="120000"/>
              </a:lnSpc>
            </a:pPr>
            <a:fld id="{D4F9CC37-649C-A24D-8487-AF6F4FDCA213}" type="slidenum">
              <a:rPr lang="en-US" sz="625" spc="375" smtClean="0">
                <a:solidFill>
                  <a:schemeClr val="bg1"/>
                </a:solidFill>
                <a:latin typeface="Helvetica" pitchFamily="2" charset="0"/>
                <a:cs typeface="Segoe UI Light" panose="020B0502040204020203" pitchFamily="34" charset="0"/>
              </a:rPr>
              <a:t>‹#›</a:t>
            </a:fld>
            <a:endParaRPr lang="en-US" sz="625" spc="375">
              <a:solidFill>
                <a:schemeClr val="bg1"/>
              </a:solidFill>
              <a:latin typeface="Helvetica" pitchFamily="2" charset="0"/>
              <a:cs typeface="Segoe UI Light" panose="020B0502040204020203" pitchFamily="34" charset="0"/>
            </a:endParaRPr>
          </a:p>
        </p:txBody>
      </p:sp>
    </p:spTree>
    <p:extLst>
      <p:ext uri="{BB962C8B-B14F-4D97-AF65-F5344CB8AC3E}">
        <p14:creationId xmlns:p14="http://schemas.microsoft.com/office/powerpoint/2010/main" val="2799043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 uri="{C183D7F6-B498-43B3-948B-1728B52AA6E4}">
                <adec:decorative xmlns:adec="http://schemas.microsoft.com/office/drawing/2017/decorative" val="1"/>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69020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689088908"/>
      </p:ext>
    </p:extLst>
  </p:cSld>
  <p:clrMapOvr>
    <a:masterClrMapping/>
  </p:clrMapOvr>
  <p:transition>
    <p:fade/>
  </p:transition>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652352670"/>
      </p:ext>
    </p:extLst>
  </p:cSld>
  <p:clrMapOvr>
    <a:masterClrMapping/>
  </p:clrMapOvr>
  <p:transition>
    <p:fade/>
  </p:transition>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ide Titl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6416885-A9D7-4D4F-9C3C-B4BD51EAF0A7}"/>
              </a:ext>
              <a:ext uri="{C183D7F6-B498-43B3-948B-1728B52AA6E4}">
                <adec:decorative xmlns:adec="http://schemas.microsoft.com/office/drawing/2017/decorative" val="1"/>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052634996"/>
      </p:ext>
    </p:extLst>
  </p:cSld>
  <p:clrMapOvr>
    <a:masterClrMapping/>
  </p:clrMapOvr>
  <p:transition>
    <p:fade/>
  </p:transition>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30757EC-4FF9-BAEE-7485-141EA7B26578}"/>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2" name="Text Placeholder 5">
            <a:extLst>
              <a:ext uri="{FF2B5EF4-FFF2-40B4-BE49-F238E27FC236}">
                <a16:creationId xmlns:a16="http://schemas.microsoft.com/office/drawing/2014/main" id="{9EB6AC51-93A4-6A91-6E96-7703B47A1ED8}"/>
              </a:ext>
            </a:extLst>
          </p:cNvPr>
          <p:cNvSpPr>
            <a:spLocks noGrp="1"/>
          </p:cNvSpPr>
          <p:nvPr>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cxnSp>
        <p:nvCxnSpPr>
          <p:cNvPr id="689" name="Straight Connector 688">
            <a:extLst>
              <a:ext uri="{FF2B5EF4-FFF2-40B4-BE49-F238E27FC236}">
                <a16:creationId xmlns:a16="http://schemas.microsoft.com/office/drawing/2014/main" id="{5C88CCD2-738A-99E3-B99C-A657A8E7142F}"/>
              </a:ext>
              <a:ext uri="{C183D7F6-B498-43B3-948B-1728B52AA6E4}">
                <adec:decorative xmlns:adec="http://schemas.microsoft.com/office/drawing/2017/decorative" val="1"/>
              </a:ext>
            </a:extLst>
          </p:cNvPr>
          <p:cNvCxnSpPr>
            <a:cxnSpLocks/>
          </p:cNvCxnSpPr>
          <p:nvPr userDrawn="1"/>
        </p:nvCxnSpPr>
        <p:spPr>
          <a:xfrm>
            <a:off x="4313119" y="58578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3" name="Rectangle 692">
            <a:extLst>
              <a:ext uri="{FF2B5EF4-FFF2-40B4-BE49-F238E27FC236}">
                <a16:creationId xmlns:a16="http://schemas.microsoft.com/office/drawing/2014/main" id="{7DC4BF31-42FA-01D2-E6F8-799CB2C035B7}"/>
              </a:ext>
              <a:ext uri="{C183D7F6-B498-43B3-948B-1728B52AA6E4}">
                <adec:decorative xmlns:adec="http://schemas.microsoft.com/office/drawing/2017/decorative" val="1"/>
              </a:ext>
            </a:extLst>
          </p:cNvPr>
          <p:cNvSpPr>
            <a:spLocks/>
          </p:cNvSpPr>
          <p:nvPr userDrawn="1"/>
        </p:nvSpPr>
        <p:spPr bwMode="auto">
          <a:xfrm>
            <a:off x="4313119" y="600075"/>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04" name="Text Placeholder 11">
            <a:extLst>
              <a:ext uri="{FF2B5EF4-FFF2-40B4-BE49-F238E27FC236}">
                <a16:creationId xmlns:a16="http://schemas.microsoft.com/office/drawing/2014/main" id="{4CBC1E11-51F7-4448-E55A-F6A1C32B6487}"/>
              </a:ext>
            </a:extLst>
          </p:cNvPr>
          <p:cNvSpPr>
            <a:spLocks noGrp="1"/>
          </p:cNvSpPr>
          <p:nvPr>
            <p:ph type="body" sz="quarter" idx="31" hasCustomPrompt="1"/>
          </p:nvPr>
        </p:nvSpPr>
        <p:spPr>
          <a:xfrm>
            <a:off x="4375175" y="655063"/>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15" name="Text Placeholder 4">
            <a:extLst>
              <a:ext uri="{FF2B5EF4-FFF2-40B4-BE49-F238E27FC236}">
                <a16:creationId xmlns:a16="http://schemas.microsoft.com/office/drawing/2014/main" id="{87F96F3E-EBCA-3ED7-E02D-C0F75131168D}"/>
              </a:ext>
            </a:extLst>
          </p:cNvPr>
          <p:cNvSpPr>
            <a:spLocks noGrp="1"/>
          </p:cNvSpPr>
          <p:nvPr>
            <p:ph type="body" sz="quarter" idx="15" hasCustomPrompt="1"/>
          </p:nvPr>
        </p:nvSpPr>
        <p:spPr>
          <a:xfrm>
            <a:off x="5638562" y="1028735"/>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28" name="Straight Connector 727">
            <a:extLst>
              <a:ext uri="{FF2B5EF4-FFF2-40B4-BE49-F238E27FC236}">
                <a16:creationId xmlns:a16="http://schemas.microsoft.com/office/drawing/2014/main" id="{33ED4F4D-2ADE-CCA2-7916-0BCADA02FC46}"/>
              </a:ext>
              <a:ext uri="{C183D7F6-B498-43B3-948B-1728B52AA6E4}">
                <adec:decorative xmlns:adec="http://schemas.microsoft.com/office/drawing/2017/decorative" val="1"/>
              </a:ext>
            </a:extLst>
          </p:cNvPr>
          <p:cNvCxnSpPr>
            <a:cxnSpLocks/>
          </p:cNvCxnSpPr>
          <p:nvPr userDrawn="1"/>
        </p:nvCxnSpPr>
        <p:spPr>
          <a:xfrm>
            <a:off x="4313119" y="17526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2" name="Straight Connector 731">
            <a:extLst>
              <a:ext uri="{FF2B5EF4-FFF2-40B4-BE49-F238E27FC236}">
                <a16:creationId xmlns:a16="http://schemas.microsoft.com/office/drawing/2014/main" id="{A5C1DD5B-5D1B-1257-295D-34D79F7E8B21}"/>
              </a:ext>
              <a:ext uri="{C183D7F6-B498-43B3-948B-1728B52AA6E4}">
                <adec:decorative xmlns:adec="http://schemas.microsoft.com/office/drawing/2017/decorative" val="1"/>
              </a:ext>
            </a:extLst>
          </p:cNvPr>
          <p:cNvCxnSpPr>
            <a:cxnSpLocks/>
          </p:cNvCxnSpPr>
          <p:nvPr userDrawn="1"/>
        </p:nvCxnSpPr>
        <p:spPr>
          <a:xfrm>
            <a:off x="8120180" y="585788"/>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38" name="Rectangle 737">
            <a:extLst>
              <a:ext uri="{FF2B5EF4-FFF2-40B4-BE49-F238E27FC236}">
                <a16:creationId xmlns:a16="http://schemas.microsoft.com/office/drawing/2014/main" id="{85BF5E5F-9154-85C7-053A-D439A259701A}"/>
              </a:ext>
              <a:ext uri="{C183D7F6-B498-43B3-948B-1728B52AA6E4}">
                <adec:decorative xmlns:adec="http://schemas.microsoft.com/office/drawing/2017/decorative" val="1"/>
              </a:ext>
            </a:extLst>
          </p:cNvPr>
          <p:cNvSpPr>
            <a:spLocks/>
          </p:cNvSpPr>
          <p:nvPr userDrawn="1"/>
        </p:nvSpPr>
        <p:spPr bwMode="auto">
          <a:xfrm>
            <a:off x="8120180" y="600075"/>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44" name="Text Placeholder 11">
            <a:extLst>
              <a:ext uri="{FF2B5EF4-FFF2-40B4-BE49-F238E27FC236}">
                <a16:creationId xmlns:a16="http://schemas.microsoft.com/office/drawing/2014/main" id="{611FDF39-BACF-F8C6-A07D-020762EBB131}"/>
              </a:ext>
            </a:extLst>
          </p:cNvPr>
          <p:cNvSpPr>
            <a:spLocks noGrp="1"/>
          </p:cNvSpPr>
          <p:nvPr>
            <p:ph type="body" sz="quarter" idx="35" hasCustomPrompt="1"/>
          </p:nvPr>
        </p:nvSpPr>
        <p:spPr>
          <a:xfrm>
            <a:off x="8182236" y="655063"/>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50" name="Text Placeholder 4">
            <a:extLst>
              <a:ext uri="{FF2B5EF4-FFF2-40B4-BE49-F238E27FC236}">
                <a16:creationId xmlns:a16="http://schemas.microsoft.com/office/drawing/2014/main" id="{52A24C90-353A-4C04-2037-F89C454A88CF}"/>
              </a:ext>
            </a:extLst>
          </p:cNvPr>
          <p:cNvSpPr>
            <a:spLocks noGrp="1"/>
          </p:cNvSpPr>
          <p:nvPr>
            <p:ph type="body" sz="quarter" idx="16" hasCustomPrompt="1"/>
          </p:nvPr>
        </p:nvSpPr>
        <p:spPr>
          <a:xfrm>
            <a:off x="9491780" y="1028735"/>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53" name="Straight Connector 752">
            <a:extLst>
              <a:ext uri="{FF2B5EF4-FFF2-40B4-BE49-F238E27FC236}">
                <a16:creationId xmlns:a16="http://schemas.microsoft.com/office/drawing/2014/main" id="{863A4D55-5EA2-29F1-5CCD-9575689482A6}"/>
              </a:ext>
            </a:extLst>
          </p:cNvPr>
          <p:cNvCxnSpPr>
            <a:cxnSpLocks/>
          </p:cNvCxnSpPr>
          <p:nvPr userDrawn="1"/>
        </p:nvCxnSpPr>
        <p:spPr>
          <a:xfrm>
            <a:off x="8120180" y="1752600"/>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9" name="Straight Connector 758">
            <a:extLst>
              <a:ext uri="{FF2B5EF4-FFF2-40B4-BE49-F238E27FC236}">
                <a16:creationId xmlns:a16="http://schemas.microsoft.com/office/drawing/2014/main" id="{D1EDCB5A-273F-3140-1814-EFF708926F3F}"/>
              </a:ext>
              <a:ext uri="{C183D7F6-B498-43B3-948B-1728B52AA6E4}">
                <adec:decorative xmlns:adec="http://schemas.microsoft.com/office/drawing/2017/decorative" val="1"/>
              </a:ext>
            </a:extLst>
          </p:cNvPr>
          <p:cNvCxnSpPr>
            <a:cxnSpLocks/>
          </p:cNvCxnSpPr>
          <p:nvPr userDrawn="1"/>
        </p:nvCxnSpPr>
        <p:spPr>
          <a:xfrm>
            <a:off x="4313119" y="209938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0" name="Rectangle 759">
            <a:extLst>
              <a:ext uri="{FF2B5EF4-FFF2-40B4-BE49-F238E27FC236}">
                <a16:creationId xmlns:a16="http://schemas.microsoft.com/office/drawing/2014/main" id="{3EA891D2-94D2-22C0-7C52-BDB898CC6F64}"/>
              </a:ext>
              <a:ext uri="{C183D7F6-B498-43B3-948B-1728B52AA6E4}">
                <adec:decorative xmlns:adec="http://schemas.microsoft.com/office/drawing/2017/decorative" val="1"/>
              </a:ext>
            </a:extLst>
          </p:cNvPr>
          <p:cNvSpPr>
            <a:spLocks/>
          </p:cNvSpPr>
          <p:nvPr userDrawn="1"/>
        </p:nvSpPr>
        <p:spPr bwMode="auto">
          <a:xfrm>
            <a:off x="4313119" y="2113672"/>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1" name="Text Placeholder 11">
            <a:extLst>
              <a:ext uri="{FF2B5EF4-FFF2-40B4-BE49-F238E27FC236}">
                <a16:creationId xmlns:a16="http://schemas.microsoft.com/office/drawing/2014/main" id="{C77E9F3E-D506-0D96-A685-C32256CCFD82}"/>
              </a:ext>
            </a:extLst>
          </p:cNvPr>
          <p:cNvSpPr>
            <a:spLocks noGrp="1"/>
          </p:cNvSpPr>
          <p:nvPr>
            <p:ph type="body" sz="quarter" idx="40" hasCustomPrompt="1"/>
          </p:nvPr>
        </p:nvSpPr>
        <p:spPr>
          <a:xfrm>
            <a:off x="4375175" y="216866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62" name="Text Placeholder 4">
            <a:extLst>
              <a:ext uri="{FF2B5EF4-FFF2-40B4-BE49-F238E27FC236}">
                <a16:creationId xmlns:a16="http://schemas.microsoft.com/office/drawing/2014/main" id="{C9F181F0-9E8A-E907-4CD1-E81179C0E3DE}"/>
              </a:ext>
            </a:extLst>
          </p:cNvPr>
          <p:cNvSpPr>
            <a:spLocks noGrp="1"/>
          </p:cNvSpPr>
          <p:nvPr>
            <p:ph type="body" sz="quarter" idx="41" hasCustomPrompt="1"/>
          </p:nvPr>
        </p:nvSpPr>
        <p:spPr>
          <a:xfrm>
            <a:off x="5638562" y="254233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63" name="Straight Connector 762">
            <a:extLst>
              <a:ext uri="{FF2B5EF4-FFF2-40B4-BE49-F238E27FC236}">
                <a16:creationId xmlns:a16="http://schemas.microsoft.com/office/drawing/2014/main" id="{7C3FD2F7-709F-25F7-6968-F715C23434E0}"/>
              </a:ext>
              <a:ext uri="{C183D7F6-B498-43B3-948B-1728B52AA6E4}">
                <adec:decorative xmlns:adec="http://schemas.microsoft.com/office/drawing/2017/decorative" val="1"/>
              </a:ext>
            </a:extLst>
          </p:cNvPr>
          <p:cNvCxnSpPr>
            <a:cxnSpLocks/>
          </p:cNvCxnSpPr>
          <p:nvPr userDrawn="1"/>
        </p:nvCxnSpPr>
        <p:spPr>
          <a:xfrm>
            <a:off x="4313119" y="326619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4" name="Straight Connector 763">
            <a:extLst>
              <a:ext uri="{FF2B5EF4-FFF2-40B4-BE49-F238E27FC236}">
                <a16:creationId xmlns:a16="http://schemas.microsoft.com/office/drawing/2014/main" id="{642B8082-79B6-A093-2191-05F5B63E3654}"/>
              </a:ext>
              <a:ext uri="{C183D7F6-B498-43B3-948B-1728B52AA6E4}">
                <adec:decorative xmlns:adec="http://schemas.microsoft.com/office/drawing/2017/decorative" val="1"/>
              </a:ext>
            </a:extLst>
          </p:cNvPr>
          <p:cNvCxnSpPr>
            <a:cxnSpLocks/>
          </p:cNvCxnSpPr>
          <p:nvPr userDrawn="1"/>
        </p:nvCxnSpPr>
        <p:spPr>
          <a:xfrm>
            <a:off x="8120180" y="2099385"/>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5" name="Rectangle 764">
            <a:extLst>
              <a:ext uri="{FF2B5EF4-FFF2-40B4-BE49-F238E27FC236}">
                <a16:creationId xmlns:a16="http://schemas.microsoft.com/office/drawing/2014/main" id="{60A98EA7-9BB2-9A92-C7BF-F813F5E57D9F}"/>
              </a:ext>
              <a:ext uri="{C183D7F6-B498-43B3-948B-1728B52AA6E4}">
                <adec:decorative xmlns:adec="http://schemas.microsoft.com/office/drawing/2017/decorative" val="1"/>
              </a:ext>
            </a:extLst>
          </p:cNvPr>
          <p:cNvSpPr>
            <a:spLocks/>
          </p:cNvSpPr>
          <p:nvPr userDrawn="1"/>
        </p:nvSpPr>
        <p:spPr bwMode="auto">
          <a:xfrm>
            <a:off x="8120180" y="2113672"/>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6" name="Text Placeholder 11">
            <a:extLst>
              <a:ext uri="{FF2B5EF4-FFF2-40B4-BE49-F238E27FC236}">
                <a16:creationId xmlns:a16="http://schemas.microsoft.com/office/drawing/2014/main" id="{D70031C1-D8F1-70C8-89D2-D05CFB23FF93}"/>
              </a:ext>
            </a:extLst>
          </p:cNvPr>
          <p:cNvSpPr>
            <a:spLocks noGrp="1"/>
          </p:cNvSpPr>
          <p:nvPr>
            <p:ph type="body" sz="quarter" idx="42" hasCustomPrompt="1"/>
          </p:nvPr>
        </p:nvSpPr>
        <p:spPr>
          <a:xfrm>
            <a:off x="8182236" y="216866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67" name="Text Placeholder 4">
            <a:extLst>
              <a:ext uri="{FF2B5EF4-FFF2-40B4-BE49-F238E27FC236}">
                <a16:creationId xmlns:a16="http://schemas.microsoft.com/office/drawing/2014/main" id="{E1019028-55C1-B43E-6573-C15BB9FC8404}"/>
              </a:ext>
            </a:extLst>
          </p:cNvPr>
          <p:cNvSpPr>
            <a:spLocks noGrp="1"/>
          </p:cNvSpPr>
          <p:nvPr>
            <p:ph type="body" sz="quarter" idx="43" hasCustomPrompt="1"/>
          </p:nvPr>
        </p:nvSpPr>
        <p:spPr>
          <a:xfrm>
            <a:off x="9491780" y="254233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68" name="Straight Connector 767">
            <a:extLst>
              <a:ext uri="{FF2B5EF4-FFF2-40B4-BE49-F238E27FC236}">
                <a16:creationId xmlns:a16="http://schemas.microsoft.com/office/drawing/2014/main" id="{68905C19-61B6-55AD-BE17-BBB6C1686D33}"/>
              </a:ext>
            </a:extLst>
          </p:cNvPr>
          <p:cNvCxnSpPr>
            <a:cxnSpLocks/>
          </p:cNvCxnSpPr>
          <p:nvPr userDrawn="1"/>
        </p:nvCxnSpPr>
        <p:spPr>
          <a:xfrm>
            <a:off x="8120180" y="3266197"/>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9" name="Straight Connector 768">
            <a:extLst>
              <a:ext uri="{FF2B5EF4-FFF2-40B4-BE49-F238E27FC236}">
                <a16:creationId xmlns:a16="http://schemas.microsoft.com/office/drawing/2014/main" id="{0255DA10-CD99-6BBF-1324-21E41D934F87}"/>
              </a:ext>
              <a:ext uri="{C183D7F6-B498-43B3-948B-1728B52AA6E4}">
                <adec:decorative xmlns:adec="http://schemas.microsoft.com/office/drawing/2017/decorative" val="1"/>
              </a:ext>
            </a:extLst>
          </p:cNvPr>
          <p:cNvCxnSpPr>
            <a:cxnSpLocks/>
          </p:cNvCxnSpPr>
          <p:nvPr userDrawn="1"/>
        </p:nvCxnSpPr>
        <p:spPr>
          <a:xfrm>
            <a:off x="4313119" y="3593966"/>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0" name="Rectangle 769">
            <a:extLst>
              <a:ext uri="{FF2B5EF4-FFF2-40B4-BE49-F238E27FC236}">
                <a16:creationId xmlns:a16="http://schemas.microsoft.com/office/drawing/2014/main" id="{11D5B978-CC9B-EBBE-AA28-F252923B87D3}"/>
              </a:ext>
              <a:ext uri="{C183D7F6-B498-43B3-948B-1728B52AA6E4}">
                <adec:decorative xmlns:adec="http://schemas.microsoft.com/office/drawing/2017/decorative" val="1"/>
              </a:ext>
            </a:extLst>
          </p:cNvPr>
          <p:cNvSpPr>
            <a:spLocks/>
          </p:cNvSpPr>
          <p:nvPr userDrawn="1"/>
        </p:nvSpPr>
        <p:spPr bwMode="auto">
          <a:xfrm>
            <a:off x="4313119" y="3608253"/>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71" name="Text Placeholder 11">
            <a:extLst>
              <a:ext uri="{FF2B5EF4-FFF2-40B4-BE49-F238E27FC236}">
                <a16:creationId xmlns:a16="http://schemas.microsoft.com/office/drawing/2014/main" id="{950574B9-AC5F-8FD0-2DA1-2FC8EAC33D46}"/>
              </a:ext>
            </a:extLst>
          </p:cNvPr>
          <p:cNvSpPr>
            <a:spLocks noGrp="1"/>
          </p:cNvSpPr>
          <p:nvPr>
            <p:ph type="body" sz="quarter" idx="44" hasCustomPrompt="1"/>
          </p:nvPr>
        </p:nvSpPr>
        <p:spPr>
          <a:xfrm>
            <a:off x="4375175" y="3663241"/>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72" name="Text Placeholder 4">
            <a:extLst>
              <a:ext uri="{FF2B5EF4-FFF2-40B4-BE49-F238E27FC236}">
                <a16:creationId xmlns:a16="http://schemas.microsoft.com/office/drawing/2014/main" id="{0B53267C-3E2B-050E-AE2A-157702ACAD7B}"/>
              </a:ext>
            </a:extLst>
          </p:cNvPr>
          <p:cNvSpPr>
            <a:spLocks noGrp="1"/>
          </p:cNvSpPr>
          <p:nvPr>
            <p:ph type="body" sz="quarter" idx="45" hasCustomPrompt="1"/>
          </p:nvPr>
        </p:nvSpPr>
        <p:spPr>
          <a:xfrm>
            <a:off x="5638562" y="4036913"/>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73" name="Straight Connector 772">
            <a:extLst>
              <a:ext uri="{FF2B5EF4-FFF2-40B4-BE49-F238E27FC236}">
                <a16:creationId xmlns:a16="http://schemas.microsoft.com/office/drawing/2014/main" id="{63661157-F64D-1F99-000F-76C049AD76D4}"/>
              </a:ext>
              <a:ext uri="{C183D7F6-B498-43B3-948B-1728B52AA6E4}">
                <adec:decorative xmlns:adec="http://schemas.microsoft.com/office/drawing/2017/decorative" val="1"/>
              </a:ext>
            </a:extLst>
          </p:cNvPr>
          <p:cNvCxnSpPr>
            <a:cxnSpLocks/>
          </p:cNvCxnSpPr>
          <p:nvPr userDrawn="1"/>
        </p:nvCxnSpPr>
        <p:spPr>
          <a:xfrm>
            <a:off x="4313119" y="476077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4" name="Straight Connector 773">
            <a:extLst>
              <a:ext uri="{FF2B5EF4-FFF2-40B4-BE49-F238E27FC236}">
                <a16:creationId xmlns:a16="http://schemas.microsoft.com/office/drawing/2014/main" id="{71F1600E-0A33-94CE-CA69-854D16E5D784}"/>
              </a:ext>
              <a:ext uri="{C183D7F6-B498-43B3-948B-1728B52AA6E4}">
                <adec:decorative xmlns:adec="http://schemas.microsoft.com/office/drawing/2017/decorative" val="1"/>
              </a:ext>
            </a:extLst>
          </p:cNvPr>
          <p:cNvCxnSpPr>
            <a:cxnSpLocks/>
          </p:cNvCxnSpPr>
          <p:nvPr userDrawn="1"/>
        </p:nvCxnSpPr>
        <p:spPr>
          <a:xfrm>
            <a:off x="8120180" y="3593966"/>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5" name="Rectangle 774">
            <a:extLst>
              <a:ext uri="{FF2B5EF4-FFF2-40B4-BE49-F238E27FC236}">
                <a16:creationId xmlns:a16="http://schemas.microsoft.com/office/drawing/2014/main" id="{2E151F19-72C1-458C-054F-A329C9134E1D}"/>
              </a:ext>
              <a:ext uri="{C183D7F6-B498-43B3-948B-1728B52AA6E4}">
                <adec:decorative xmlns:adec="http://schemas.microsoft.com/office/drawing/2017/decorative" val="1"/>
              </a:ext>
            </a:extLst>
          </p:cNvPr>
          <p:cNvSpPr>
            <a:spLocks/>
          </p:cNvSpPr>
          <p:nvPr userDrawn="1"/>
        </p:nvSpPr>
        <p:spPr bwMode="auto">
          <a:xfrm>
            <a:off x="8120180" y="3608253"/>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76" name="Text Placeholder 11">
            <a:extLst>
              <a:ext uri="{FF2B5EF4-FFF2-40B4-BE49-F238E27FC236}">
                <a16:creationId xmlns:a16="http://schemas.microsoft.com/office/drawing/2014/main" id="{C1177BC6-764A-8B5B-25BD-9DF2A2767E12}"/>
              </a:ext>
            </a:extLst>
          </p:cNvPr>
          <p:cNvSpPr>
            <a:spLocks noGrp="1"/>
          </p:cNvSpPr>
          <p:nvPr>
            <p:ph type="body" sz="quarter" idx="46" hasCustomPrompt="1"/>
          </p:nvPr>
        </p:nvSpPr>
        <p:spPr>
          <a:xfrm>
            <a:off x="8182236" y="3663241"/>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77" name="Text Placeholder 4">
            <a:extLst>
              <a:ext uri="{FF2B5EF4-FFF2-40B4-BE49-F238E27FC236}">
                <a16:creationId xmlns:a16="http://schemas.microsoft.com/office/drawing/2014/main" id="{A400C53D-464E-5AA6-CE00-C8906CFDACA0}"/>
              </a:ext>
            </a:extLst>
          </p:cNvPr>
          <p:cNvSpPr>
            <a:spLocks noGrp="1"/>
          </p:cNvSpPr>
          <p:nvPr>
            <p:ph type="body" sz="quarter" idx="47" hasCustomPrompt="1"/>
          </p:nvPr>
        </p:nvSpPr>
        <p:spPr>
          <a:xfrm>
            <a:off x="9491780" y="4036913"/>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78" name="Straight Connector 777">
            <a:extLst>
              <a:ext uri="{FF2B5EF4-FFF2-40B4-BE49-F238E27FC236}">
                <a16:creationId xmlns:a16="http://schemas.microsoft.com/office/drawing/2014/main" id="{E9599700-B04D-B60A-1301-61732888886B}"/>
              </a:ext>
            </a:extLst>
          </p:cNvPr>
          <p:cNvCxnSpPr>
            <a:cxnSpLocks/>
          </p:cNvCxnSpPr>
          <p:nvPr userDrawn="1"/>
        </p:nvCxnSpPr>
        <p:spPr>
          <a:xfrm>
            <a:off x="8120180" y="4760778"/>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9" name="Straight Connector 778">
            <a:extLst>
              <a:ext uri="{FF2B5EF4-FFF2-40B4-BE49-F238E27FC236}">
                <a16:creationId xmlns:a16="http://schemas.microsoft.com/office/drawing/2014/main" id="{C75D9230-6AEB-4AF5-338F-9E73F5FE3903}"/>
              </a:ext>
              <a:ext uri="{C183D7F6-B498-43B3-948B-1728B52AA6E4}">
                <adec:decorative xmlns:adec="http://schemas.microsoft.com/office/drawing/2017/decorative" val="1"/>
              </a:ext>
            </a:extLst>
          </p:cNvPr>
          <p:cNvCxnSpPr>
            <a:cxnSpLocks/>
          </p:cNvCxnSpPr>
          <p:nvPr userDrawn="1"/>
        </p:nvCxnSpPr>
        <p:spPr>
          <a:xfrm>
            <a:off x="4313119" y="509256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0" name="Rectangle 779">
            <a:extLst>
              <a:ext uri="{FF2B5EF4-FFF2-40B4-BE49-F238E27FC236}">
                <a16:creationId xmlns:a16="http://schemas.microsoft.com/office/drawing/2014/main" id="{B12CD67E-FFD7-815B-D38F-ED1404155E75}"/>
              </a:ext>
              <a:ext uri="{C183D7F6-B498-43B3-948B-1728B52AA6E4}">
                <adec:decorative xmlns:adec="http://schemas.microsoft.com/office/drawing/2017/decorative" val="1"/>
              </a:ext>
            </a:extLst>
          </p:cNvPr>
          <p:cNvSpPr>
            <a:spLocks/>
          </p:cNvSpPr>
          <p:nvPr userDrawn="1"/>
        </p:nvSpPr>
        <p:spPr bwMode="auto">
          <a:xfrm>
            <a:off x="4313119" y="5106852"/>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81" name="Text Placeholder 11">
            <a:extLst>
              <a:ext uri="{FF2B5EF4-FFF2-40B4-BE49-F238E27FC236}">
                <a16:creationId xmlns:a16="http://schemas.microsoft.com/office/drawing/2014/main" id="{DDF92944-F088-8BA4-B364-0C233779A8C2}"/>
              </a:ext>
            </a:extLst>
          </p:cNvPr>
          <p:cNvSpPr>
            <a:spLocks noGrp="1"/>
          </p:cNvSpPr>
          <p:nvPr>
            <p:ph type="body" sz="quarter" idx="48" hasCustomPrompt="1"/>
          </p:nvPr>
        </p:nvSpPr>
        <p:spPr>
          <a:xfrm>
            <a:off x="4375175" y="516184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82" name="Text Placeholder 4">
            <a:extLst>
              <a:ext uri="{FF2B5EF4-FFF2-40B4-BE49-F238E27FC236}">
                <a16:creationId xmlns:a16="http://schemas.microsoft.com/office/drawing/2014/main" id="{FE520043-E07A-BED8-A00A-914DB1A09DC6}"/>
              </a:ext>
            </a:extLst>
          </p:cNvPr>
          <p:cNvSpPr>
            <a:spLocks noGrp="1"/>
          </p:cNvSpPr>
          <p:nvPr>
            <p:ph type="body" sz="quarter" idx="49" hasCustomPrompt="1"/>
          </p:nvPr>
        </p:nvSpPr>
        <p:spPr>
          <a:xfrm>
            <a:off x="5638562" y="553551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83" name="Straight Connector 782">
            <a:extLst>
              <a:ext uri="{FF2B5EF4-FFF2-40B4-BE49-F238E27FC236}">
                <a16:creationId xmlns:a16="http://schemas.microsoft.com/office/drawing/2014/main" id="{AA92DE87-56DB-ED3E-F344-FC899DF2FE7B}"/>
              </a:ext>
              <a:ext uri="{C183D7F6-B498-43B3-948B-1728B52AA6E4}">
                <adec:decorative xmlns:adec="http://schemas.microsoft.com/office/drawing/2017/decorative" val="1"/>
              </a:ext>
            </a:extLst>
          </p:cNvPr>
          <p:cNvCxnSpPr>
            <a:cxnSpLocks/>
          </p:cNvCxnSpPr>
          <p:nvPr userDrawn="1"/>
        </p:nvCxnSpPr>
        <p:spPr>
          <a:xfrm>
            <a:off x="4313119" y="625937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4" name="Straight Connector 783">
            <a:extLst>
              <a:ext uri="{FF2B5EF4-FFF2-40B4-BE49-F238E27FC236}">
                <a16:creationId xmlns:a16="http://schemas.microsoft.com/office/drawing/2014/main" id="{BB4E85B0-A346-D759-6D9D-61692356068D}"/>
              </a:ext>
              <a:ext uri="{C183D7F6-B498-43B3-948B-1728B52AA6E4}">
                <adec:decorative xmlns:adec="http://schemas.microsoft.com/office/drawing/2017/decorative" val="1"/>
              </a:ext>
            </a:extLst>
          </p:cNvPr>
          <p:cNvCxnSpPr>
            <a:cxnSpLocks/>
          </p:cNvCxnSpPr>
          <p:nvPr userDrawn="1"/>
        </p:nvCxnSpPr>
        <p:spPr>
          <a:xfrm>
            <a:off x="8120180" y="5092565"/>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5" name="Rectangle 784">
            <a:extLst>
              <a:ext uri="{FF2B5EF4-FFF2-40B4-BE49-F238E27FC236}">
                <a16:creationId xmlns:a16="http://schemas.microsoft.com/office/drawing/2014/main" id="{EFA4232E-9489-90FE-A08D-014A02CC2BD4}"/>
              </a:ext>
              <a:ext uri="{C183D7F6-B498-43B3-948B-1728B52AA6E4}">
                <adec:decorative xmlns:adec="http://schemas.microsoft.com/office/drawing/2017/decorative" val="1"/>
              </a:ext>
            </a:extLst>
          </p:cNvPr>
          <p:cNvSpPr>
            <a:spLocks/>
          </p:cNvSpPr>
          <p:nvPr userDrawn="1"/>
        </p:nvSpPr>
        <p:spPr bwMode="auto">
          <a:xfrm>
            <a:off x="8120180" y="5106852"/>
            <a:ext cx="1125182" cy="11382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86" name="Text Placeholder 11">
            <a:extLst>
              <a:ext uri="{FF2B5EF4-FFF2-40B4-BE49-F238E27FC236}">
                <a16:creationId xmlns:a16="http://schemas.microsoft.com/office/drawing/2014/main" id="{E62E023A-00A4-FE21-F746-CE38767A7BF2}"/>
              </a:ext>
            </a:extLst>
          </p:cNvPr>
          <p:cNvSpPr>
            <a:spLocks noGrp="1"/>
          </p:cNvSpPr>
          <p:nvPr>
            <p:ph type="body" sz="quarter" idx="50" hasCustomPrompt="1"/>
          </p:nvPr>
        </p:nvSpPr>
        <p:spPr>
          <a:xfrm>
            <a:off x="8182236" y="516184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787" name="Text Placeholder 4">
            <a:extLst>
              <a:ext uri="{FF2B5EF4-FFF2-40B4-BE49-F238E27FC236}">
                <a16:creationId xmlns:a16="http://schemas.microsoft.com/office/drawing/2014/main" id="{C15B5C76-8C7B-5514-091F-CC469DB23DC5}"/>
              </a:ext>
            </a:extLst>
          </p:cNvPr>
          <p:cNvSpPr>
            <a:spLocks noGrp="1"/>
          </p:cNvSpPr>
          <p:nvPr>
            <p:ph type="body" sz="quarter" idx="51" hasCustomPrompt="1"/>
          </p:nvPr>
        </p:nvSpPr>
        <p:spPr>
          <a:xfrm>
            <a:off x="9491780" y="553551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788" name="Straight Connector 787">
            <a:extLst>
              <a:ext uri="{FF2B5EF4-FFF2-40B4-BE49-F238E27FC236}">
                <a16:creationId xmlns:a16="http://schemas.microsoft.com/office/drawing/2014/main" id="{AA5CAD46-02DC-2544-3A3C-8378C1F83E85}"/>
              </a:ext>
            </a:extLst>
          </p:cNvPr>
          <p:cNvCxnSpPr>
            <a:cxnSpLocks/>
          </p:cNvCxnSpPr>
          <p:nvPr userDrawn="1"/>
        </p:nvCxnSpPr>
        <p:spPr>
          <a:xfrm>
            <a:off x="8120180" y="6259377"/>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9" name="Footer Placeholder 4">
            <a:extLst>
              <a:ext uri="{FF2B5EF4-FFF2-40B4-BE49-F238E27FC236}">
                <a16:creationId xmlns:a16="http://schemas.microsoft.com/office/drawing/2014/main" id="{E46B1A24-B033-7273-233D-82659F0E920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791" name="Slide Number Placeholder 5">
            <a:extLst>
              <a:ext uri="{FF2B5EF4-FFF2-40B4-BE49-F238E27FC236}">
                <a16:creationId xmlns:a16="http://schemas.microsoft.com/office/drawing/2014/main" id="{D487330E-F640-FA1C-B338-CC4084B06F15}"/>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856694673"/>
      </p:ext>
    </p:extLst>
  </p:cSld>
  <p:clrMapOvr>
    <a:masterClrMapping/>
  </p:clrMapOvr>
  <p:transition>
    <p:fade/>
  </p:transition>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
        <p:nvSpPr>
          <p:cNvPr id="3" name="Footer Placeholder 4">
            <a:extLst>
              <a:ext uri="{FF2B5EF4-FFF2-40B4-BE49-F238E27FC236}">
                <a16:creationId xmlns:a16="http://schemas.microsoft.com/office/drawing/2014/main" id="{640ED799-EE3B-F8CF-D328-F48D5C0556C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5" name="Slide Number Placeholder 5">
            <a:extLst>
              <a:ext uri="{FF2B5EF4-FFF2-40B4-BE49-F238E27FC236}">
                <a16:creationId xmlns:a16="http://schemas.microsoft.com/office/drawing/2014/main" id="{1EB882BB-BD97-1EA1-637C-9A948C922C2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117268578"/>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3847C1FC-C41F-5616-30AC-30E6074B5835}"/>
              </a:ext>
              <a:ext uri="{C183D7F6-B498-43B3-948B-1728B52AA6E4}">
                <adec:decorative xmlns:adec="http://schemas.microsoft.com/office/drawing/2017/decorative" val="1"/>
              </a:ext>
            </a:extLst>
          </p:cNvPr>
          <p:cNvCxnSpPr>
            <a:cxnSpLocks/>
          </p:cNvCxnSpPr>
          <p:nvPr userDrawn="1"/>
        </p:nvCxnSpPr>
        <p:spPr>
          <a:xfrm>
            <a:off x="579319" y="58578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11">
            <a:extLst>
              <a:ext uri="{FF2B5EF4-FFF2-40B4-BE49-F238E27FC236}">
                <a16:creationId xmlns:a16="http://schemas.microsoft.com/office/drawing/2014/main" id="{333CDE31-0DA0-D679-C7C5-F462636D7BCA}"/>
              </a:ext>
            </a:extLst>
          </p:cNvPr>
          <p:cNvSpPr>
            <a:spLocks noGrp="1"/>
          </p:cNvSpPr>
          <p:nvPr>
            <p:ph type="body" sz="quarter" idx="31" hasCustomPrompt="1"/>
          </p:nvPr>
        </p:nvSpPr>
        <p:spPr>
          <a:xfrm>
            <a:off x="579319" y="655063"/>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8" name="Text Placeholder 4">
            <a:extLst>
              <a:ext uri="{FF2B5EF4-FFF2-40B4-BE49-F238E27FC236}">
                <a16:creationId xmlns:a16="http://schemas.microsoft.com/office/drawing/2014/main" id="{CEDF1698-2DDE-D658-011E-DF4C7278721E}"/>
              </a:ext>
            </a:extLst>
          </p:cNvPr>
          <p:cNvSpPr>
            <a:spLocks noGrp="1"/>
          </p:cNvSpPr>
          <p:nvPr>
            <p:ph type="body" sz="quarter" idx="15" hasCustomPrompt="1"/>
          </p:nvPr>
        </p:nvSpPr>
        <p:spPr>
          <a:xfrm>
            <a:off x="1904762" y="1028735"/>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10" name="Straight Connector 9">
            <a:extLst>
              <a:ext uri="{FF2B5EF4-FFF2-40B4-BE49-F238E27FC236}">
                <a16:creationId xmlns:a16="http://schemas.microsoft.com/office/drawing/2014/main" id="{2DBF9DC5-4B6A-7679-E13D-1A11AE732B8E}"/>
              </a:ext>
              <a:ext uri="{C183D7F6-B498-43B3-948B-1728B52AA6E4}">
                <adec:decorative xmlns:adec="http://schemas.microsoft.com/office/drawing/2017/decorative" val="1"/>
              </a:ext>
            </a:extLst>
          </p:cNvPr>
          <p:cNvCxnSpPr>
            <a:cxnSpLocks/>
          </p:cNvCxnSpPr>
          <p:nvPr userDrawn="1"/>
        </p:nvCxnSpPr>
        <p:spPr>
          <a:xfrm>
            <a:off x="579319" y="1752600"/>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32C08F9-EC91-2882-4266-DDDFA5751E15}"/>
              </a:ext>
              <a:ext uri="{C183D7F6-B498-43B3-948B-1728B52AA6E4}">
                <adec:decorative xmlns:adec="http://schemas.microsoft.com/office/drawing/2017/decorative" val="1"/>
              </a:ext>
            </a:extLst>
          </p:cNvPr>
          <p:cNvCxnSpPr>
            <a:cxnSpLocks/>
          </p:cNvCxnSpPr>
          <p:nvPr userDrawn="1"/>
        </p:nvCxnSpPr>
        <p:spPr>
          <a:xfrm>
            <a:off x="4386380" y="585788"/>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 Placeholder 11">
            <a:extLst>
              <a:ext uri="{FF2B5EF4-FFF2-40B4-BE49-F238E27FC236}">
                <a16:creationId xmlns:a16="http://schemas.microsoft.com/office/drawing/2014/main" id="{A60DEA5F-546C-A554-A812-D6EE461A3D64}"/>
              </a:ext>
            </a:extLst>
          </p:cNvPr>
          <p:cNvSpPr>
            <a:spLocks noGrp="1"/>
          </p:cNvSpPr>
          <p:nvPr>
            <p:ph type="body" sz="quarter" idx="35" hasCustomPrompt="1"/>
          </p:nvPr>
        </p:nvSpPr>
        <p:spPr>
          <a:xfrm>
            <a:off x="4386380" y="655063"/>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18" name="Text Placeholder 4">
            <a:extLst>
              <a:ext uri="{FF2B5EF4-FFF2-40B4-BE49-F238E27FC236}">
                <a16:creationId xmlns:a16="http://schemas.microsoft.com/office/drawing/2014/main" id="{9C8EC633-39C2-61C0-DA1F-E37FC58C68E9}"/>
              </a:ext>
            </a:extLst>
          </p:cNvPr>
          <p:cNvSpPr>
            <a:spLocks noGrp="1"/>
          </p:cNvSpPr>
          <p:nvPr>
            <p:ph type="body" sz="quarter" idx="16" hasCustomPrompt="1"/>
          </p:nvPr>
        </p:nvSpPr>
        <p:spPr>
          <a:xfrm>
            <a:off x="5757980" y="1028735"/>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20" name="Straight Connector 19">
            <a:extLst>
              <a:ext uri="{FF2B5EF4-FFF2-40B4-BE49-F238E27FC236}">
                <a16:creationId xmlns:a16="http://schemas.microsoft.com/office/drawing/2014/main" id="{A7B66C5F-0DE2-0E48-B5D4-B7AC09A7EAB6}"/>
              </a:ext>
            </a:extLst>
          </p:cNvPr>
          <p:cNvCxnSpPr>
            <a:cxnSpLocks/>
          </p:cNvCxnSpPr>
          <p:nvPr userDrawn="1"/>
        </p:nvCxnSpPr>
        <p:spPr>
          <a:xfrm>
            <a:off x="4386380" y="1752600"/>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64B11DB-175B-3114-7806-7D2B3A762332}"/>
              </a:ext>
              <a:ext uri="{C183D7F6-B498-43B3-948B-1728B52AA6E4}">
                <adec:decorative xmlns:adec="http://schemas.microsoft.com/office/drawing/2017/decorative" val="1"/>
              </a:ext>
            </a:extLst>
          </p:cNvPr>
          <p:cNvCxnSpPr>
            <a:cxnSpLocks/>
          </p:cNvCxnSpPr>
          <p:nvPr userDrawn="1"/>
        </p:nvCxnSpPr>
        <p:spPr>
          <a:xfrm>
            <a:off x="579319" y="209938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1">
            <a:extLst>
              <a:ext uri="{FF2B5EF4-FFF2-40B4-BE49-F238E27FC236}">
                <a16:creationId xmlns:a16="http://schemas.microsoft.com/office/drawing/2014/main" id="{A287CA74-6042-A468-126C-ED02330AE81F}"/>
              </a:ext>
            </a:extLst>
          </p:cNvPr>
          <p:cNvSpPr>
            <a:spLocks noGrp="1"/>
          </p:cNvSpPr>
          <p:nvPr>
            <p:ph type="body" sz="quarter" idx="40" hasCustomPrompt="1"/>
          </p:nvPr>
        </p:nvSpPr>
        <p:spPr>
          <a:xfrm>
            <a:off x="579319" y="216866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28" name="Text Placeholder 4">
            <a:extLst>
              <a:ext uri="{FF2B5EF4-FFF2-40B4-BE49-F238E27FC236}">
                <a16:creationId xmlns:a16="http://schemas.microsoft.com/office/drawing/2014/main" id="{A081BDE6-8D7C-FFD5-8248-A041B6B0B859}"/>
              </a:ext>
            </a:extLst>
          </p:cNvPr>
          <p:cNvSpPr>
            <a:spLocks noGrp="1"/>
          </p:cNvSpPr>
          <p:nvPr>
            <p:ph type="body" sz="quarter" idx="41" hasCustomPrompt="1"/>
          </p:nvPr>
        </p:nvSpPr>
        <p:spPr>
          <a:xfrm>
            <a:off x="1904762" y="254233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32" name="Straight Connector 31">
            <a:extLst>
              <a:ext uri="{FF2B5EF4-FFF2-40B4-BE49-F238E27FC236}">
                <a16:creationId xmlns:a16="http://schemas.microsoft.com/office/drawing/2014/main" id="{BEC42C6F-14D8-D06B-140A-42A1E3F65151}"/>
              </a:ext>
              <a:ext uri="{C183D7F6-B498-43B3-948B-1728B52AA6E4}">
                <adec:decorative xmlns:adec="http://schemas.microsoft.com/office/drawing/2017/decorative" val="1"/>
              </a:ext>
            </a:extLst>
          </p:cNvPr>
          <p:cNvCxnSpPr>
            <a:cxnSpLocks/>
          </p:cNvCxnSpPr>
          <p:nvPr userDrawn="1"/>
        </p:nvCxnSpPr>
        <p:spPr>
          <a:xfrm>
            <a:off x="579319" y="326619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6B59CF5-909E-79B8-4D64-4C02833408F3}"/>
              </a:ext>
              <a:ext uri="{C183D7F6-B498-43B3-948B-1728B52AA6E4}">
                <adec:decorative xmlns:adec="http://schemas.microsoft.com/office/drawing/2017/decorative" val="1"/>
              </a:ext>
            </a:extLst>
          </p:cNvPr>
          <p:cNvCxnSpPr>
            <a:cxnSpLocks/>
          </p:cNvCxnSpPr>
          <p:nvPr userDrawn="1"/>
        </p:nvCxnSpPr>
        <p:spPr>
          <a:xfrm>
            <a:off x="4386380" y="2099385"/>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Text Placeholder 11">
            <a:extLst>
              <a:ext uri="{FF2B5EF4-FFF2-40B4-BE49-F238E27FC236}">
                <a16:creationId xmlns:a16="http://schemas.microsoft.com/office/drawing/2014/main" id="{008D21C6-4CD5-1E56-CB17-4F17E5F210DF}"/>
              </a:ext>
            </a:extLst>
          </p:cNvPr>
          <p:cNvSpPr>
            <a:spLocks noGrp="1"/>
          </p:cNvSpPr>
          <p:nvPr>
            <p:ph type="body" sz="quarter" idx="42" hasCustomPrompt="1"/>
          </p:nvPr>
        </p:nvSpPr>
        <p:spPr>
          <a:xfrm>
            <a:off x="4386380" y="216866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50" name="Text Placeholder 4">
            <a:extLst>
              <a:ext uri="{FF2B5EF4-FFF2-40B4-BE49-F238E27FC236}">
                <a16:creationId xmlns:a16="http://schemas.microsoft.com/office/drawing/2014/main" id="{00C38BDA-CC4E-B63A-6F64-6E9A87E2EB1E}"/>
              </a:ext>
            </a:extLst>
          </p:cNvPr>
          <p:cNvSpPr>
            <a:spLocks noGrp="1"/>
          </p:cNvSpPr>
          <p:nvPr>
            <p:ph type="body" sz="quarter" idx="43" hasCustomPrompt="1"/>
          </p:nvPr>
        </p:nvSpPr>
        <p:spPr>
          <a:xfrm>
            <a:off x="5757980" y="254233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51" name="Straight Connector 50">
            <a:extLst>
              <a:ext uri="{FF2B5EF4-FFF2-40B4-BE49-F238E27FC236}">
                <a16:creationId xmlns:a16="http://schemas.microsoft.com/office/drawing/2014/main" id="{37E194DE-244A-6752-AF70-D22D524DE291}"/>
              </a:ext>
            </a:extLst>
          </p:cNvPr>
          <p:cNvCxnSpPr>
            <a:cxnSpLocks/>
          </p:cNvCxnSpPr>
          <p:nvPr userDrawn="1"/>
        </p:nvCxnSpPr>
        <p:spPr>
          <a:xfrm>
            <a:off x="4386380" y="3266197"/>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05F3348-ABBF-3898-C521-F1ABB80296B5}"/>
              </a:ext>
              <a:ext uri="{C183D7F6-B498-43B3-948B-1728B52AA6E4}">
                <adec:decorative xmlns:adec="http://schemas.microsoft.com/office/drawing/2017/decorative" val="1"/>
              </a:ext>
            </a:extLst>
          </p:cNvPr>
          <p:cNvCxnSpPr>
            <a:cxnSpLocks/>
          </p:cNvCxnSpPr>
          <p:nvPr userDrawn="1"/>
        </p:nvCxnSpPr>
        <p:spPr>
          <a:xfrm>
            <a:off x="579319" y="3593966"/>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Text Placeholder 11">
            <a:extLst>
              <a:ext uri="{FF2B5EF4-FFF2-40B4-BE49-F238E27FC236}">
                <a16:creationId xmlns:a16="http://schemas.microsoft.com/office/drawing/2014/main" id="{83495F03-7248-CAAE-49FE-C76AF4126377}"/>
              </a:ext>
            </a:extLst>
          </p:cNvPr>
          <p:cNvSpPr>
            <a:spLocks noGrp="1"/>
          </p:cNvSpPr>
          <p:nvPr>
            <p:ph type="body" sz="quarter" idx="44" hasCustomPrompt="1"/>
          </p:nvPr>
        </p:nvSpPr>
        <p:spPr>
          <a:xfrm>
            <a:off x="579319" y="3663241"/>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55" name="Text Placeholder 4">
            <a:extLst>
              <a:ext uri="{FF2B5EF4-FFF2-40B4-BE49-F238E27FC236}">
                <a16:creationId xmlns:a16="http://schemas.microsoft.com/office/drawing/2014/main" id="{0ED52B79-C2CD-DBAB-4A8E-88CA0D7EB7A1}"/>
              </a:ext>
            </a:extLst>
          </p:cNvPr>
          <p:cNvSpPr>
            <a:spLocks noGrp="1"/>
          </p:cNvSpPr>
          <p:nvPr>
            <p:ph type="body" sz="quarter" idx="45" hasCustomPrompt="1"/>
          </p:nvPr>
        </p:nvSpPr>
        <p:spPr>
          <a:xfrm>
            <a:off x="1904762" y="4036913"/>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56" name="Straight Connector 55">
            <a:extLst>
              <a:ext uri="{FF2B5EF4-FFF2-40B4-BE49-F238E27FC236}">
                <a16:creationId xmlns:a16="http://schemas.microsoft.com/office/drawing/2014/main" id="{B3DEB32C-BBEE-2B75-2D4A-A0C2340E8AAF}"/>
              </a:ext>
              <a:ext uri="{C183D7F6-B498-43B3-948B-1728B52AA6E4}">
                <adec:decorative xmlns:adec="http://schemas.microsoft.com/office/drawing/2017/decorative" val="1"/>
              </a:ext>
            </a:extLst>
          </p:cNvPr>
          <p:cNvCxnSpPr>
            <a:cxnSpLocks/>
          </p:cNvCxnSpPr>
          <p:nvPr userDrawn="1"/>
        </p:nvCxnSpPr>
        <p:spPr>
          <a:xfrm>
            <a:off x="579319" y="4760778"/>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AB2165A-076A-BAD0-6ADC-7C67E324E7BA}"/>
              </a:ext>
              <a:ext uri="{C183D7F6-B498-43B3-948B-1728B52AA6E4}">
                <adec:decorative xmlns:adec="http://schemas.microsoft.com/office/drawing/2017/decorative" val="1"/>
              </a:ext>
            </a:extLst>
          </p:cNvPr>
          <p:cNvCxnSpPr>
            <a:cxnSpLocks/>
          </p:cNvCxnSpPr>
          <p:nvPr userDrawn="1"/>
        </p:nvCxnSpPr>
        <p:spPr>
          <a:xfrm>
            <a:off x="4386380" y="3593966"/>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 Placeholder 11">
            <a:extLst>
              <a:ext uri="{FF2B5EF4-FFF2-40B4-BE49-F238E27FC236}">
                <a16:creationId xmlns:a16="http://schemas.microsoft.com/office/drawing/2014/main" id="{E0D7590D-780F-4728-0A9C-6B188933B553}"/>
              </a:ext>
            </a:extLst>
          </p:cNvPr>
          <p:cNvSpPr>
            <a:spLocks noGrp="1"/>
          </p:cNvSpPr>
          <p:nvPr>
            <p:ph type="body" sz="quarter" idx="46" hasCustomPrompt="1"/>
          </p:nvPr>
        </p:nvSpPr>
        <p:spPr>
          <a:xfrm>
            <a:off x="4386380" y="3663241"/>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60" name="Text Placeholder 4">
            <a:extLst>
              <a:ext uri="{FF2B5EF4-FFF2-40B4-BE49-F238E27FC236}">
                <a16:creationId xmlns:a16="http://schemas.microsoft.com/office/drawing/2014/main" id="{9CFBB907-6081-CC2B-580A-DDA2BC7001CB}"/>
              </a:ext>
            </a:extLst>
          </p:cNvPr>
          <p:cNvSpPr>
            <a:spLocks noGrp="1"/>
          </p:cNvSpPr>
          <p:nvPr>
            <p:ph type="body" sz="quarter" idx="47" hasCustomPrompt="1"/>
          </p:nvPr>
        </p:nvSpPr>
        <p:spPr>
          <a:xfrm>
            <a:off x="5757980" y="4036913"/>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61" name="Straight Connector 60">
            <a:extLst>
              <a:ext uri="{FF2B5EF4-FFF2-40B4-BE49-F238E27FC236}">
                <a16:creationId xmlns:a16="http://schemas.microsoft.com/office/drawing/2014/main" id="{15461FEA-414A-3C2B-C09C-C75C443CF174}"/>
              </a:ext>
            </a:extLst>
          </p:cNvPr>
          <p:cNvCxnSpPr>
            <a:cxnSpLocks/>
          </p:cNvCxnSpPr>
          <p:nvPr userDrawn="1"/>
        </p:nvCxnSpPr>
        <p:spPr>
          <a:xfrm>
            <a:off x="4386380" y="4760778"/>
            <a:ext cx="3495439"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257409B-86D6-3FE6-8F2D-F3BEBFE56887}"/>
              </a:ext>
              <a:ext uri="{C183D7F6-B498-43B3-948B-1728B52AA6E4}">
                <adec:decorative xmlns:adec="http://schemas.microsoft.com/office/drawing/2017/decorative" val="1"/>
              </a:ext>
            </a:extLst>
          </p:cNvPr>
          <p:cNvCxnSpPr>
            <a:cxnSpLocks/>
          </p:cNvCxnSpPr>
          <p:nvPr userDrawn="1"/>
        </p:nvCxnSpPr>
        <p:spPr>
          <a:xfrm>
            <a:off x="579319" y="5092565"/>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4" name="Text Placeholder 11">
            <a:extLst>
              <a:ext uri="{FF2B5EF4-FFF2-40B4-BE49-F238E27FC236}">
                <a16:creationId xmlns:a16="http://schemas.microsoft.com/office/drawing/2014/main" id="{B8805886-66B4-8DC6-FD32-1C2CD23967EF}"/>
              </a:ext>
            </a:extLst>
          </p:cNvPr>
          <p:cNvSpPr>
            <a:spLocks noGrp="1"/>
          </p:cNvSpPr>
          <p:nvPr>
            <p:ph type="body" sz="quarter" idx="48" hasCustomPrompt="1"/>
          </p:nvPr>
        </p:nvSpPr>
        <p:spPr>
          <a:xfrm>
            <a:off x="579319" y="5161840"/>
            <a:ext cx="1033941" cy="1015663"/>
          </a:xfrm>
        </p:spPr>
        <p:txBody>
          <a:bodyPr/>
          <a:lstStyle>
            <a:lvl1pPr marL="0" indent="0" algn="ctr">
              <a:buNone/>
              <a:defRPr lang="en-US" sz="6600" b="0" kern="1200" cap="none" spc="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00</a:t>
            </a:r>
          </a:p>
        </p:txBody>
      </p:sp>
      <p:sp>
        <p:nvSpPr>
          <p:cNvPr id="65" name="Text Placeholder 4">
            <a:extLst>
              <a:ext uri="{FF2B5EF4-FFF2-40B4-BE49-F238E27FC236}">
                <a16:creationId xmlns:a16="http://schemas.microsoft.com/office/drawing/2014/main" id="{E2B1CBC8-5D22-E8DE-98D8-768CD45294D8}"/>
              </a:ext>
            </a:extLst>
          </p:cNvPr>
          <p:cNvSpPr>
            <a:spLocks noGrp="1"/>
          </p:cNvSpPr>
          <p:nvPr>
            <p:ph type="body" sz="quarter" idx="49" hasCustomPrompt="1"/>
          </p:nvPr>
        </p:nvSpPr>
        <p:spPr>
          <a:xfrm>
            <a:off x="1904762" y="5535512"/>
            <a:ext cx="1702558" cy="280917"/>
          </a:xfrm>
          <a:noFill/>
        </p:spPr>
        <p:txBody>
          <a:bodyPr wrap="square" lIns="0" tIns="0" rIns="0" bIns="0">
            <a:no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Insert text here.</a:t>
            </a:r>
          </a:p>
        </p:txBody>
      </p:sp>
      <p:cxnSp>
        <p:nvCxnSpPr>
          <p:cNvPr id="66" name="Straight Connector 65">
            <a:extLst>
              <a:ext uri="{FF2B5EF4-FFF2-40B4-BE49-F238E27FC236}">
                <a16:creationId xmlns:a16="http://schemas.microsoft.com/office/drawing/2014/main" id="{B664030E-9C34-4181-5FB5-47122367896F}"/>
              </a:ext>
              <a:ext uri="{C183D7F6-B498-43B3-948B-1728B52AA6E4}">
                <adec:decorative xmlns:adec="http://schemas.microsoft.com/office/drawing/2017/decorative" val="1"/>
              </a:ext>
            </a:extLst>
          </p:cNvPr>
          <p:cNvCxnSpPr>
            <a:cxnSpLocks/>
          </p:cNvCxnSpPr>
          <p:nvPr userDrawn="1"/>
        </p:nvCxnSpPr>
        <p:spPr>
          <a:xfrm>
            <a:off x="579319" y="6259377"/>
            <a:ext cx="3606800"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Footer Placeholder 4">
            <a:extLst>
              <a:ext uri="{FF2B5EF4-FFF2-40B4-BE49-F238E27FC236}">
                <a16:creationId xmlns:a16="http://schemas.microsoft.com/office/drawing/2014/main" id="{538DF203-B783-E76C-44F0-6764EC4C47C3}"/>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74" name="Slide Number Placeholder 5">
            <a:extLst>
              <a:ext uri="{FF2B5EF4-FFF2-40B4-BE49-F238E27FC236}">
                <a16:creationId xmlns:a16="http://schemas.microsoft.com/office/drawing/2014/main" id="{BEDB77B4-A2A7-EFB2-8BB4-3DDDD744FE99}"/>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763957945"/>
      </p:ext>
    </p:extLst>
  </p:cSld>
  <p:clrMapOvr>
    <a:masterClrMapping/>
  </p:clrMapOvr>
  <p:transition>
    <p:fade/>
  </p:transition>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_Subtitle_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753000900"/>
      </p:ext>
    </p:extLst>
  </p:cSld>
  <p:clrMapOvr>
    <a:masterClrMapping/>
  </p:clrMapOvr>
  <p:transition>
    <p:fade/>
  </p:transition>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_Subtitle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434080"/>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54" name="Text Placeholder 4">
            <a:extLst>
              <a:ext uri="{FF2B5EF4-FFF2-40B4-BE49-F238E27FC236}">
                <a16:creationId xmlns:a16="http://schemas.microsoft.com/office/drawing/2014/main" id="{73C30779-5B33-B64E-A12E-25D5F3B74CDD}"/>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cxnSp>
        <p:nvCxnSpPr>
          <p:cNvPr id="3" name="Straight Connector 2">
            <a:extLst>
              <a:ext uri="{FF2B5EF4-FFF2-40B4-BE49-F238E27FC236}">
                <a16:creationId xmlns:a16="http://schemas.microsoft.com/office/drawing/2014/main" id="{421C2FC3-E073-E03A-FCB1-7C5F9DD850A6}"/>
              </a:ext>
            </a:extLst>
          </p:cNvPr>
          <p:cNvCxnSpPr>
            <a:cxnSpLocks/>
          </p:cNvCxnSpPr>
          <p:nvPr userDrawn="1"/>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9" name="Text Placeholder 4">
            <a:extLst>
              <a:ext uri="{FF2B5EF4-FFF2-40B4-BE49-F238E27FC236}">
                <a16:creationId xmlns:a16="http://schemas.microsoft.com/office/drawing/2014/main" id="{03D721EB-8CCA-A75D-E82D-6CE58486DF42}"/>
              </a:ext>
            </a:extLst>
          </p:cNvPr>
          <p:cNvSpPr>
            <a:spLocks noGrp="1"/>
          </p:cNvSpPr>
          <p:nvPr>
            <p:ph type="body" sz="quarter" idx="16" hasCustomPrompt="1"/>
          </p:nvPr>
        </p:nvSpPr>
        <p:spPr>
          <a:xfrm>
            <a:off x="6136944" y="8381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66" name="Text Placeholder 4">
            <a:extLst>
              <a:ext uri="{FF2B5EF4-FFF2-40B4-BE49-F238E27FC236}">
                <a16:creationId xmlns:a16="http://schemas.microsoft.com/office/drawing/2014/main" id="{9F1CB257-5DED-B7F1-E259-3B69A1813B64}"/>
              </a:ext>
            </a:extLst>
          </p:cNvPr>
          <p:cNvSpPr>
            <a:spLocks noGrp="1"/>
          </p:cNvSpPr>
          <p:nvPr>
            <p:ph type="body" sz="quarter" idx="15" hasCustomPrompt="1"/>
          </p:nvPr>
        </p:nvSpPr>
        <p:spPr>
          <a:xfrm>
            <a:off x="8001000" y="8382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73" name="Straight Connector 72">
            <a:extLst>
              <a:ext uri="{FF2B5EF4-FFF2-40B4-BE49-F238E27FC236}">
                <a16:creationId xmlns:a16="http://schemas.microsoft.com/office/drawing/2014/main" id="{14C0B115-E908-84C5-69F3-1090E49D1C0D}"/>
              </a:ext>
            </a:extLst>
          </p:cNvPr>
          <p:cNvCxnSpPr>
            <a:cxnSpLocks/>
          </p:cNvCxnSpPr>
          <p:nvPr userDrawn="1"/>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9A1CF40E-582F-BE60-610A-D4988884B76A}"/>
              </a:ext>
            </a:extLst>
          </p:cNvPr>
          <p:cNvCxnSpPr>
            <a:cxnSpLocks/>
          </p:cNvCxnSpPr>
          <p:nvPr userDrawn="1"/>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8" name="Text Placeholder 4">
            <a:extLst>
              <a:ext uri="{FF2B5EF4-FFF2-40B4-BE49-F238E27FC236}">
                <a16:creationId xmlns:a16="http://schemas.microsoft.com/office/drawing/2014/main" id="{1906F961-4318-DA45-C005-C3F2E5480748}"/>
              </a:ext>
            </a:extLst>
          </p:cNvPr>
          <p:cNvSpPr>
            <a:spLocks noGrp="1"/>
          </p:cNvSpPr>
          <p:nvPr>
            <p:ph type="body" sz="quarter" idx="14" hasCustomPrompt="1"/>
          </p:nvPr>
        </p:nvSpPr>
        <p:spPr>
          <a:xfrm>
            <a:off x="6136944" y="2314727"/>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144" name="Text Placeholder 4">
            <a:extLst>
              <a:ext uri="{FF2B5EF4-FFF2-40B4-BE49-F238E27FC236}">
                <a16:creationId xmlns:a16="http://schemas.microsoft.com/office/drawing/2014/main" id="{D64AB251-63CE-FE91-1F9D-D1313EBF9A57}"/>
              </a:ext>
            </a:extLst>
          </p:cNvPr>
          <p:cNvSpPr>
            <a:spLocks noGrp="1"/>
          </p:cNvSpPr>
          <p:nvPr>
            <p:ph type="body" sz="quarter" idx="13" hasCustomPrompt="1"/>
          </p:nvPr>
        </p:nvSpPr>
        <p:spPr>
          <a:xfrm>
            <a:off x="8001000" y="2314728"/>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151" name="Straight Connector 150">
            <a:extLst>
              <a:ext uri="{FF2B5EF4-FFF2-40B4-BE49-F238E27FC236}">
                <a16:creationId xmlns:a16="http://schemas.microsoft.com/office/drawing/2014/main" id="{8FEF65AA-B23A-1F25-6DC4-95CA521F6630}"/>
              </a:ext>
            </a:extLst>
          </p:cNvPr>
          <p:cNvCxnSpPr>
            <a:cxnSpLocks/>
          </p:cNvCxnSpPr>
          <p:nvPr userDrawn="1"/>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2EB12E3-176F-4AAE-30C1-368EC28C1753}"/>
              </a:ext>
            </a:extLst>
          </p:cNvPr>
          <p:cNvCxnSpPr>
            <a:cxnSpLocks/>
          </p:cNvCxnSpPr>
          <p:nvPr userDrawn="1"/>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6" name="Text Placeholder 4">
            <a:extLst>
              <a:ext uri="{FF2B5EF4-FFF2-40B4-BE49-F238E27FC236}">
                <a16:creationId xmlns:a16="http://schemas.microsoft.com/office/drawing/2014/main" id="{5FA6B0CC-212A-899A-66B7-183BB8471CA6}"/>
              </a:ext>
            </a:extLst>
          </p:cNvPr>
          <p:cNvSpPr>
            <a:spLocks noGrp="1"/>
          </p:cNvSpPr>
          <p:nvPr>
            <p:ph type="body" sz="quarter" idx="18" hasCustomPrompt="1"/>
          </p:nvPr>
        </p:nvSpPr>
        <p:spPr>
          <a:xfrm>
            <a:off x="6136944" y="38099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184" name="Text Placeholder 4">
            <a:extLst>
              <a:ext uri="{FF2B5EF4-FFF2-40B4-BE49-F238E27FC236}">
                <a16:creationId xmlns:a16="http://schemas.microsoft.com/office/drawing/2014/main" id="{67D787A3-5018-A0B1-85CE-051E35380197}"/>
              </a:ext>
            </a:extLst>
          </p:cNvPr>
          <p:cNvSpPr>
            <a:spLocks noGrp="1"/>
          </p:cNvSpPr>
          <p:nvPr>
            <p:ph type="body" sz="quarter" idx="17" hasCustomPrompt="1"/>
          </p:nvPr>
        </p:nvSpPr>
        <p:spPr>
          <a:xfrm>
            <a:off x="8001000" y="38100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189" name="Straight Connector 188">
            <a:extLst>
              <a:ext uri="{FF2B5EF4-FFF2-40B4-BE49-F238E27FC236}">
                <a16:creationId xmlns:a16="http://schemas.microsoft.com/office/drawing/2014/main" id="{C79F9354-D44E-CF09-5164-54530F64B749}"/>
              </a:ext>
            </a:extLst>
          </p:cNvPr>
          <p:cNvCxnSpPr>
            <a:cxnSpLocks/>
          </p:cNvCxnSpPr>
          <p:nvPr userDrawn="1"/>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7C47FB62-C820-454D-25B1-A192805D0274}"/>
              </a:ext>
            </a:extLst>
          </p:cNvPr>
          <p:cNvCxnSpPr>
            <a:cxnSpLocks/>
          </p:cNvCxnSpPr>
          <p:nvPr userDrawn="1"/>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4" name="Text Placeholder 4">
            <a:extLst>
              <a:ext uri="{FF2B5EF4-FFF2-40B4-BE49-F238E27FC236}">
                <a16:creationId xmlns:a16="http://schemas.microsoft.com/office/drawing/2014/main" id="{BB47AD9E-64D3-26C3-25B4-57EB29ED819F}"/>
              </a:ext>
            </a:extLst>
          </p:cNvPr>
          <p:cNvSpPr>
            <a:spLocks noGrp="1"/>
          </p:cNvSpPr>
          <p:nvPr>
            <p:ph type="body" sz="quarter" idx="20" hasCustomPrompt="1"/>
          </p:nvPr>
        </p:nvSpPr>
        <p:spPr>
          <a:xfrm>
            <a:off x="6136944" y="5257799"/>
            <a:ext cx="1749756"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208" name="Text Placeholder 4">
            <a:extLst>
              <a:ext uri="{FF2B5EF4-FFF2-40B4-BE49-F238E27FC236}">
                <a16:creationId xmlns:a16="http://schemas.microsoft.com/office/drawing/2014/main" id="{7F6D284F-84DA-43E1-B76B-8AC342237B6E}"/>
              </a:ext>
            </a:extLst>
          </p:cNvPr>
          <p:cNvSpPr>
            <a:spLocks noGrp="1"/>
          </p:cNvSpPr>
          <p:nvPr>
            <p:ph type="body" sz="quarter" idx="19" hasCustomPrompt="1"/>
          </p:nvPr>
        </p:nvSpPr>
        <p:spPr>
          <a:xfrm>
            <a:off x="8001000" y="52578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211" name="Straight Connector 210">
            <a:extLst>
              <a:ext uri="{FF2B5EF4-FFF2-40B4-BE49-F238E27FC236}">
                <a16:creationId xmlns:a16="http://schemas.microsoft.com/office/drawing/2014/main" id="{7A62F9B7-264B-0F0D-8A8B-6C0DA8028FA3}"/>
              </a:ext>
            </a:extLst>
          </p:cNvPr>
          <p:cNvCxnSpPr>
            <a:cxnSpLocks/>
          </p:cNvCxnSpPr>
          <p:nvPr userDrawn="1"/>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4" name="Footer Placeholder 4">
            <a:extLst>
              <a:ext uri="{FF2B5EF4-FFF2-40B4-BE49-F238E27FC236}">
                <a16:creationId xmlns:a16="http://schemas.microsoft.com/office/drawing/2014/main" id="{5A325753-36E2-9380-438C-C25FDC8855F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216" name="Slide Number Placeholder 5">
            <a:extLst>
              <a:ext uri="{FF2B5EF4-FFF2-40B4-BE49-F238E27FC236}">
                <a16:creationId xmlns:a16="http://schemas.microsoft.com/office/drawing/2014/main" id="{3908357C-7151-A37D-6AF5-17F5354AC35A}"/>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503739841"/>
      </p:ext>
    </p:extLst>
  </p:cSld>
  <p:clrMapOvr>
    <a:masterClrMapping/>
  </p:clrMapOvr>
  <p:transition>
    <p:fade/>
  </p:transition>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_Subtitle_Content_Larg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3615519" cy="1898104"/>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7A1D12C3-3B5B-044C-A548-FEDB9E5D4028}"/>
              </a:ext>
            </a:extLst>
          </p:cNvPr>
          <p:cNvSpPr>
            <a:spLocks noGrp="1"/>
          </p:cNvSpPr>
          <p:nvPr>
            <p:ph type="body" sz="quarter" idx="12" hasCustomPrompt="1"/>
          </p:nvPr>
        </p:nvSpPr>
        <p:spPr>
          <a:xfrm>
            <a:off x="584201" y="2833345"/>
            <a:ext cx="3606799"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grpSp>
        <p:nvGrpSpPr>
          <p:cNvPr id="4" name="Group 3">
            <a:extLst>
              <a:ext uri="{FF2B5EF4-FFF2-40B4-BE49-F238E27FC236}">
                <a16:creationId xmlns:a16="http://schemas.microsoft.com/office/drawing/2014/main" id="{35C22904-21AE-5C4D-3967-31B0B7317CDF}"/>
              </a:ext>
            </a:extLst>
          </p:cNvPr>
          <p:cNvGrpSpPr/>
          <p:nvPr userDrawn="1"/>
        </p:nvGrpSpPr>
        <p:grpSpPr>
          <a:xfrm>
            <a:off x="4305300" y="585968"/>
            <a:ext cx="7315200" cy="5687403"/>
            <a:chOff x="4392612" y="585968"/>
            <a:chExt cx="5475288" cy="5687403"/>
          </a:xfrm>
        </p:grpSpPr>
        <p:cxnSp>
          <p:nvCxnSpPr>
            <p:cNvPr id="5" name="Straight Connector 4">
              <a:extLst>
                <a:ext uri="{FF2B5EF4-FFF2-40B4-BE49-F238E27FC236}">
                  <a16:creationId xmlns:a16="http://schemas.microsoft.com/office/drawing/2014/main" id="{609A214F-1196-67FD-110E-097BE9964853}"/>
                </a:ext>
              </a:extLst>
            </p:cNvPr>
            <p:cNvCxnSpPr>
              <a:cxnSpLocks/>
            </p:cNvCxnSpPr>
            <p:nvPr/>
          </p:nvCxnSpPr>
          <p:spPr>
            <a:xfrm>
              <a:off x="4392612"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490DB22-AA8F-1D3A-925C-30F9ABD15359}"/>
                </a:ext>
              </a:extLst>
            </p:cNvPr>
            <p:cNvCxnSpPr>
              <a:cxnSpLocks/>
            </p:cNvCxnSpPr>
            <p:nvPr/>
          </p:nvCxnSpPr>
          <p:spPr>
            <a:xfrm>
              <a:off x="4392612"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6002EAC-C63B-84B8-8A43-BF14281E491F}"/>
                </a:ext>
              </a:extLst>
            </p:cNvPr>
            <p:cNvCxnSpPr>
              <a:cxnSpLocks/>
            </p:cNvCxnSpPr>
            <p:nvPr/>
          </p:nvCxnSpPr>
          <p:spPr>
            <a:xfrm>
              <a:off x="4392612"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DD2799F-D37D-58A2-012F-1DF4F9084428}"/>
                </a:ext>
              </a:extLst>
            </p:cNvPr>
            <p:cNvCxnSpPr>
              <a:cxnSpLocks/>
            </p:cNvCxnSpPr>
            <p:nvPr/>
          </p:nvCxnSpPr>
          <p:spPr>
            <a:xfrm>
              <a:off x="4392612"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3FABE6E-2E56-DCD9-83CA-1D9E346DEEC1}"/>
                </a:ext>
              </a:extLst>
            </p:cNvPr>
            <p:cNvCxnSpPr>
              <a:cxnSpLocks/>
            </p:cNvCxnSpPr>
            <p:nvPr/>
          </p:nvCxnSpPr>
          <p:spPr>
            <a:xfrm>
              <a:off x="4392612"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3AF0AD3-8BA5-FD4C-28CC-DFCC8F26D667}"/>
                </a:ext>
              </a:extLst>
            </p:cNvPr>
            <p:cNvCxnSpPr>
              <a:cxnSpLocks/>
            </p:cNvCxnSpPr>
            <p:nvPr/>
          </p:nvCxnSpPr>
          <p:spPr>
            <a:xfrm>
              <a:off x="4392612"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6C4771A-09F5-A855-3B74-4DEF34EF055E}"/>
                </a:ext>
              </a:extLst>
            </p:cNvPr>
            <p:cNvCxnSpPr>
              <a:cxnSpLocks/>
            </p:cNvCxnSpPr>
            <p:nvPr/>
          </p:nvCxnSpPr>
          <p:spPr>
            <a:xfrm>
              <a:off x="4392612"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3C02AFF-DD03-D985-36D2-36D32E0BA1B9}"/>
                </a:ext>
              </a:extLst>
            </p:cNvPr>
            <p:cNvCxnSpPr>
              <a:cxnSpLocks/>
            </p:cNvCxnSpPr>
            <p:nvPr/>
          </p:nvCxnSpPr>
          <p:spPr>
            <a:xfrm>
              <a:off x="4392612"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Text Placeholder 4">
            <a:extLst>
              <a:ext uri="{FF2B5EF4-FFF2-40B4-BE49-F238E27FC236}">
                <a16:creationId xmlns:a16="http://schemas.microsoft.com/office/drawing/2014/main" id="{21F6C640-4378-0726-F8A2-F87A4D79BC35}"/>
              </a:ext>
            </a:extLst>
          </p:cNvPr>
          <p:cNvSpPr>
            <a:spLocks noGrp="1"/>
          </p:cNvSpPr>
          <p:nvPr>
            <p:ph type="body" sz="quarter" idx="16" hasCustomPrompt="1"/>
          </p:nvPr>
        </p:nvSpPr>
        <p:spPr>
          <a:xfrm>
            <a:off x="4305300" y="8381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54" name="Text Placeholder 4">
            <a:extLst>
              <a:ext uri="{FF2B5EF4-FFF2-40B4-BE49-F238E27FC236}">
                <a16:creationId xmlns:a16="http://schemas.microsoft.com/office/drawing/2014/main" id="{662B76AA-F095-40CF-E96F-5971DCAD1428}"/>
              </a:ext>
            </a:extLst>
          </p:cNvPr>
          <p:cNvSpPr>
            <a:spLocks noGrp="1"/>
          </p:cNvSpPr>
          <p:nvPr>
            <p:ph type="body" sz="quarter" idx="15" hasCustomPrompt="1"/>
          </p:nvPr>
        </p:nvSpPr>
        <p:spPr>
          <a:xfrm>
            <a:off x="6134100" y="8382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0D01DADD-0AAD-DE71-AA8A-100FBA7813D2}"/>
              </a:ext>
            </a:extLst>
          </p:cNvPr>
          <p:cNvSpPr>
            <a:spLocks noGrp="1"/>
          </p:cNvSpPr>
          <p:nvPr>
            <p:ph type="body" sz="quarter" idx="14" hasCustomPrompt="1"/>
          </p:nvPr>
        </p:nvSpPr>
        <p:spPr>
          <a:xfrm>
            <a:off x="4305300" y="2314727"/>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69" name="Text Placeholder 4">
            <a:extLst>
              <a:ext uri="{FF2B5EF4-FFF2-40B4-BE49-F238E27FC236}">
                <a16:creationId xmlns:a16="http://schemas.microsoft.com/office/drawing/2014/main" id="{3ACD50A9-89D9-03EB-4F08-2FA62DEB7FFA}"/>
              </a:ext>
            </a:extLst>
          </p:cNvPr>
          <p:cNvSpPr>
            <a:spLocks noGrp="1"/>
          </p:cNvSpPr>
          <p:nvPr>
            <p:ph type="body" sz="quarter" idx="13" hasCustomPrompt="1"/>
          </p:nvPr>
        </p:nvSpPr>
        <p:spPr>
          <a:xfrm>
            <a:off x="6134100" y="2314728"/>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77" name="Text Placeholder 4">
            <a:extLst>
              <a:ext uri="{FF2B5EF4-FFF2-40B4-BE49-F238E27FC236}">
                <a16:creationId xmlns:a16="http://schemas.microsoft.com/office/drawing/2014/main" id="{24FA2B32-19B8-AB88-1583-D3384DBAF5B3}"/>
              </a:ext>
            </a:extLst>
          </p:cNvPr>
          <p:cNvSpPr>
            <a:spLocks noGrp="1"/>
          </p:cNvSpPr>
          <p:nvPr>
            <p:ph type="body" sz="quarter" idx="18" hasCustomPrompt="1"/>
          </p:nvPr>
        </p:nvSpPr>
        <p:spPr>
          <a:xfrm>
            <a:off x="4305300" y="38099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82" name="Text Placeholder 4">
            <a:extLst>
              <a:ext uri="{FF2B5EF4-FFF2-40B4-BE49-F238E27FC236}">
                <a16:creationId xmlns:a16="http://schemas.microsoft.com/office/drawing/2014/main" id="{8A991DCB-8C68-87C0-A0F0-E82FC669B8AA}"/>
              </a:ext>
            </a:extLst>
          </p:cNvPr>
          <p:cNvSpPr>
            <a:spLocks noGrp="1"/>
          </p:cNvSpPr>
          <p:nvPr>
            <p:ph type="body" sz="quarter" idx="17" hasCustomPrompt="1"/>
          </p:nvPr>
        </p:nvSpPr>
        <p:spPr>
          <a:xfrm>
            <a:off x="6134100" y="38100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88" name="Text Placeholder 4">
            <a:extLst>
              <a:ext uri="{FF2B5EF4-FFF2-40B4-BE49-F238E27FC236}">
                <a16:creationId xmlns:a16="http://schemas.microsoft.com/office/drawing/2014/main" id="{A692A088-7081-0839-D934-5901367D952C}"/>
              </a:ext>
            </a:extLst>
          </p:cNvPr>
          <p:cNvSpPr>
            <a:spLocks noGrp="1"/>
          </p:cNvSpPr>
          <p:nvPr>
            <p:ph type="body" sz="quarter" idx="20" hasCustomPrompt="1"/>
          </p:nvPr>
        </p:nvSpPr>
        <p:spPr>
          <a:xfrm>
            <a:off x="4305300" y="5257799"/>
            <a:ext cx="1714500" cy="742369"/>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91" name="Text Placeholder 4">
            <a:extLst>
              <a:ext uri="{FF2B5EF4-FFF2-40B4-BE49-F238E27FC236}">
                <a16:creationId xmlns:a16="http://schemas.microsoft.com/office/drawing/2014/main" id="{55B14BA1-7538-FD93-E26E-CA53960EFBA8}"/>
              </a:ext>
            </a:extLst>
          </p:cNvPr>
          <p:cNvSpPr>
            <a:spLocks noGrp="1"/>
          </p:cNvSpPr>
          <p:nvPr>
            <p:ph type="body" sz="quarter" idx="19" hasCustomPrompt="1"/>
          </p:nvPr>
        </p:nvSpPr>
        <p:spPr>
          <a:xfrm>
            <a:off x="6134100" y="5257800"/>
            <a:ext cx="54864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94" name="Footer Placeholder 4">
            <a:extLst>
              <a:ext uri="{FF2B5EF4-FFF2-40B4-BE49-F238E27FC236}">
                <a16:creationId xmlns:a16="http://schemas.microsoft.com/office/drawing/2014/main" id="{1E3306D1-7859-C33B-3188-08BFBF17793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96" name="Slide Number Placeholder 5">
            <a:extLst>
              <a:ext uri="{FF2B5EF4-FFF2-40B4-BE49-F238E27FC236}">
                <a16:creationId xmlns:a16="http://schemas.microsoft.com/office/drawing/2014/main" id="{29E9497E-26A1-F7E0-64C5-DF473866E40C}"/>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090150011"/>
      </p:ext>
    </p:extLst>
  </p:cSld>
  <p:clrMapOvr>
    <a:masterClrMapping/>
  </p:clrMapOvr>
  <p:transition>
    <p:fade/>
  </p:transition>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_Subtitle_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434080"/>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cxnSp>
        <p:nvCxnSpPr>
          <p:cNvPr id="35" name="Straight Connector 34">
            <a:extLst>
              <a:ext uri="{FF2B5EF4-FFF2-40B4-BE49-F238E27FC236}">
                <a16:creationId xmlns:a16="http://schemas.microsoft.com/office/drawing/2014/main" id="{F94D4FC7-7FFF-7A24-CB53-ECB1287B7135}"/>
              </a:ext>
            </a:extLst>
          </p:cNvPr>
          <p:cNvCxnSpPr>
            <a:cxnSpLocks/>
          </p:cNvCxnSpPr>
          <p:nvPr userDrawn="1"/>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 name="Title 1">
            <a:extLst>
              <a:ext uri="{FF2B5EF4-FFF2-40B4-BE49-F238E27FC236}">
                <a16:creationId xmlns:a16="http://schemas.microsoft.com/office/drawing/2014/main" id="{0C550ADB-7AFA-56F1-AAE0-E6FA7BDCD75A}"/>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1</a:t>
            </a:r>
          </a:p>
        </p:txBody>
      </p:sp>
      <p:sp>
        <p:nvSpPr>
          <p:cNvPr id="83" name="Text Placeholder 4">
            <a:extLst>
              <a:ext uri="{FF2B5EF4-FFF2-40B4-BE49-F238E27FC236}">
                <a16:creationId xmlns:a16="http://schemas.microsoft.com/office/drawing/2014/main" id="{FBE276FD-8183-0E7B-BC1D-01ACCF64A488}"/>
              </a:ext>
            </a:extLst>
          </p:cNvPr>
          <p:cNvSpPr>
            <a:spLocks noGrp="1"/>
          </p:cNvSpPr>
          <p:nvPr>
            <p:ph type="body" sz="quarter" idx="15" hasCustomPrompt="1"/>
          </p:nvPr>
        </p:nvSpPr>
        <p:spPr>
          <a:xfrm>
            <a:off x="8001000" y="8382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91" name="Straight Connector 90">
            <a:extLst>
              <a:ext uri="{FF2B5EF4-FFF2-40B4-BE49-F238E27FC236}">
                <a16:creationId xmlns:a16="http://schemas.microsoft.com/office/drawing/2014/main" id="{D26580CE-CE7E-370E-F0E1-8A58FACFA639}"/>
              </a:ext>
            </a:extLst>
          </p:cNvPr>
          <p:cNvCxnSpPr>
            <a:cxnSpLocks/>
          </p:cNvCxnSpPr>
          <p:nvPr userDrawn="1"/>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CD55CBA-3E61-C2D3-B37F-5CD370543C52}"/>
              </a:ext>
            </a:extLst>
          </p:cNvPr>
          <p:cNvCxnSpPr>
            <a:cxnSpLocks/>
          </p:cNvCxnSpPr>
          <p:nvPr userDrawn="1"/>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8" name="Title 1">
            <a:extLst>
              <a:ext uri="{FF2B5EF4-FFF2-40B4-BE49-F238E27FC236}">
                <a16:creationId xmlns:a16="http://schemas.microsoft.com/office/drawing/2014/main" id="{CB6F68DD-AE13-F04A-01C5-5B3EE6A2A84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2</a:t>
            </a:r>
          </a:p>
        </p:txBody>
      </p:sp>
      <p:sp>
        <p:nvSpPr>
          <p:cNvPr id="138" name="Text Placeholder 4">
            <a:extLst>
              <a:ext uri="{FF2B5EF4-FFF2-40B4-BE49-F238E27FC236}">
                <a16:creationId xmlns:a16="http://schemas.microsoft.com/office/drawing/2014/main" id="{34C7E99F-283B-C1B3-B418-2870D42EE8AD}"/>
              </a:ext>
            </a:extLst>
          </p:cNvPr>
          <p:cNvSpPr>
            <a:spLocks noGrp="1"/>
          </p:cNvSpPr>
          <p:nvPr>
            <p:ph type="body" sz="quarter" idx="13" hasCustomPrompt="1"/>
          </p:nvPr>
        </p:nvSpPr>
        <p:spPr>
          <a:xfrm>
            <a:off x="8001000" y="2314728"/>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145" name="Straight Connector 144">
            <a:extLst>
              <a:ext uri="{FF2B5EF4-FFF2-40B4-BE49-F238E27FC236}">
                <a16:creationId xmlns:a16="http://schemas.microsoft.com/office/drawing/2014/main" id="{B30E6EFA-AFF5-6A05-9332-1686D4478D3C}"/>
              </a:ext>
            </a:extLst>
          </p:cNvPr>
          <p:cNvCxnSpPr>
            <a:cxnSpLocks/>
          </p:cNvCxnSpPr>
          <p:nvPr userDrawn="1"/>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EB9D0369-8EF5-F972-80A0-912EE4409097}"/>
              </a:ext>
            </a:extLst>
          </p:cNvPr>
          <p:cNvCxnSpPr>
            <a:cxnSpLocks/>
          </p:cNvCxnSpPr>
          <p:nvPr userDrawn="1"/>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1" name="Title 1">
            <a:extLst>
              <a:ext uri="{FF2B5EF4-FFF2-40B4-BE49-F238E27FC236}">
                <a16:creationId xmlns:a16="http://schemas.microsoft.com/office/drawing/2014/main" id="{78F34F5E-A424-CD5F-A2E5-35845BC0CF32}"/>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3</a:t>
            </a:r>
          </a:p>
        </p:txBody>
      </p:sp>
      <p:sp>
        <p:nvSpPr>
          <p:cNvPr id="178" name="Text Placeholder 4">
            <a:extLst>
              <a:ext uri="{FF2B5EF4-FFF2-40B4-BE49-F238E27FC236}">
                <a16:creationId xmlns:a16="http://schemas.microsoft.com/office/drawing/2014/main" id="{8938E995-D52E-9A82-0F99-6E54C538224B}"/>
              </a:ext>
            </a:extLst>
          </p:cNvPr>
          <p:cNvSpPr>
            <a:spLocks noGrp="1"/>
          </p:cNvSpPr>
          <p:nvPr>
            <p:ph type="body" sz="quarter" idx="17" hasCustomPrompt="1"/>
          </p:nvPr>
        </p:nvSpPr>
        <p:spPr>
          <a:xfrm>
            <a:off x="8001000" y="38100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183" name="Straight Connector 182">
            <a:extLst>
              <a:ext uri="{FF2B5EF4-FFF2-40B4-BE49-F238E27FC236}">
                <a16:creationId xmlns:a16="http://schemas.microsoft.com/office/drawing/2014/main" id="{DAE87FD8-3CE0-1641-F1FE-29F25EC7DE00}"/>
              </a:ext>
            </a:extLst>
          </p:cNvPr>
          <p:cNvCxnSpPr>
            <a:cxnSpLocks/>
          </p:cNvCxnSpPr>
          <p:nvPr userDrawn="1"/>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E2FCCE33-0DDB-6CC6-D0E4-676BE64EF09D}"/>
              </a:ext>
            </a:extLst>
          </p:cNvPr>
          <p:cNvCxnSpPr>
            <a:cxnSpLocks/>
          </p:cNvCxnSpPr>
          <p:nvPr userDrawn="1"/>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8" name="Title 1">
            <a:extLst>
              <a:ext uri="{FF2B5EF4-FFF2-40B4-BE49-F238E27FC236}">
                <a16:creationId xmlns:a16="http://schemas.microsoft.com/office/drawing/2014/main" id="{C6353F92-79B7-7A39-2764-153A58C55A61}"/>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r>
              <a:rPr lang="en-US" sz="6600">
                <a:solidFill>
                  <a:schemeClr val="accent2"/>
                </a:solidFill>
                <a:latin typeface="Segoe UI Semibold" panose="020B0502040204020203" pitchFamily="34" charset="0"/>
                <a:cs typeface="Segoe UI Semibold" panose="020B0502040204020203" pitchFamily="34" charset="0"/>
              </a:rPr>
              <a:t>04</a:t>
            </a:r>
          </a:p>
        </p:txBody>
      </p:sp>
      <p:sp>
        <p:nvSpPr>
          <p:cNvPr id="202" name="Text Placeholder 4">
            <a:extLst>
              <a:ext uri="{FF2B5EF4-FFF2-40B4-BE49-F238E27FC236}">
                <a16:creationId xmlns:a16="http://schemas.microsoft.com/office/drawing/2014/main" id="{3492BE8C-D1A6-73DD-6A4F-DB8FA2367A09}"/>
              </a:ext>
            </a:extLst>
          </p:cNvPr>
          <p:cNvSpPr>
            <a:spLocks noGrp="1"/>
          </p:cNvSpPr>
          <p:nvPr>
            <p:ph type="body" sz="quarter" idx="19" hasCustomPrompt="1"/>
          </p:nvPr>
        </p:nvSpPr>
        <p:spPr>
          <a:xfrm>
            <a:off x="8001000" y="5257800"/>
            <a:ext cx="3619500"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205" name="Straight Connector 204">
            <a:extLst>
              <a:ext uri="{FF2B5EF4-FFF2-40B4-BE49-F238E27FC236}">
                <a16:creationId xmlns:a16="http://schemas.microsoft.com/office/drawing/2014/main" id="{C82617BC-C020-D8C6-E364-FAA04E7E6E7A}"/>
              </a:ext>
            </a:extLst>
          </p:cNvPr>
          <p:cNvCxnSpPr>
            <a:cxnSpLocks/>
          </p:cNvCxnSpPr>
          <p:nvPr userDrawn="1"/>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8" name="Footer Placeholder 4">
            <a:extLst>
              <a:ext uri="{FF2B5EF4-FFF2-40B4-BE49-F238E27FC236}">
                <a16:creationId xmlns:a16="http://schemas.microsoft.com/office/drawing/2014/main" id="{71416629-5755-65CC-24C0-4E322532C49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210" name="Slide Number Placeholder 5">
            <a:extLst>
              <a:ext uri="{FF2B5EF4-FFF2-40B4-BE49-F238E27FC236}">
                <a16:creationId xmlns:a16="http://schemas.microsoft.com/office/drawing/2014/main" id="{B58058F9-A085-D8D3-0D24-299F2FD06C7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223615436"/>
      </p:ext>
    </p:extLst>
  </p:cSld>
  <p:clrMapOvr>
    <a:masterClrMapping/>
  </p:clrMapOvr>
  <p:transition>
    <p:fade/>
  </p:transition>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_Subtitle_Content_3">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cxnSp>
        <p:nvCxnSpPr>
          <p:cNvPr id="5" name="Straight Connector 4">
            <a:extLst>
              <a:ext uri="{FF2B5EF4-FFF2-40B4-BE49-F238E27FC236}">
                <a16:creationId xmlns:a16="http://schemas.microsoft.com/office/drawing/2014/main" id="{5B0A9C22-E002-6EC8-7D19-7C31BD4141DB}"/>
              </a:ext>
            </a:extLst>
          </p:cNvPr>
          <p:cNvCxnSpPr>
            <a:cxnSpLocks/>
          </p:cNvCxnSpPr>
          <p:nvPr userDrawn="1"/>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9D1C0DF-29F7-4518-06AF-30645A988E42}"/>
              </a:ext>
            </a:extLst>
          </p:cNvPr>
          <p:cNvSpPr>
            <a:spLocks/>
          </p:cNvSpPr>
          <p:nvPr userDrawn="1"/>
        </p:nvSpPr>
        <p:spPr bwMode="auto">
          <a:xfrm>
            <a:off x="4583114" y="595313"/>
            <a:ext cx="1704220" cy="27622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Text Placeholder 4">
            <a:extLst>
              <a:ext uri="{FF2B5EF4-FFF2-40B4-BE49-F238E27FC236}">
                <a16:creationId xmlns:a16="http://schemas.microsoft.com/office/drawing/2014/main" id="{C444764F-6999-FDAD-5E62-C99DF1FB030C}"/>
              </a:ext>
            </a:extLst>
          </p:cNvPr>
          <p:cNvSpPr>
            <a:spLocks noGrp="1"/>
          </p:cNvSpPr>
          <p:nvPr>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43" name="Text Placeholder 4">
            <a:extLst>
              <a:ext uri="{FF2B5EF4-FFF2-40B4-BE49-F238E27FC236}">
                <a16:creationId xmlns:a16="http://schemas.microsoft.com/office/drawing/2014/main" id="{B6D511DD-A468-CE70-00B5-4514242806C8}"/>
              </a:ext>
            </a:extLst>
          </p:cNvPr>
          <p:cNvSpPr>
            <a:spLocks noGrp="1"/>
          </p:cNvSpPr>
          <p:nvPr>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48" name="Straight Connector 47">
            <a:extLst>
              <a:ext uri="{FF2B5EF4-FFF2-40B4-BE49-F238E27FC236}">
                <a16:creationId xmlns:a16="http://schemas.microsoft.com/office/drawing/2014/main" id="{FE5FD440-D972-B95A-B042-B3A4CDD4A113}"/>
              </a:ext>
            </a:extLst>
          </p:cNvPr>
          <p:cNvCxnSpPr>
            <a:cxnSpLocks/>
          </p:cNvCxnSpPr>
          <p:nvPr userDrawn="1"/>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51EFC88-D471-3077-DC20-443500EABA7C}"/>
              </a:ext>
            </a:extLst>
          </p:cNvPr>
          <p:cNvCxnSpPr>
            <a:cxnSpLocks/>
          </p:cNvCxnSpPr>
          <p:nvPr userDrawn="1"/>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59F30358-EB03-58A6-1E4E-A919CB776406}"/>
              </a:ext>
            </a:extLst>
          </p:cNvPr>
          <p:cNvSpPr>
            <a:spLocks/>
          </p:cNvSpPr>
          <p:nvPr userDrawn="1"/>
        </p:nvSpPr>
        <p:spPr bwMode="auto">
          <a:xfrm>
            <a:off x="4583114" y="3487126"/>
            <a:ext cx="1704220" cy="27622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5" name="Text Placeholder 4">
            <a:extLst>
              <a:ext uri="{FF2B5EF4-FFF2-40B4-BE49-F238E27FC236}">
                <a16:creationId xmlns:a16="http://schemas.microsoft.com/office/drawing/2014/main" id="{5C5AF6A0-8EDB-63FD-D10B-8BD575204B68}"/>
              </a:ext>
            </a:extLst>
          </p:cNvPr>
          <p:cNvSpPr>
            <a:spLocks noGrp="1"/>
          </p:cNvSpPr>
          <p:nvPr>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78" name="Text Placeholder 4">
            <a:extLst>
              <a:ext uri="{FF2B5EF4-FFF2-40B4-BE49-F238E27FC236}">
                <a16:creationId xmlns:a16="http://schemas.microsoft.com/office/drawing/2014/main" id="{3BE281E0-0CFD-B0A1-FCB2-291CD15DF982}"/>
              </a:ext>
            </a:extLst>
          </p:cNvPr>
          <p:cNvSpPr>
            <a:spLocks noGrp="1"/>
          </p:cNvSpPr>
          <p:nvPr>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cxnSp>
        <p:nvCxnSpPr>
          <p:cNvPr id="80" name="Straight Connector 79">
            <a:extLst>
              <a:ext uri="{FF2B5EF4-FFF2-40B4-BE49-F238E27FC236}">
                <a16:creationId xmlns:a16="http://schemas.microsoft.com/office/drawing/2014/main" id="{E4D5C9CC-E3B7-5011-051B-6B7A0097DC70}"/>
              </a:ext>
            </a:extLst>
          </p:cNvPr>
          <p:cNvCxnSpPr>
            <a:cxnSpLocks/>
          </p:cNvCxnSpPr>
          <p:nvPr userDrawn="1"/>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Footer Placeholder 4">
            <a:extLst>
              <a:ext uri="{FF2B5EF4-FFF2-40B4-BE49-F238E27FC236}">
                <a16:creationId xmlns:a16="http://schemas.microsoft.com/office/drawing/2014/main" id="{67E7B915-AB33-0CD5-75A7-B92FFF35AF7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85" name="Slide Number Placeholder 5">
            <a:extLst>
              <a:ext uri="{FF2B5EF4-FFF2-40B4-BE49-F238E27FC236}">
                <a16:creationId xmlns:a16="http://schemas.microsoft.com/office/drawing/2014/main" id="{FCE50FE5-3344-C0D3-F625-7CEDDEE0F429}"/>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823527036"/>
      </p:ext>
    </p:extLst>
  </p:cSld>
  <p:clrMapOvr>
    <a:masterClrMapping/>
  </p:clrMapOvr>
  <p:transition>
    <p:fade/>
  </p:transition>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itle_Subtitle_Content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5444319" cy="1420434"/>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grpSp>
        <p:nvGrpSpPr>
          <p:cNvPr id="49" name="Group 48">
            <a:extLst>
              <a:ext uri="{FF2B5EF4-FFF2-40B4-BE49-F238E27FC236}">
                <a16:creationId xmlns:a16="http://schemas.microsoft.com/office/drawing/2014/main" id="{31FA41F1-2028-C841-A0E6-E62A36CD04B0}"/>
              </a:ext>
            </a:extLst>
          </p:cNvPr>
          <p:cNvGrpSpPr/>
          <p:nvPr userDrawn="1"/>
        </p:nvGrpSpPr>
        <p:grpSpPr>
          <a:xfrm>
            <a:off x="6134100" y="585968"/>
            <a:ext cx="5475288" cy="2780871"/>
            <a:chOff x="6134100" y="585968"/>
            <a:chExt cx="5475288" cy="2780871"/>
          </a:xfrm>
        </p:grpSpPr>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6134100" y="33668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158990C4-7AAA-874F-9992-5C649C6BAE73}"/>
              </a:ext>
            </a:extLst>
          </p:cNvPr>
          <p:cNvGrpSpPr/>
          <p:nvPr userDrawn="1"/>
        </p:nvGrpSpPr>
        <p:grpSpPr>
          <a:xfrm>
            <a:off x="6134100" y="3505200"/>
            <a:ext cx="5475288" cy="2753575"/>
            <a:chOff x="6134100" y="585968"/>
            <a:chExt cx="5475288" cy="2753575"/>
          </a:xfrm>
        </p:grpSpPr>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6134100" y="333954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1" name="Text Placeholder 4">
            <a:extLst>
              <a:ext uri="{FF2B5EF4-FFF2-40B4-BE49-F238E27FC236}">
                <a16:creationId xmlns:a16="http://schemas.microsoft.com/office/drawing/2014/main" id="{4BD19EB2-7D8F-AC41-A8B6-1914246DD12A}"/>
              </a:ext>
            </a:extLst>
          </p:cNvPr>
          <p:cNvSpPr>
            <a:spLocks noGrp="1"/>
          </p:cNvSpPr>
          <p:nvPr>
            <p:ph type="body" sz="quarter" idx="15" hasCustomPrompt="1"/>
          </p:nvPr>
        </p:nvSpPr>
        <p:spPr>
          <a:xfrm>
            <a:off x="7507786" y="838200"/>
            <a:ext cx="4112713"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p:ph type="body" sz="quarter" idx="16" hasCustomPrompt="1"/>
          </p:nvPr>
        </p:nvSpPr>
        <p:spPr>
          <a:xfrm>
            <a:off x="6134100" y="838199"/>
            <a:ext cx="1268811" cy="2246194"/>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p:ph type="body" sz="quarter" idx="17" hasCustomPrompt="1"/>
          </p:nvPr>
        </p:nvSpPr>
        <p:spPr>
          <a:xfrm>
            <a:off x="7507786" y="3761096"/>
            <a:ext cx="4112713"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p:ph type="body" sz="quarter" idx="18" hasCustomPrompt="1"/>
          </p:nvPr>
        </p:nvSpPr>
        <p:spPr>
          <a:xfrm>
            <a:off x="6134100" y="3761095"/>
            <a:ext cx="1268811" cy="2246194"/>
          </a:xfrm>
          <a:noFill/>
        </p:spPr>
        <p:txBody>
          <a:bodyPr wrap="square" lIns="0" tIns="0" rIns="0" bIns="0">
            <a:noAutofit/>
          </a:bodyPr>
          <a:lstStyle>
            <a:lvl1pPr marL="0" indent="0">
              <a:spcBef>
                <a:spcPts val="0"/>
              </a:spcBef>
              <a:buNone/>
              <a:defRPr sz="1400" spc="0" baseline="0">
                <a:solidFill>
                  <a:schemeClr val="tx2"/>
                </a:solidFill>
                <a:latin typeface="+mj-lt"/>
                <a:cs typeface="Segoe UI" panose="020B0502040204020203" pitchFamily="34" charset="0"/>
              </a:defRPr>
            </a:lvl1pPr>
          </a:lstStyle>
          <a:p>
            <a:pPr lvl="0"/>
            <a:r>
              <a:rPr lang="en-US"/>
              <a:t>Title here</a:t>
            </a:r>
          </a:p>
        </p:txBody>
      </p:sp>
      <p:sp>
        <p:nvSpPr>
          <p:cNvPr id="14" name="Text Placeholder 4">
            <a:extLst>
              <a:ext uri="{FF2B5EF4-FFF2-40B4-BE49-F238E27FC236}">
                <a16:creationId xmlns:a16="http://schemas.microsoft.com/office/drawing/2014/main" id="{E75517DE-522B-D247-93F8-0782A7006717}"/>
              </a:ext>
            </a:extLst>
          </p:cNvPr>
          <p:cNvSpPr>
            <a:spLocks noGrp="1"/>
          </p:cNvSpPr>
          <p:nvPr>
            <p:ph type="body" sz="quarter" idx="19"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15" name="Footer Placeholder 4">
            <a:extLst>
              <a:ext uri="{FF2B5EF4-FFF2-40B4-BE49-F238E27FC236}">
                <a16:creationId xmlns:a16="http://schemas.microsoft.com/office/drawing/2014/main" id="{8BE6EBE7-CA02-4C26-BD72-12949608A4E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16" name="Slide Number Placeholder 5">
            <a:extLst>
              <a:ext uri="{FF2B5EF4-FFF2-40B4-BE49-F238E27FC236}">
                <a16:creationId xmlns:a16="http://schemas.microsoft.com/office/drawing/2014/main" id="{C404F89B-F6FA-4D38-B9FD-D86E2290BC0B}"/>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4008251225"/>
      </p:ext>
    </p:extLst>
  </p:cSld>
  <p:clrMapOvr>
    <a:masterClrMapping/>
  </p:clrMapOvr>
  <p:transition>
    <p:fade/>
  </p:transition>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r>
              <a:rPr lang="en-US"/>
              <a:t>Microsoft Confidential - Internal Only</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953178027"/>
      </p:ext>
    </p:extLst>
  </p:cSld>
  <p:clrMapOvr>
    <a:masterClrMapping/>
  </p:clrMapOvr>
  <p:transition>
    <p:fade/>
  </p:transition>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1525674843"/>
      </p:ext>
    </p:extLst>
  </p:cSld>
  <p:clrMapOvr>
    <a:masterClrMapping/>
  </p:clrMapOvr>
  <p:transition>
    <p:fade/>
  </p:transition>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515007384"/>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_Banner_Duo_Dark">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0D00EF44-C02F-AAF8-DBC7-45C3F502D815}"/>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9" y="112540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9" y="217103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7A707C1-7CFF-F8B3-0065-07AB65C52903}"/>
              </a:ext>
            </a:extLst>
          </p:cNvPr>
          <p:cNvSpPr>
            <a:spLocks noGrp="1"/>
          </p:cNvSpPr>
          <p:nvPr>
            <p:ph type="body" sz="quarter" idx="19" hasCustomPrompt="1"/>
          </p:nvPr>
        </p:nvSpPr>
        <p:spPr>
          <a:xfrm>
            <a:off x="6269535" y="111422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6" name="Text Placeholder 4">
            <a:extLst>
              <a:ext uri="{FF2B5EF4-FFF2-40B4-BE49-F238E27FC236}">
                <a16:creationId xmlns:a16="http://schemas.microsoft.com/office/drawing/2014/main" id="{ED308523-AA03-2BCE-AE05-DACCA8524572}"/>
              </a:ext>
            </a:extLst>
          </p:cNvPr>
          <p:cNvSpPr>
            <a:spLocks noGrp="1"/>
          </p:cNvSpPr>
          <p:nvPr>
            <p:ph type="body" sz="quarter" idx="20" hasCustomPrompt="1"/>
          </p:nvPr>
        </p:nvSpPr>
        <p:spPr>
          <a:xfrm>
            <a:off x="6269535" y="215985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318031315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2387532150"/>
      </p:ext>
    </p:extLst>
  </p:cSld>
  <p:clrMapOvr>
    <a:masterClrMapping/>
  </p:clrMapOvr>
  <p:transition>
    <p:fade/>
  </p:transition>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795748553"/>
      </p:ext>
    </p:extLst>
  </p:cSld>
  <p:clrMapOvr>
    <a:masterClrMapping/>
  </p:clrMapOvr>
  <p:transition>
    <p:fade/>
  </p:transition>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2959277214"/>
      </p:ext>
    </p:extLst>
  </p:cSld>
  <p:clrMapOvr>
    <a:masterClrMapping/>
  </p:clrMapOvr>
  <p:transition>
    <p:fade/>
  </p:transition>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 uri="{C183D7F6-B498-43B3-948B-1728B52AA6E4}">
                <adec:decorative xmlns:adec="http://schemas.microsoft.com/office/drawing/2017/decorative" val="1"/>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Microsoft Confidential – Internal only </a:t>
            </a:r>
            <a:fld id="{CDA8CF92-FC37-A64A-8AA4-5DF2C811E7A1}"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1160714919"/>
      </p:ext>
    </p:extLst>
  </p:cSld>
  <p:clrMapOvr>
    <a:masterClrMapping/>
  </p:clrMapOvr>
  <p:transition>
    <p:fade/>
  </p:transition>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4097434672"/>
      </p:ext>
    </p:extLst>
  </p:cSld>
  <p:clrMapOvr>
    <a:masterClrMapping/>
  </p:clrMapOvr>
  <p:transition>
    <p:fade/>
  </p:transition>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r>
              <a:rPr lang="en-US"/>
              <a:t>Microsoft Confidential - Internal Only</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53366309"/>
      </p:ext>
    </p:extLst>
  </p:cSld>
  <p:clrMapOvr>
    <a:masterClrMapping/>
  </p:clrMapOvr>
  <p:transition>
    <p:fade/>
  </p:transition>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r>
              <a:rPr lang="en-US"/>
              <a:t>Microsoft Confidential - Internal Only</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571304055"/>
      </p:ext>
    </p:extLst>
  </p:cSld>
  <p:clrMapOvr>
    <a:masterClrMapping/>
  </p:clrMapOvr>
  <p:transition>
    <p:fade/>
  </p:transition>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r>
              <a:rPr lang="en-US"/>
              <a:t>Microsoft Confidential - Internal Only</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3182958018"/>
      </p:ext>
    </p:extLst>
  </p:cSld>
  <p:clrMapOvr>
    <a:masterClrMapping/>
  </p:clrMapOvr>
  <p:transition>
    <p:fade/>
  </p:transition>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cxnSp>
        <p:nvCxnSpPr>
          <p:cNvPr id="16" name="Straight Connector 15">
            <a:extLst>
              <a:ext uri="{FF2B5EF4-FFF2-40B4-BE49-F238E27FC236}">
                <a16:creationId xmlns:a16="http://schemas.microsoft.com/office/drawing/2014/main" id="{1EA3253A-CBC3-A644-9057-A616EFD62183}"/>
              </a:ext>
              <a:ext uri="{C183D7F6-B498-43B3-948B-1728B52AA6E4}">
                <adec:decorative xmlns:adec="http://schemas.microsoft.com/office/drawing/2017/decorative" val="1"/>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 uri="{C183D7F6-B498-43B3-948B-1728B52AA6E4}">
                <adec:decorative xmlns:adec="http://schemas.microsoft.com/office/drawing/2017/decorative" val="1"/>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 uri="{C183D7F6-B498-43B3-948B-1728B52AA6E4}">
                <adec:decorative xmlns:adec="http://schemas.microsoft.com/office/drawing/2017/decorative" val="1"/>
              </a:ext>
            </a:extLst>
          </p:cNvPr>
          <p:cNvCxnSpPr>
            <a:cxnSpLocks/>
          </p:cNvCxnSpPr>
          <p:nvPr userDrawn="1"/>
        </p:nvCxnSpPr>
        <p:spPr>
          <a:xfrm>
            <a:off x="4313488" y="2263373"/>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 uri="{C183D7F6-B498-43B3-948B-1728B52AA6E4}">
                <adec:decorative xmlns:adec="http://schemas.microsoft.com/office/drawing/2017/decorative" val="1"/>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 uri="{C183D7F6-B498-43B3-948B-1728B52AA6E4}">
                <adec:decorative xmlns:adec="http://schemas.microsoft.com/office/drawing/2017/decorative" val="1"/>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 uri="{C183D7F6-B498-43B3-948B-1728B52AA6E4}">
                <adec:decorative xmlns:adec="http://schemas.microsoft.com/office/drawing/2017/decorative" val="1"/>
              </a:ext>
            </a:extLst>
          </p:cNvPr>
          <p:cNvCxnSpPr>
            <a:cxnSpLocks/>
          </p:cNvCxnSpPr>
          <p:nvPr userDrawn="1"/>
        </p:nvCxnSpPr>
        <p:spPr>
          <a:xfrm>
            <a:off x="9886697"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cxnSp>
        <p:nvCxnSpPr>
          <p:cNvPr id="35" name="Straight Connector 34">
            <a:extLst>
              <a:ext uri="{FF2B5EF4-FFF2-40B4-BE49-F238E27FC236}">
                <a16:creationId xmlns:a16="http://schemas.microsoft.com/office/drawing/2014/main" id="{C21346A5-A33F-5946-9543-99C299D786AC}"/>
              </a:ext>
              <a:ext uri="{C183D7F6-B498-43B3-948B-1728B52AA6E4}">
                <adec:decorative xmlns:adec="http://schemas.microsoft.com/office/drawing/2017/decorative" val="1"/>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 uri="{C183D7F6-B498-43B3-948B-1728B52AA6E4}">
                <adec:decorative xmlns:adec="http://schemas.microsoft.com/office/drawing/2017/decorative" val="1"/>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 uri="{C183D7F6-B498-43B3-948B-1728B52AA6E4}">
                <adec:decorative xmlns:adec="http://schemas.microsoft.com/office/drawing/2017/decorative" val="1"/>
              </a:ext>
            </a:extLst>
          </p:cNvPr>
          <p:cNvCxnSpPr>
            <a:cxnSpLocks/>
          </p:cNvCxnSpPr>
          <p:nvPr userDrawn="1"/>
        </p:nvCxnSpPr>
        <p:spPr>
          <a:xfrm>
            <a:off x="4313488" y="4610764"/>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 uri="{C183D7F6-B498-43B3-948B-1728B52AA6E4}">
                <adec:decorative xmlns:adec="http://schemas.microsoft.com/office/drawing/2017/decorative" val="1"/>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 uri="{C183D7F6-B498-43B3-948B-1728B52AA6E4}">
                <adec:decorative xmlns:adec="http://schemas.microsoft.com/office/drawing/2017/decorative" val="1"/>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 uri="{C183D7F6-B498-43B3-948B-1728B52AA6E4}">
                <adec:decorative xmlns:adec="http://schemas.microsoft.com/office/drawing/2017/decorative" val="1"/>
              </a:ext>
            </a:extLst>
          </p:cNvPr>
          <p:cNvCxnSpPr>
            <a:cxnSpLocks/>
          </p:cNvCxnSpPr>
          <p:nvPr userDrawn="1"/>
        </p:nvCxnSpPr>
        <p:spPr>
          <a:xfrm>
            <a:off x="9886697" y="4610764"/>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396182059"/>
      </p:ext>
    </p:extLst>
  </p:cSld>
  <p:clrMapOvr>
    <a:masterClrMapping/>
  </p:clrMapOvr>
  <p:transition>
    <p:fade/>
  </p:transition>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algn="l"/>
            <a:r>
              <a:rPr lang="en-US" sz="36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algn="l"/>
            <a:r>
              <a:rPr lang="en-US" sz="36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algn="l"/>
            <a:r>
              <a:rPr lang="en-US" sz="36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algn="l"/>
            <a:r>
              <a:rPr lang="en-US" sz="36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algn="l"/>
            <a:r>
              <a:rPr lang="en-US" sz="36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algn="l"/>
            <a:r>
              <a:rPr lang="en-US" sz="3600">
                <a:solidFill>
                  <a:schemeClr val="tx2"/>
                </a:solidFill>
                <a:latin typeface="+mj-lt"/>
              </a:rPr>
              <a:t>Jun</a:t>
            </a:r>
          </a:p>
        </p:txBody>
      </p:sp>
      <p:cxnSp>
        <p:nvCxnSpPr>
          <p:cNvPr id="16" name="Straight Connector 15">
            <a:extLst>
              <a:ext uri="{FF2B5EF4-FFF2-40B4-BE49-F238E27FC236}">
                <a16:creationId xmlns:a16="http://schemas.microsoft.com/office/drawing/2014/main" id="{1EA3253A-CBC3-A644-9057-A616EFD62183}"/>
              </a:ext>
              <a:ext uri="{C183D7F6-B498-43B3-948B-1728B52AA6E4}">
                <adec:decorative xmlns:adec="http://schemas.microsoft.com/office/drawing/2017/decorative" val="1"/>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 uri="{C183D7F6-B498-43B3-948B-1728B52AA6E4}">
                <adec:decorative xmlns:adec="http://schemas.microsoft.com/office/drawing/2017/decorative" val="1"/>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 uri="{C183D7F6-B498-43B3-948B-1728B52AA6E4}">
                <adec:decorative xmlns:adec="http://schemas.microsoft.com/office/drawing/2017/decorative" val="1"/>
              </a:ext>
            </a:extLst>
          </p:cNvPr>
          <p:cNvCxnSpPr>
            <a:cxnSpLocks/>
          </p:cNvCxnSpPr>
          <p:nvPr userDrawn="1"/>
        </p:nvCxnSpPr>
        <p:spPr>
          <a:xfrm>
            <a:off x="4313488" y="2263373"/>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 uri="{C183D7F6-B498-43B3-948B-1728B52AA6E4}">
                <adec:decorative xmlns:adec="http://schemas.microsoft.com/office/drawing/2017/decorative" val="1"/>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 uri="{C183D7F6-B498-43B3-948B-1728B52AA6E4}">
                <adec:decorative xmlns:adec="http://schemas.microsoft.com/office/drawing/2017/decorative" val="1"/>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 uri="{C183D7F6-B498-43B3-948B-1728B52AA6E4}">
                <adec:decorative xmlns:adec="http://schemas.microsoft.com/office/drawing/2017/decorative" val="1"/>
              </a:ext>
            </a:extLst>
          </p:cNvPr>
          <p:cNvCxnSpPr>
            <a:cxnSpLocks/>
          </p:cNvCxnSpPr>
          <p:nvPr userDrawn="1"/>
        </p:nvCxnSpPr>
        <p:spPr>
          <a:xfrm>
            <a:off x="9886697"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algn="l"/>
            <a:r>
              <a:rPr lang="en-US" sz="36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algn="l"/>
            <a:r>
              <a:rPr lang="en-US" sz="36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algn="l"/>
            <a:r>
              <a:rPr lang="en-US" sz="3600">
                <a:solidFill>
                  <a:schemeClr val="tx2"/>
                </a:solidFill>
                <a:latin typeface="+mj-lt"/>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algn="l"/>
            <a:r>
              <a:rPr lang="en-US" sz="36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algn="l"/>
            <a:r>
              <a:rPr lang="en-US" sz="36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algn="l"/>
            <a:r>
              <a:rPr lang="en-US" sz="3600">
                <a:solidFill>
                  <a:schemeClr val="tx2"/>
                </a:solidFill>
                <a:latin typeface="+mj-lt"/>
              </a:rPr>
              <a:t>Dec</a:t>
            </a:r>
          </a:p>
        </p:txBody>
      </p:sp>
      <p:cxnSp>
        <p:nvCxnSpPr>
          <p:cNvPr id="35" name="Straight Connector 34">
            <a:extLst>
              <a:ext uri="{FF2B5EF4-FFF2-40B4-BE49-F238E27FC236}">
                <a16:creationId xmlns:a16="http://schemas.microsoft.com/office/drawing/2014/main" id="{C21346A5-A33F-5946-9543-99C299D786AC}"/>
              </a:ext>
              <a:ext uri="{C183D7F6-B498-43B3-948B-1728B52AA6E4}">
                <adec:decorative xmlns:adec="http://schemas.microsoft.com/office/drawing/2017/decorative" val="1"/>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 uri="{C183D7F6-B498-43B3-948B-1728B52AA6E4}">
                <adec:decorative xmlns:adec="http://schemas.microsoft.com/office/drawing/2017/decorative" val="1"/>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 uri="{C183D7F6-B498-43B3-948B-1728B52AA6E4}">
                <adec:decorative xmlns:adec="http://schemas.microsoft.com/office/drawing/2017/decorative" val="1"/>
              </a:ext>
            </a:extLst>
          </p:cNvPr>
          <p:cNvCxnSpPr>
            <a:cxnSpLocks/>
          </p:cNvCxnSpPr>
          <p:nvPr userDrawn="1"/>
        </p:nvCxnSpPr>
        <p:spPr>
          <a:xfrm>
            <a:off x="4313488" y="4610764"/>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 uri="{C183D7F6-B498-43B3-948B-1728B52AA6E4}">
                <adec:decorative xmlns:adec="http://schemas.microsoft.com/office/drawing/2017/decorative" val="1"/>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 uri="{C183D7F6-B498-43B3-948B-1728B52AA6E4}">
                <adec:decorative xmlns:adec="http://schemas.microsoft.com/office/drawing/2017/decorative" val="1"/>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 uri="{C183D7F6-B498-43B3-948B-1728B52AA6E4}">
                <adec:decorative xmlns:adec="http://schemas.microsoft.com/office/drawing/2017/decorative" val="1"/>
              </a:ext>
            </a:extLst>
          </p:cNvPr>
          <p:cNvCxnSpPr>
            <a:cxnSpLocks/>
          </p:cNvCxnSpPr>
          <p:nvPr userDrawn="1"/>
        </p:nvCxnSpPr>
        <p:spPr>
          <a:xfrm>
            <a:off x="9886697" y="4610764"/>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384075650"/>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_Banner_Duo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9" y="112540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9" y="217103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4" name="Text Placeholder 4">
            <a:extLst>
              <a:ext uri="{FF2B5EF4-FFF2-40B4-BE49-F238E27FC236}">
                <a16:creationId xmlns:a16="http://schemas.microsoft.com/office/drawing/2014/main" id="{87A707C1-7CFF-F8B3-0065-07AB65C52903}"/>
              </a:ext>
            </a:extLst>
          </p:cNvPr>
          <p:cNvSpPr>
            <a:spLocks noGrp="1"/>
          </p:cNvSpPr>
          <p:nvPr>
            <p:ph type="body" sz="quarter" idx="19" hasCustomPrompt="1"/>
          </p:nvPr>
        </p:nvSpPr>
        <p:spPr>
          <a:xfrm>
            <a:off x="6269535" y="1114222"/>
            <a:ext cx="5532501" cy="889442"/>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6" name="Text Placeholder 4">
            <a:extLst>
              <a:ext uri="{FF2B5EF4-FFF2-40B4-BE49-F238E27FC236}">
                <a16:creationId xmlns:a16="http://schemas.microsoft.com/office/drawing/2014/main" id="{ED308523-AA03-2BCE-AE05-DACCA8524572}"/>
              </a:ext>
            </a:extLst>
          </p:cNvPr>
          <p:cNvSpPr>
            <a:spLocks noGrp="1"/>
          </p:cNvSpPr>
          <p:nvPr>
            <p:ph type="body" sz="quarter" idx="20" hasCustomPrompt="1"/>
          </p:nvPr>
        </p:nvSpPr>
        <p:spPr>
          <a:xfrm>
            <a:off x="6269535" y="2159859"/>
            <a:ext cx="5532502" cy="410741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2537328346"/>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algn="l"/>
            <a:r>
              <a:rPr lang="en-US" sz="24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algn="l"/>
            <a:r>
              <a:rPr lang="en-US" sz="24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algn="l"/>
            <a:r>
              <a:rPr lang="en-US" sz="24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algn="l"/>
            <a:r>
              <a:rPr lang="en-US" sz="24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algn="l"/>
            <a:r>
              <a:rPr lang="en-US" sz="24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algn="l"/>
            <a:r>
              <a:rPr lang="en-US" sz="2400">
                <a:solidFill>
                  <a:schemeClr val="tx2"/>
                </a:solidFill>
                <a:latin typeface="+mj-lt"/>
              </a:rPr>
              <a:t>Week 6</a:t>
            </a:r>
          </a:p>
        </p:txBody>
      </p:sp>
      <p:cxnSp>
        <p:nvCxnSpPr>
          <p:cNvPr id="16" name="Straight Connector 15">
            <a:extLst>
              <a:ext uri="{FF2B5EF4-FFF2-40B4-BE49-F238E27FC236}">
                <a16:creationId xmlns:a16="http://schemas.microsoft.com/office/drawing/2014/main" id="{1EA3253A-CBC3-A644-9057-A616EFD62183}"/>
              </a:ext>
              <a:ext uri="{C183D7F6-B498-43B3-948B-1728B52AA6E4}">
                <adec:decorative xmlns:adec="http://schemas.microsoft.com/office/drawing/2017/decorative" val="1"/>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 uri="{C183D7F6-B498-43B3-948B-1728B52AA6E4}">
                <adec:decorative xmlns:adec="http://schemas.microsoft.com/office/drawing/2017/decorative" val="1"/>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 uri="{C183D7F6-B498-43B3-948B-1728B52AA6E4}">
                <adec:decorative xmlns:adec="http://schemas.microsoft.com/office/drawing/2017/decorative" val="1"/>
              </a:ext>
            </a:extLst>
          </p:cNvPr>
          <p:cNvCxnSpPr>
            <a:cxnSpLocks/>
          </p:cNvCxnSpPr>
          <p:nvPr userDrawn="1"/>
        </p:nvCxnSpPr>
        <p:spPr>
          <a:xfrm>
            <a:off x="4313488" y="2263373"/>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 uri="{C183D7F6-B498-43B3-948B-1728B52AA6E4}">
                <adec:decorative xmlns:adec="http://schemas.microsoft.com/office/drawing/2017/decorative" val="1"/>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 uri="{C183D7F6-B498-43B3-948B-1728B52AA6E4}">
                <adec:decorative xmlns:adec="http://schemas.microsoft.com/office/drawing/2017/decorative" val="1"/>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 uri="{C183D7F6-B498-43B3-948B-1728B52AA6E4}">
                <adec:decorative xmlns:adec="http://schemas.microsoft.com/office/drawing/2017/decorative" val="1"/>
              </a:ext>
            </a:extLst>
          </p:cNvPr>
          <p:cNvCxnSpPr>
            <a:cxnSpLocks/>
          </p:cNvCxnSpPr>
          <p:nvPr userDrawn="1"/>
        </p:nvCxnSpPr>
        <p:spPr>
          <a:xfrm>
            <a:off x="9886697"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algn="l"/>
            <a:r>
              <a:rPr lang="en-US" sz="24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algn="l"/>
            <a:r>
              <a:rPr lang="en-US" sz="24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algn="l"/>
            <a:r>
              <a:rPr lang="en-US" sz="24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algn="l"/>
            <a:r>
              <a:rPr lang="en-US" sz="24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algn="l"/>
            <a:r>
              <a:rPr lang="en-US" sz="24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algn="l"/>
            <a:r>
              <a:rPr lang="en-US" sz="2400">
                <a:solidFill>
                  <a:schemeClr val="tx2"/>
                </a:solidFill>
                <a:latin typeface="+mj-lt"/>
              </a:rPr>
              <a:t>Week 12</a:t>
            </a:r>
          </a:p>
        </p:txBody>
      </p:sp>
      <p:cxnSp>
        <p:nvCxnSpPr>
          <p:cNvPr id="35" name="Straight Connector 34">
            <a:extLst>
              <a:ext uri="{FF2B5EF4-FFF2-40B4-BE49-F238E27FC236}">
                <a16:creationId xmlns:a16="http://schemas.microsoft.com/office/drawing/2014/main" id="{C21346A5-A33F-5946-9543-99C299D786AC}"/>
              </a:ext>
              <a:ext uri="{C183D7F6-B498-43B3-948B-1728B52AA6E4}">
                <adec:decorative xmlns:adec="http://schemas.microsoft.com/office/drawing/2017/decorative" val="1"/>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 uri="{C183D7F6-B498-43B3-948B-1728B52AA6E4}">
                <adec:decorative xmlns:adec="http://schemas.microsoft.com/office/drawing/2017/decorative" val="1"/>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 uri="{C183D7F6-B498-43B3-948B-1728B52AA6E4}">
                <adec:decorative xmlns:adec="http://schemas.microsoft.com/office/drawing/2017/decorative" val="1"/>
              </a:ext>
            </a:extLst>
          </p:cNvPr>
          <p:cNvCxnSpPr>
            <a:cxnSpLocks/>
          </p:cNvCxnSpPr>
          <p:nvPr userDrawn="1"/>
        </p:nvCxnSpPr>
        <p:spPr>
          <a:xfrm>
            <a:off x="4313488" y="4610764"/>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 uri="{C183D7F6-B498-43B3-948B-1728B52AA6E4}">
                <adec:decorative xmlns:adec="http://schemas.microsoft.com/office/drawing/2017/decorative" val="1"/>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 uri="{C183D7F6-B498-43B3-948B-1728B52AA6E4}">
                <adec:decorative xmlns:adec="http://schemas.microsoft.com/office/drawing/2017/decorative" val="1"/>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 uri="{C183D7F6-B498-43B3-948B-1728B52AA6E4}">
                <adec:decorative xmlns:adec="http://schemas.microsoft.com/office/drawing/2017/decorative" val="1"/>
              </a:ext>
            </a:extLst>
          </p:cNvPr>
          <p:cNvCxnSpPr>
            <a:cxnSpLocks/>
          </p:cNvCxnSpPr>
          <p:nvPr userDrawn="1"/>
        </p:nvCxnSpPr>
        <p:spPr>
          <a:xfrm>
            <a:off x="9886697" y="4610764"/>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2594045444"/>
      </p:ext>
    </p:extLst>
  </p:cSld>
  <p:clrMapOvr>
    <a:masterClrMapping/>
  </p:clrMapOvr>
  <p:transition>
    <p:fade/>
  </p:transition>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788594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matchingName="Subsection Cover B" preserve="1">
  <p:cSld name="Subsection Cover B">
    <p:spTree>
      <p:nvGrpSpPr>
        <p:cNvPr id="1" name="Shape 53"/>
        <p:cNvGrpSpPr/>
        <p:nvPr/>
      </p:nvGrpSpPr>
      <p:grpSpPr>
        <a:xfrm>
          <a:off x="0" y="0"/>
          <a:ext cx="0" cy="0"/>
          <a:chOff x="0" y="0"/>
          <a:chExt cx="0" cy="0"/>
        </a:xfrm>
      </p:grpSpPr>
      <p:grpSp>
        <p:nvGrpSpPr>
          <p:cNvPr id="2" name="Group 1">
            <a:extLst>
              <a:ext uri="{FF2B5EF4-FFF2-40B4-BE49-F238E27FC236}">
                <a16:creationId xmlns:a16="http://schemas.microsoft.com/office/drawing/2014/main" id="{7CBEC37C-5597-990A-B578-E33332642CD8}"/>
              </a:ext>
              <a:ext uri="{C183D7F6-B498-43B3-948B-1728B52AA6E4}">
                <adec:decorative xmlns:adec="http://schemas.microsoft.com/office/drawing/2017/decorative" val="1"/>
              </a:ext>
            </a:extLst>
          </p:cNvPr>
          <p:cNvGrpSpPr/>
          <p:nvPr userDrawn="1"/>
        </p:nvGrpSpPr>
        <p:grpSpPr>
          <a:xfrm>
            <a:off x="0" y="1"/>
            <a:ext cx="12192000" cy="6858000"/>
            <a:chOff x="0" y="1"/>
            <a:chExt cx="9144000" cy="5143500"/>
          </a:xfrm>
        </p:grpSpPr>
        <p:sp>
          <p:nvSpPr>
            <p:cNvPr id="54" name="Google Shape;54;p14">
              <a:extLst>
                <a:ext uri="{C183D7F6-B498-43B3-948B-1728B52AA6E4}">
                  <adec:decorative xmlns:adec="http://schemas.microsoft.com/office/drawing/2017/decorative" val="1"/>
                </a:ext>
              </a:extLst>
            </p:cNvPr>
            <p:cNvSpPr/>
            <p:nvPr/>
          </p:nvSpPr>
          <p:spPr>
            <a:xfrm>
              <a:off x="0" y="1"/>
              <a:ext cx="9144000" cy="5143500"/>
            </a:xfrm>
            <a:prstGeom prst="rect">
              <a:avLst/>
            </a:prstGeom>
            <a:gradFill>
              <a:gsLst>
                <a:gs pos="0">
                  <a:srgbClr val="161828"/>
                </a:gs>
                <a:gs pos="15000">
                  <a:srgbClr val="161828"/>
                </a:gs>
                <a:gs pos="67000">
                  <a:srgbClr val="1B1D30">
                    <a:alpha val="57647"/>
                  </a:srgbClr>
                </a:gs>
                <a:gs pos="100000">
                  <a:srgbClr val="2E3252">
                    <a:alpha val="0"/>
                  </a:srgbClr>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u="none" strike="noStrike" cap="none">
                <a:solidFill>
                  <a:schemeClr val="lt1"/>
                </a:solidFill>
                <a:latin typeface="Helvetica" pitchFamily="2" charset="0"/>
                <a:ea typeface="Calibri"/>
                <a:cs typeface="Calibri"/>
                <a:sym typeface="Calibri"/>
              </a:endParaRPr>
            </a:p>
          </p:txBody>
        </p:sp>
        <p:cxnSp>
          <p:nvCxnSpPr>
            <p:cNvPr id="55" name="Google Shape;55;p14">
              <a:extLs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63" name="Google Shape;63;p14"/>
          <p:cNvSpPr txBox="1">
            <a:spLocks noGrp="1"/>
          </p:cNvSpPr>
          <p:nvPr>
            <p:ph type="title"/>
          </p:nvPr>
        </p:nvSpPr>
        <p:spPr>
          <a:xfrm>
            <a:off x="1633734"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grpSp>
        <p:nvGrpSpPr>
          <p:cNvPr id="3" name="Group 2">
            <a:extLst>
              <a:ext uri="{FF2B5EF4-FFF2-40B4-BE49-F238E27FC236}">
                <a16:creationId xmlns:a16="http://schemas.microsoft.com/office/drawing/2014/main" id="{EA469B42-A5A6-8FDC-E184-39B0840E8125}"/>
              </a:ext>
              <a:ext uri="{C183D7F6-B498-43B3-948B-1728B52AA6E4}">
                <adec:decorative xmlns:adec="http://schemas.microsoft.com/office/drawing/2017/decorative" val="1"/>
              </a:ext>
            </a:extLst>
          </p:cNvPr>
          <p:cNvGrpSpPr/>
          <p:nvPr userDrawn="1"/>
        </p:nvGrpSpPr>
        <p:grpSpPr>
          <a:xfrm>
            <a:off x="-4218440" y="333"/>
            <a:ext cx="5647907" cy="5936912"/>
            <a:chOff x="-3163830" y="250"/>
            <a:chExt cx="4235930" cy="4452684"/>
          </a:xfrm>
        </p:grpSpPr>
        <p:pic>
          <p:nvPicPr>
            <p:cNvPr id="60" name="Google Shape;60;p14">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3163830" y="690565"/>
              <a:ext cx="3762369" cy="3762369"/>
            </a:xfrm>
            <a:prstGeom prst="rect">
              <a:avLst/>
            </a:prstGeom>
            <a:noFill/>
            <a:ln>
              <a:noFill/>
            </a:ln>
          </p:spPr>
        </p:pic>
        <p:sp>
          <p:nvSpPr>
            <p:cNvPr id="62" name="Google Shape;62;p14">
              <a:extLst>
                <a:ext uri="{C183D7F6-B498-43B3-948B-1728B52AA6E4}">
                  <adec:decorative xmlns:adec="http://schemas.microsoft.com/office/drawing/2017/decorative" val="1"/>
                </a:ext>
              </a:extLst>
            </p:cNvPr>
            <p:cNvSpPr/>
            <p:nvPr/>
          </p:nvSpPr>
          <p:spPr>
            <a:xfrm rot="10800000">
              <a:off x="998900" y="250"/>
              <a:ext cx="73200" cy="34017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64" name="Google Shape;64;p14"/>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5"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cxnSp>
        <p:nvCxnSpPr>
          <p:cNvPr id="59" name="Google Shape;59;p14">
            <a:extLst>
              <a:ext uri="{C183D7F6-B498-43B3-948B-1728B52AA6E4}">
                <adec:decorative xmlns:adec="http://schemas.microsoft.com/office/drawing/2017/decorative" val="1"/>
              </a:ext>
            </a:extLst>
          </p:cNvPr>
          <p:cNvCxnSpPr/>
          <p:nvPr/>
        </p:nvCxnSpPr>
        <p:spPr>
          <a:xfrm>
            <a:off x="1685761" y="1971372"/>
            <a:ext cx="2760400" cy="0"/>
          </a:xfrm>
          <a:prstGeom prst="straightConnector1">
            <a:avLst/>
          </a:prstGeom>
          <a:noFill/>
          <a:ln w="12700" cap="flat" cmpd="sng">
            <a:solidFill>
              <a:schemeClr val="lt1"/>
            </a:solidFill>
            <a:prstDash val="solid"/>
            <a:miter lim="800000"/>
            <a:headEnd type="none" w="sm" len="sm"/>
            <a:tailEnd type="none" w="sm" len="sm"/>
          </a:ln>
        </p:spPr>
      </p:cxnSp>
      <p:pic>
        <p:nvPicPr>
          <p:cNvPr id="61" name="Google Shape;61;p14">
            <a:extLst>
              <a:ext uri="{C183D7F6-B498-43B3-948B-1728B52AA6E4}">
                <adec:decorative xmlns:adec="http://schemas.microsoft.com/office/drawing/2017/decorative" val="1"/>
              </a:ext>
            </a:extLst>
          </p:cNvPr>
          <p:cNvPicPr preferRelativeResize="0"/>
          <p:nvPr/>
        </p:nvPicPr>
        <p:blipFill rotWithShape="1">
          <a:blip r:embed="rId3">
            <a:alphaModFix/>
          </a:blip>
          <a:srcRect r="891"/>
          <a:stretch/>
        </p:blipFill>
        <p:spPr>
          <a:xfrm>
            <a:off x="5154968" y="0"/>
            <a:ext cx="7037033" cy="6857998"/>
          </a:xfrm>
          <a:prstGeom prst="rect">
            <a:avLst/>
          </a:prstGeom>
          <a:noFill/>
          <a:ln>
            <a:noFill/>
          </a:ln>
        </p:spPr>
      </p:pic>
      <p:sp>
        <p:nvSpPr>
          <p:cNvPr id="58" name="Google Shape;58;p14">
            <a:extLst>
              <a:ext uri="{C183D7F6-B498-43B3-948B-1728B52AA6E4}">
                <adec:decorative xmlns:adec="http://schemas.microsoft.com/office/drawing/2017/decorative" val="1"/>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r>
              <a:rPr lang="en" sz="666" b="0" i="0">
                <a:solidFill>
                  <a:schemeClr val="lt1"/>
                </a:solidFill>
                <a:latin typeface="Helvetica" pitchFamily="2" charset="0"/>
                <a:ea typeface="Helvetica Neue"/>
                <a:cs typeface="Helvetica Neue"/>
                <a:sym typeface="Helvetica Neue"/>
              </a:rPr>
              <a:t>1</a:t>
            </a:r>
            <a:endParaRPr sz="932" b="0" i="0">
              <a:latin typeface="Helvetica" pitchFamily="2" charset="0"/>
            </a:endParaRPr>
          </a:p>
        </p:txBody>
      </p:sp>
      <p:sp>
        <p:nvSpPr>
          <p:cNvPr id="57" name="Google Shape;57;p14">
            <a:extLst>
              <a:ext uri="{C183D7F6-B498-43B3-948B-1728B52AA6E4}">
                <adec:decorative xmlns:adec="http://schemas.microsoft.com/office/drawing/2017/decorative" val="1"/>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u="none" strike="noStrike" cap="none">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u="none" strike="noStrike" cap="none">
              <a:solidFill>
                <a:schemeClr val="lt1"/>
              </a:solidFill>
              <a:latin typeface="Helvetica" pitchFamily="2" charset="0"/>
              <a:ea typeface="Helvetica Neue"/>
              <a:cs typeface="Helvetica Neue"/>
              <a:sym typeface="Helvetica Neue"/>
            </a:endParaRPr>
          </a:p>
        </p:txBody>
      </p:sp>
      <p:sp>
        <p:nvSpPr>
          <p:cNvPr id="5" name="Google Shape;56;p14">
            <a:extLst>
              <a:ext uri="{FF2B5EF4-FFF2-40B4-BE49-F238E27FC236}">
                <a16:creationId xmlns:a16="http://schemas.microsoft.com/office/drawing/2014/main" id="{A8775429-4A95-1B6A-456F-7ED0803EB78A}"/>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32974925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matchingName="Cover" preserve="1">
  <p:cSld name="Cover">
    <p:spTree>
      <p:nvGrpSpPr>
        <p:cNvPr id="1" name="Shape 65"/>
        <p:cNvGrpSpPr/>
        <p:nvPr/>
      </p:nvGrpSpPr>
      <p:grpSpPr>
        <a:xfrm>
          <a:off x="0" y="0"/>
          <a:ext cx="0" cy="0"/>
          <a:chOff x="0" y="0"/>
          <a:chExt cx="0" cy="0"/>
        </a:xfrm>
      </p:grpSpPr>
      <p:grpSp>
        <p:nvGrpSpPr>
          <p:cNvPr id="2" name="Group 1">
            <a:extLst>
              <a:ext uri="{FF2B5EF4-FFF2-40B4-BE49-F238E27FC236}">
                <a16:creationId xmlns:a16="http://schemas.microsoft.com/office/drawing/2014/main" id="{CC4674C0-B9AA-75F4-145F-B5098D240B3B}"/>
              </a:ext>
              <a:ext uri="{C183D7F6-B498-43B3-948B-1728B52AA6E4}">
                <adec:decorative xmlns:adec="http://schemas.microsoft.com/office/drawing/2017/decorative" val="1"/>
              </a:ext>
            </a:extLst>
          </p:cNvPr>
          <p:cNvGrpSpPr/>
          <p:nvPr userDrawn="1"/>
        </p:nvGrpSpPr>
        <p:grpSpPr>
          <a:xfrm>
            <a:off x="0" y="1"/>
            <a:ext cx="12192000" cy="6858000"/>
            <a:chOff x="0" y="1"/>
            <a:chExt cx="9144000" cy="5143500"/>
          </a:xfrm>
        </p:grpSpPr>
        <p:sp>
          <p:nvSpPr>
            <p:cNvPr id="66" name="Google Shape;66;p15">
              <a:extLst>
                <a:ext uri="{C183D7F6-B498-43B3-948B-1728B52AA6E4}">
                  <adec:decorative xmlns:adec="http://schemas.microsoft.com/office/drawing/2017/decorative" val="1"/>
                </a:ext>
              </a:extLst>
            </p:cNvPr>
            <p:cNvSpPr/>
            <p:nvPr/>
          </p:nvSpPr>
          <p:spPr>
            <a:xfrm>
              <a:off x="0" y="1"/>
              <a:ext cx="9144000" cy="5143500"/>
            </a:xfrm>
            <a:prstGeom prst="rect">
              <a:avLst/>
            </a:prstGeom>
            <a:gradFill>
              <a:gsLst>
                <a:gs pos="0">
                  <a:srgbClr val="161828"/>
                </a:gs>
                <a:gs pos="15000">
                  <a:srgbClr val="161828"/>
                </a:gs>
                <a:gs pos="67000">
                  <a:srgbClr val="1B1D30">
                    <a:alpha val="57647"/>
                  </a:srgbClr>
                </a:gs>
                <a:gs pos="100000">
                  <a:srgbClr val="2E3252">
                    <a:alpha val="0"/>
                  </a:srgbClr>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u="none" strike="noStrike" cap="none">
                <a:solidFill>
                  <a:schemeClr val="lt1"/>
                </a:solidFill>
                <a:latin typeface="Helvetica" pitchFamily="2" charset="0"/>
                <a:ea typeface="Calibri"/>
                <a:cs typeface="Calibri"/>
                <a:sym typeface="Calibri"/>
              </a:endParaRPr>
            </a:p>
          </p:txBody>
        </p:sp>
        <p:cxnSp>
          <p:nvCxnSpPr>
            <p:cNvPr id="67" name="Google Shape;67;p15">
              <a:extLst>
                <a:ext uri="{C183D7F6-B498-43B3-948B-1728B52AA6E4}">
                  <adec:decorative xmlns:adec="http://schemas.microsoft.com/office/drawing/2017/decorative" val="1"/>
                </a:ext>
              </a:extLst>
            </p:cNvPr>
            <p:cNvCxnSpPr/>
            <p:nvPr/>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74" name="Google Shape;74;p15"/>
          <p:cNvSpPr txBox="1">
            <a:spLocks noGrp="1"/>
          </p:cNvSpPr>
          <p:nvPr>
            <p:ph type="title"/>
          </p:nvPr>
        </p:nvSpPr>
        <p:spPr>
          <a:xfrm>
            <a:off x="816867" y="731533"/>
            <a:ext cx="5641200" cy="3144800"/>
          </a:xfrm>
          <a:prstGeom prst="rect">
            <a:avLst/>
          </a:prstGeom>
        </p:spPr>
        <p:txBody>
          <a:bodyPr spcFirstLastPara="1" wrap="square" lIns="45700" tIns="18275" rIns="45700" bIns="18275" anchor="t" anchorCtr="0">
            <a:noAutofit/>
          </a:bodyPr>
          <a:lstStyle>
            <a:lvl1pPr lvl="0" rtl="0">
              <a:lnSpc>
                <a:spcPct val="90000"/>
              </a:lnSpc>
              <a:spcBef>
                <a:spcPts val="0"/>
              </a:spcBef>
              <a:spcAft>
                <a:spcPts val="0"/>
              </a:spcAft>
              <a:buSzPts val="5400"/>
              <a:buNone/>
              <a:defRPr sz="7189"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3" name="Google Shape;73;p15">
            <a:extLst>
              <a:ext uri="{C183D7F6-B498-43B3-948B-1728B52AA6E4}">
                <adec:decorative xmlns:adec="http://schemas.microsoft.com/office/drawing/2017/decorative" val="1"/>
              </a:ext>
            </a:extLst>
          </p:cNvPr>
          <p:cNvSpPr/>
          <p:nvPr/>
        </p:nvSpPr>
        <p:spPr>
          <a:xfrm rot="10800000">
            <a:off x="541967" y="0"/>
            <a:ext cx="97600" cy="3533200"/>
          </a:xfrm>
          <a:prstGeom prst="rect">
            <a:avLst/>
          </a:prstGeom>
          <a:gradFill>
            <a:gsLst>
              <a:gs pos="0">
                <a:srgbClr val="D59DFF"/>
              </a:gs>
              <a:gs pos="100000">
                <a:srgbClr val="28AFEA"/>
              </a:gs>
            </a:gsLst>
            <a:lin ang="5400012" scaled="0"/>
          </a:gradFill>
          <a:ln>
            <a:noFill/>
          </a:ln>
        </p:spPr>
        <p:txBody>
          <a:bodyPr spcFirstLastPara="1" wrap="square" lIns="121711" tIns="121711" rIns="121711" bIns="121711" anchor="ctr" anchorCtr="0">
            <a:noAutofit/>
          </a:bodyPr>
          <a:lstStyle/>
          <a:p>
            <a:pPr marL="0" lvl="0" indent="0" algn="l" rtl="0">
              <a:spcBef>
                <a:spcPts val="0"/>
              </a:spcBef>
              <a:spcAft>
                <a:spcPts val="0"/>
              </a:spcAft>
              <a:buNone/>
            </a:pPr>
            <a:endParaRPr sz="2396" b="0" i="0">
              <a:latin typeface="Helvetica" pitchFamily="2" charset="0"/>
            </a:endParaRPr>
          </a:p>
        </p:txBody>
      </p:sp>
      <p:sp>
        <p:nvSpPr>
          <p:cNvPr id="75" name="Google Shape;75;p15"/>
          <p:cNvSpPr txBox="1">
            <a:spLocks noGrp="1"/>
          </p:cNvSpPr>
          <p:nvPr>
            <p:ph type="body" idx="1"/>
          </p:nvPr>
        </p:nvSpPr>
        <p:spPr>
          <a:xfrm>
            <a:off x="816867" y="4096500"/>
            <a:ext cx="5641200" cy="1634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1000"/>
              <a:buNone/>
              <a:defRPr b="0" i="0">
                <a:latin typeface="Helvetica" pitchFamily="2" charset="0"/>
              </a:defRPr>
            </a:lvl1pPr>
            <a:lvl2pPr marL="1217295" lvl="1" indent="-388858">
              <a:spcBef>
                <a:spcPts val="0"/>
              </a:spcBef>
              <a:spcAft>
                <a:spcPts val="0"/>
              </a:spcAft>
              <a:buSzPts val="1000"/>
              <a:buChar char="○"/>
              <a:defRPr/>
            </a:lvl2pPr>
            <a:lvl3pPr marL="1825943" lvl="2" indent="-388858">
              <a:spcBef>
                <a:spcPts val="0"/>
              </a:spcBef>
              <a:spcAft>
                <a:spcPts val="0"/>
              </a:spcAft>
              <a:buSzPts val="1000"/>
              <a:buChar char="■"/>
              <a:defRPr/>
            </a:lvl3pPr>
            <a:lvl4pPr marL="2434590" lvl="3" indent="-388858">
              <a:spcBef>
                <a:spcPts val="0"/>
              </a:spcBef>
              <a:spcAft>
                <a:spcPts val="0"/>
              </a:spcAft>
              <a:buSzPts val="1000"/>
              <a:buChar char="●"/>
              <a:defRPr/>
            </a:lvl4pPr>
            <a:lvl5pPr marL="3043238" lvl="4" indent="-388858">
              <a:spcBef>
                <a:spcPts val="0"/>
              </a:spcBef>
              <a:spcAft>
                <a:spcPts val="0"/>
              </a:spcAft>
              <a:buSzPts val="1000"/>
              <a:buChar char="○"/>
              <a:defRPr/>
            </a:lvl5pPr>
            <a:lvl6pPr marL="3651885" lvl="5" indent="-388858">
              <a:spcBef>
                <a:spcPts val="0"/>
              </a:spcBef>
              <a:spcAft>
                <a:spcPts val="0"/>
              </a:spcAft>
              <a:buSzPts val="1000"/>
              <a:buChar char="■"/>
              <a:defRPr/>
            </a:lvl6pPr>
            <a:lvl7pPr marL="4260533" lvl="6" indent="-388858">
              <a:spcBef>
                <a:spcPts val="0"/>
              </a:spcBef>
              <a:spcAft>
                <a:spcPts val="0"/>
              </a:spcAft>
              <a:buSzPts val="1000"/>
              <a:buChar char="●"/>
              <a:defRPr/>
            </a:lvl7pPr>
            <a:lvl8pPr marL="4869180" lvl="7" indent="-388858">
              <a:spcBef>
                <a:spcPts val="0"/>
              </a:spcBef>
              <a:spcAft>
                <a:spcPts val="0"/>
              </a:spcAft>
              <a:buSzPts val="1000"/>
              <a:buChar char="○"/>
              <a:defRPr/>
            </a:lvl8pPr>
            <a:lvl9pPr marL="5477828" lvl="8" indent="-388858">
              <a:spcBef>
                <a:spcPts val="0"/>
              </a:spcBef>
              <a:spcAft>
                <a:spcPts val="0"/>
              </a:spcAft>
              <a:buSzPts val="1000"/>
              <a:buChar char="■"/>
              <a:defRPr/>
            </a:lvl9pPr>
          </a:lstStyle>
          <a:p>
            <a:endParaRPr/>
          </a:p>
        </p:txBody>
      </p:sp>
      <p:pic>
        <p:nvPicPr>
          <p:cNvPr id="70" name="Google Shape;70;p15">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6991596" y="852721"/>
            <a:ext cx="5016492" cy="5016492"/>
          </a:xfrm>
          <a:prstGeom prst="rect">
            <a:avLst/>
          </a:prstGeom>
          <a:noFill/>
          <a:ln>
            <a:noFill/>
          </a:ln>
        </p:spPr>
      </p:pic>
      <p:pic>
        <p:nvPicPr>
          <p:cNvPr id="72" name="Google Shape;72;p15">
            <a:extLst>
              <a:ext uri="{C183D7F6-B498-43B3-948B-1728B52AA6E4}">
                <adec:decorative xmlns:adec="http://schemas.microsoft.com/office/drawing/2017/decorative" val="1"/>
              </a:ext>
            </a:extLst>
          </p:cNvPr>
          <p:cNvPicPr preferRelativeResize="0"/>
          <p:nvPr/>
        </p:nvPicPr>
        <p:blipFill rotWithShape="1">
          <a:blip r:embed="rId3">
            <a:alphaModFix/>
          </a:blip>
          <a:srcRect l="12915" r="21622"/>
          <a:stretch/>
        </p:blipFill>
        <p:spPr>
          <a:xfrm>
            <a:off x="6672747" y="1"/>
            <a:ext cx="5519259" cy="6857994"/>
          </a:xfrm>
          <a:prstGeom prst="rect">
            <a:avLst/>
          </a:prstGeom>
          <a:noFill/>
          <a:ln>
            <a:noFill/>
          </a:ln>
        </p:spPr>
      </p:pic>
      <p:sp>
        <p:nvSpPr>
          <p:cNvPr id="71" name="Google Shape;71;p15">
            <a:extLst>
              <a:ext uri="{C183D7F6-B498-43B3-948B-1728B52AA6E4}">
                <adec:decorative xmlns:adec="http://schemas.microsoft.com/office/drawing/2017/decorative" val="1"/>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r>
              <a:rPr lang="en" sz="666" b="0" i="0" u="none" strike="noStrike" cap="none">
                <a:solidFill>
                  <a:schemeClr val="lt1"/>
                </a:solidFill>
                <a:latin typeface="Helvetica" pitchFamily="2" charset="0"/>
                <a:ea typeface="Helvetica Neue"/>
                <a:cs typeface="Helvetica Neue"/>
                <a:sym typeface="Helvetica Neue"/>
              </a:rPr>
              <a:t>1</a:t>
            </a:r>
            <a:endParaRPr sz="932" b="0" i="0">
              <a:latin typeface="Helvetica" pitchFamily="2" charset="0"/>
            </a:endParaRPr>
          </a:p>
        </p:txBody>
      </p:sp>
      <p:sp>
        <p:nvSpPr>
          <p:cNvPr id="69" name="Google Shape;69;p15">
            <a:extLst>
              <a:ext uri="{C183D7F6-B498-43B3-948B-1728B52AA6E4}">
                <adec:decorative xmlns:adec="http://schemas.microsoft.com/office/drawing/2017/decorative" val="1"/>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u="none" strike="noStrike" cap="none">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u="none" strike="noStrike" cap="none">
              <a:solidFill>
                <a:schemeClr val="lt1"/>
              </a:solidFill>
              <a:latin typeface="Helvetica" pitchFamily="2" charset="0"/>
              <a:ea typeface="Helvetica Neue"/>
              <a:cs typeface="Helvetica Neue"/>
              <a:sym typeface="Helvetica Neue"/>
            </a:endParaRPr>
          </a:p>
        </p:txBody>
      </p:sp>
      <p:sp>
        <p:nvSpPr>
          <p:cNvPr id="4" name="Google Shape;56;p14">
            <a:extLst>
              <a:ext uri="{FF2B5EF4-FFF2-40B4-BE49-F238E27FC236}">
                <a16:creationId xmlns:a16="http://schemas.microsoft.com/office/drawing/2014/main" id="{62E87D12-0747-BC87-56EA-574BBF331BC0}"/>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194870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Google Shape;66;p15">
            <a:extLst>
              <a:ext uri="{FF2B5EF4-FFF2-40B4-BE49-F238E27FC236}">
                <a16:creationId xmlns:a16="http://schemas.microsoft.com/office/drawing/2014/main" id="{212E7DCA-19FF-AD18-3920-326D5C955D12}"/>
              </a:ext>
              <a:ext uri="{C183D7F6-B498-43B3-948B-1728B52AA6E4}">
                <adec:decorative xmlns:adec="http://schemas.microsoft.com/office/drawing/2017/decorative" val="1"/>
              </a:ext>
            </a:extLst>
          </p:cNvPr>
          <p:cNvSpPr/>
          <p:nvPr userDrawn="1"/>
        </p:nvSpPr>
        <p:spPr>
          <a:xfrm>
            <a:off x="0" y="1"/>
            <a:ext cx="12192000" cy="6858000"/>
          </a:xfrm>
          <a:prstGeom prst="rect">
            <a:avLst/>
          </a:prstGeom>
          <a:gradFill>
            <a:gsLst>
              <a:gs pos="0">
                <a:srgbClr val="161828"/>
              </a:gs>
              <a:gs pos="15000">
                <a:srgbClr val="161828"/>
              </a:gs>
              <a:gs pos="67000">
                <a:srgbClr val="1B1D30">
                  <a:alpha val="57647"/>
                </a:srgbClr>
              </a:gs>
              <a:gs pos="100000">
                <a:srgbClr val="2E3252">
                  <a:alpha val="0"/>
                </a:srgbClr>
              </a:gs>
            </a:gsLst>
            <a:lin ang="0" scaled="0"/>
          </a:gradFill>
          <a:ln>
            <a:noFill/>
          </a:ln>
        </p:spPr>
        <p:txBody>
          <a:bodyPr spcFirstLastPara="1" wrap="square" lIns="57111" tIns="28556" rIns="57111" bIns="28556" anchor="ctr" anchorCtr="0">
            <a:noAutofit/>
          </a:bodyPr>
          <a:lstStyle/>
          <a:p>
            <a:pPr marL="0" marR="0" lvl="0" indent="0" algn="ctr" rtl="0">
              <a:spcBef>
                <a:spcPts val="0"/>
              </a:spcBef>
              <a:spcAft>
                <a:spcPts val="0"/>
              </a:spcAft>
              <a:buNone/>
            </a:pPr>
            <a:endParaRPr sz="1864" b="0" i="0" u="none" strike="noStrike" cap="none">
              <a:solidFill>
                <a:schemeClr val="lt1"/>
              </a:solidFill>
              <a:latin typeface="Helvetica" pitchFamily="2" charset="0"/>
              <a:ea typeface="Calibri"/>
              <a:cs typeface="Calibri"/>
              <a:sym typeface="Calibri"/>
            </a:endParaRPr>
          </a:p>
        </p:txBody>
      </p:sp>
      <p:pic>
        <p:nvPicPr>
          <p:cNvPr id="10" name="Google Shape;168;p20">
            <a:extLst>
              <a:ext uri="{FF2B5EF4-FFF2-40B4-BE49-F238E27FC236}">
                <a16:creationId xmlns:a16="http://schemas.microsoft.com/office/drawing/2014/main" id="{400BD828-4B55-0E98-CD77-6BD0E3E5D630}"/>
              </a:ext>
              <a:ext uri="{C183D7F6-B498-43B3-948B-1728B52AA6E4}">
                <adec:decorative xmlns:adec="http://schemas.microsoft.com/office/drawing/2017/decorative" val="1"/>
              </a:ext>
            </a:extLst>
          </p:cNvPr>
          <p:cNvPicPr preferRelativeResize="0"/>
          <p:nvPr userDrawn="1"/>
        </p:nvPicPr>
        <p:blipFill rotWithShape="1">
          <a:blip r:embed="rId2">
            <a:alphaModFix/>
          </a:blip>
          <a:srcRect t="15174" r="26360"/>
          <a:stretch/>
        </p:blipFill>
        <p:spPr>
          <a:xfrm flipH="1">
            <a:off x="-1" y="0"/>
            <a:ext cx="7010372" cy="6815896"/>
          </a:xfrm>
          <a:prstGeom prst="rect">
            <a:avLst/>
          </a:prstGeom>
          <a:noFill/>
          <a:ln>
            <a:noFill/>
          </a:ln>
        </p:spPr>
      </p:pic>
      <p:grpSp>
        <p:nvGrpSpPr>
          <p:cNvPr id="11" name="Group 10">
            <a:extLst>
              <a:ext uri="{FF2B5EF4-FFF2-40B4-BE49-F238E27FC236}">
                <a16:creationId xmlns:a16="http://schemas.microsoft.com/office/drawing/2014/main" id="{326582D8-90BE-B20F-C82F-42E55DABD5EF}"/>
              </a:ext>
              <a:ext uri="{C183D7F6-B498-43B3-948B-1728B52AA6E4}">
                <adec:decorative xmlns:adec="http://schemas.microsoft.com/office/drawing/2017/decorative" val="1"/>
              </a:ext>
            </a:extLst>
          </p:cNvPr>
          <p:cNvGrpSpPr/>
          <p:nvPr userDrawn="1"/>
        </p:nvGrpSpPr>
        <p:grpSpPr>
          <a:xfrm flipH="1" flipV="1">
            <a:off x="-32053" y="5007768"/>
            <a:ext cx="4751040" cy="1850232"/>
            <a:chOff x="6426339" y="0"/>
            <a:chExt cx="5765662" cy="2245364"/>
          </a:xfrm>
        </p:grpSpPr>
        <p:grpSp>
          <p:nvGrpSpPr>
            <p:cNvPr id="12" name="Group 11">
              <a:extLst>
                <a:ext uri="{FF2B5EF4-FFF2-40B4-BE49-F238E27FC236}">
                  <a16:creationId xmlns:a16="http://schemas.microsoft.com/office/drawing/2014/main" id="{C15EAB5C-DC14-0E7A-DE01-849A5056663E}"/>
                </a:ext>
              </a:extLst>
            </p:cNvPr>
            <p:cNvGrpSpPr/>
            <p:nvPr userDrawn="1"/>
          </p:nvGrpSpPr>
          <p:grpSpPr>
            <a:xfrm>
              <a:off x="7563294" y="1222444"/>
              <a:ext cx="2853056" cy="1022920"/>
              <a:chOff x="7251064" y="1318260"/>
              <a:chExt cx="2853056" cy="1022920"/>
            </a:xfrm>
          </p:grpSpPr>
          <p:sp>
            <p:nvSpPr>
              <p:cNvPr id="19" name="Freeform: Shape 18">
                <a:extLst>
                  <a:ext uri="{FF2B5EF4-FFF2-40B4-BE49-F238E27FC236}">
                    <a16:creationId xmlns:a16="http://schemas.microsoft.com/office/drawing/2014/main" id="{080DAEA6-4345-8A5E-314F-51F07A280411}"/>
                  </a:ext>
                </a:extLst>
              </p:cNvPr>
              <p:cNvSpPr/>
              <p:nvPr userDrawn="1"/>
            </p:nvSpPr>
            <p:spPr>
              <a:xfrm>
                <a:off x="7338060" y="1318260"/>
                <a:ext cx="2766060" cy="937260"/>
              </a:xfrm>
              <a:custGeom>
                <a:avLst/>
                <a:gdLst>
                  <a:gd name="connsiteX0" fmla="*/ 1082040 w 2766060"/>
                  <a:gd name="connsiteY0" fmla="*/ 274320 h 937260"/>
                  <a:gd name="connsiteX1" fmla="*/ 1569720 w 2766060"/>
                  <a:gd name="connsiteY1" fmla="*/ 274320 h 937260"/>
                  <a:gd name="connsiteX2" fmla="*/ 1844040 w 2766060"/>
                  <a:gd name="connsiteY2" fmla="*/ 0 h 937260"/>
                  <a:gd name="connsiteX3" fmla="*/ 2766060 w 2766060"/>
                  <a:gd name="connsiteY3" fmla="*/ 0 h 937260"/>
                  <a:gd name="connsiteX4" fmla="*/ 2766060 w 2766060"/>
                  <a:gd name="connsiteY4" fmla="*/ 281940 h 937260"/>
                  <a:gd name="connsiteX5" fmla="*/ 2537460 w 2766060"/>
                  <a:gd name="connsiteY5" fmla="*/ 510540 h 937260"/>
                  <a:gd name="connsiteX6" fmla="*/ 1569720 w 2766060"/>
                  <a:gd name="connsiteY6" fmla="*/ 510540 h 937260"/>
                  <a:gd name="connsiteX7" fmla="*/ 1371600 w 2766060"/>
                  <a:gd name="connsiteY7" fmla="*/ 708660 h 937260"/>
                  <a:gd name="connsiteX8" fmla="*/ 228600 w 2766060"/>
                  <a:gd name="connsiteY8" fmla="*/ 708660 h 937260"/>
                  <a:gd name="connsiteX9" fmla="*/ 0 w 2766060"/>
                  <a:gd name="connsiteY9" fmla="*/ 937260 h 93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6060" h="937260">
                    <a:moveTo>
                      <a:pt x="1082040" y="274320"/>
                    </a:moveTo>
                    <a:lnTo>
                      <a:pt x="1569720" y="274320"/>
                    </a:lnTo>
                    <a:lnTo>
                      <a:pt x="1844040" y="0"/>
                    </a:lnTo>
                    <a:lnTo>
                      <a:pt x="2766060" y="0"/>
                    </a:lnTo>
                    <a:lnTo>
                      <a:pt x="2766060" y="281940"/>
                    </a:lnTo>
                    <a:lnTo>
                      <a:pt x="2537460" y="510540"/>
                    </a:lnTo>
                    <a:lnTo>
                      <a:pt x="1569720" y="510540"/>
                    </a:lnTo>
                    <a:lnTo>
                      <a:pt x="1371600" y="708660"/>
                    </a:lnTo>
                    <a:lnTo>
                      <a:pt x="228600" y="708660"/>
                    </a:lnTo>
                    <a:lnTo>
                      <a:pt x="0" y="937260"/>
                    </a:lnTo>
                  </a:path>
                </a:pathLst>
              </a:custGeom>
              <a:noFill/>
              <a:ln w="6350">
                <a:solidFill>
                  <a:srgbClr val="BFE8F6">
                    <a:alpha val="10000"/>
                  </a:srgb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2396"/>
              </a:p>
            </p:txBody>
          </p:sp>
          <p:sp>
            <p:nvSpPr>
              <p:cNvPr id="20" name="Oval 19">
                <a:extLst>
                  <a:ext uri="{FF2B5EF4-FFF2-40B4-BE49-F238E27FC236}">
                    <a16:creationId xmlns:a16="http://schemas.microsoft.com/office/drawing/2014/main" id="{5E033A54-2397-17DC-70ED-CD64240BF6E2}"/>
                  </a:ext>
                </a:extLst>
              </p:cNvPr>
              <p:cNvSpPr/>
              <p:nvPr userDrawn="1"/>
            </p:nvSpPr>
            <p:spPr>
              <a:xfrm flipH="1">
                <a:off x="8258810" y="1523635"/>
                <a:ext cx="159624" cy="159624"/>
              </a:xfrm>
              <a:prstGeom prst="ellipse">
                <a:avLst/>
              </a:prstGeom>
              <a:noFill/>
              <a:ln w="6350">
                <a:solidFill>
                  <a:srgbClr val="BFE8F6">
                    <a:alpha val="10000"/>
                  </a:srgb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sp>
            <p:nvSpPr>
              <p:cNvPr id="21" name="Oval 20">
                <a:extLst>
                  <a:ext uri="{FF2B5EF4-FFF2-40B4-BE49-F238E27FC236}">
                    <a16:creationId xmlns:a16="http://schemas.microsoft.com/office/drawing/2014/main" id="{5FA02E3B-83B2-3DF1-A821-FAFD42A77107}"/>
                  </a:ext>
                </a:extLst>
              </p:cNvPr>
              <p:cNvSpPr/>
              <p:nvPr userDrawn="1"/>
            </p:nvSpPr>
            <p:spPr>
              <a:xfrm flipH="1">
                <a:off x="7251064" y="2239184"/>
                <a:ext cx="101996" cy="101996"/>
              </a:xfrm>
              <a:prstGeom prst="ellipse">
                <a:avLst/>
              </a:prstGeom>
              <a:noFill/>
              <a:ln w="6350">
                <a:solidFill>
                  <a:srgbClr val="BFE8F6">
                    <a:alpha val="10000"/>
                  </a:srgb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grpSp>
        <p:grpSp>
          <p:nvGrpSpPr>
            <p:cNvPr id="13" name="Group 12">
              <a:extLst>
                <a:ext uri="{FF2B5EF4-FFF2-40B4-BE49-F238E27FC236}">
                  <a16:creationId xmlns:a16="http://schemas.microsoft.com/office/drawing/2014/main" id="{DD0E8F92-A016-E58E-BF23-6F3DD1A17000}"/>
                </a:ext>
              </a:extLst>
            </p:cNvPr>
            <p:cNvGrpSpPr/>
            <p:nvPr userDrawn="1"/>
          </p:nvGrpSpPr>
          <p:grpSpPr>
            <a:xfrm flipH="1">
              <a:off x="6426339" y="0"/>
              <a:ext cx="3442047" cy="913305"/>
              <a:chOff x="-8801100" y="-6064967"/>
              <a:chExt cx="14164370" cy="3758342"/>
            </a:xfrm>
          </p:grpSpPr>
          <p:sp>
            <p:nvSpPr>
              <p:cNvPr id="17" name="Freeform: Shape 16">
                <a:extLst>
                  <a:ext uri="{FF2B5EF4-FFF2-40B4-BE49-F238E27FC236}">
                    <a16:creationId xmlns:a16="http://schemas.microsoft.com/office/drawing/2014/main" id="{C2AEF793-550C-D74B-488F-60258420830F}"/>
                  </a:ext>
                </a:extLst>
              </p:cNvPr>
              <p:cNvSpPr/>
              <p:nvPr/>
            </p:nvSpPr>
            <p:spPr>
              <a:xfrm rot="5400000">
                <a:off x="-3598086" y="-11267981"/>
                <a:ext cx="3758342" cy="14164370"/>
              </a:xfrm>
              <a:custGeom>
                <a:avLst/>
                <a:gdLst>
                  <a:gd name="connsiteX0" fmla="*/ 0 w 3758342"/>
                  <a:gd name="connsiteY0" fmla="*/ 14164370 h 14164370"/>
                  <a:gd name="connsiteX1" fmla="*/ 0 w 3758342"/>
                  <a:gd name="connsiteY1" fmla="*/ 11706920 h 14164370"/>
                  <a:gd name="connsiteX2" fmla="*/ 0 w 3758342"/>
                  <a:gd name="connsiteY2" fmla="*/ 2457450 h 14164370"/>
                  <a:gd name="connsiteX3" fmla="*/ 0 w 3758342"/>
                  <a:gd name="connsiteY3" fmla="*/ 0 h 14164370"/>
                  <a:gd name="connsiteX4" fmla="*/ 158349 w 3758342"/>
                  <a:gd name="connsiteY4" fmla="*/ 53579 h 14164370"/>
                  <a:gd name="connsiteX5" fmla="*/ 3758342 w 3758342"/>
                  <a:gd name="connsiteY5" fmla="*/ 5207066 h 14164370"/>
                  <a:gd name="connsiteX6" fmla="*/ 3758342 w 3758342"/>
                  <a:gd name="connsiteY6" fmla="*/ 7664516 h 14164370"/>
                  <a:gd name="connsiteX7" fmla="*/ 3758342 w 3758342"/>
                  <a:gd name="connsiteY7" fmla="*/ 11706920 h 14164370"/>
                  <a:gd name="connsiteX8" fmla="*/ 3758342 w 3758342"/>
                  <a:gd name="connsiteY8" fmla="*/ 14164370 h 1416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8342" h="14164370">
                    <a:moveTo>
                      <a:pt x="0" y="14164370"/>
                    </a:moveTo>
                    <a:lnTo>
                      <a:pt x="0" y="11706920"/>
                    </a:lnTo>
                    <a:lnTo>
                      <a:pt x="0" y="2457450"/>
                    </a:lnTo>
                    <a:lnTo>
                      <a:pt x="0" y="0"/>
                    </a:lnTo>
                    <a:lnTo>
                      <a:pt x="158349" y="53579"/>
                    </a:lnTo>
                    <a:cubicBezTo>
                      <a:pt x="2259108" y="822770"/>
                      <a:pt x="3758342" y="2839835"/>
                      <a:pt x="3758342" y="5207066"/>
                    </a:cubicBezTo>
                    <a:lnTo>
                      <a:pt x="3758342" y="7664516"/>
                    </a:lnTo>
                    <a:lnTo>
                      <a:pt x="3758342" y="11706920"/>
                    </a:lnTo>
                    <a:lnTo>
                      <a:pt x="3758342" y="14164370"/>
                    </a:lnTo>
                    <a:close/>
                  </a:path>
                </a:pathLst>
              </a:custGeom>
              <a:gradFill flip="none" rotWithShape="1">
                <a:gsLst>
                  <a:gs pos="2000">
                    <a:srgbClr val="342961">
                      <a:alpha val="93000"/>
                    </a:srgbClr>
                  </a:gs>
                  <a:gs pos="100000">
                    <a:srgbClr val="2096E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sp>
            <p:nvSpPr>
              <p:cNvPr id="18" name="Freeform: Shape 17">
                <a:extLst>
                  <a:ext uri="{FF2B5EF4-FFF2-40B4-BE49-F238E27FC236}">
                    <a16:creationId xmlns:a16="http://schemas.microsoft.com/office/drawing/2014/main" id="{D6204459-DC7B-71D4-B4C6-156BC4CB8D5D}"/>
                  </a:ext>
                </a:extLst>
              </p:cNvPr>
              <p:cNvSpPr/>
              <p:nvPr/>
            </p:nvSpPr>
            <p:spPr>
              <a:xfrm>
                <a:off x="-51252" y="-5887006"/>
                <a:ext cx="5193918" cy="3580381"/>
              </a:xfrm>
              <a:custGeom>
                <a:avLst/>
                <a:gdLst>
                  <a:gd name="connsiteX0" fmla="*/ 3581533 w 5193918"/>
                  <a:gd name="connsiteY0" fmla="*/ 0 h 3580381"/>
                  <a:gd name="connsiteX1" fmla="*/ 5134289 w 5193918"/>
                  <a:gd name="connsiteY1" fmla="*/ 353181 h 3580381"/>
                  <a:gd name="connsiteX2" fmla="*/ 5193918 w 5193918"/>
                  <a:gd name="connsiteY2" fmla="*/ 383721 h 3580381"/>
                  <a:gd name="connsiteX3" fmla="*/ 5015756 w 5193918"/>
                  <a:gd name="connsiteY3" fmla="*/ 738223 h 3580381"/>
                  <a:gd name="connsiteX4" fmla="*/ 207456 w 5193918"/>
                  <a:gd name="connsiteY4" fmla="*/ 3580381 h 3580381"/>
                  <a:gd name="connsiteX5" fmla="*/ 0 w 5193918"/>
                  <a:gd name="connsiteY5" fmla="*/ 3580381 h 3580381"/>
                  <a:gd name="connsiteX6" fmla="*/ 4630 w 5193918"/>
                  <a:gd name="connsiteY6" fmla="*/ 3397256 h 3580381"/>
                  <a:gd name="connsiteX7" fmla="*/ 3581533 w 5193918"/>
                  <a:gd name="connsiteY7" fmla="*/ 0 h 358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3918" h="3580381">
                    <a:moveTo>
                      <a:pt x="3581533" y="0"/>
                    </a:moveTo>
                    <a:cubicBezTo>
                      <a:pt x="4137858" y="0"/>
                      <a:pt x="4664557" y="126841"/>
                      <a:pt x="5134289" y="353181"/>
                    </a:cubicBezTo>
                    <a:lnTo>
                      <a:pt x="5193918" y="383721"/>
                    </a:lnTo>
                    <a:lnTo>
                      <a:pt x="5015756" y="738223"/>
                    </a:lnTo>
                    <a:cubicBezTo>
                      <a:pt x="4082014" y="2432530"/>
                      <a:pt x="2278783" y="3580381"/>
                      <a:pt x="207456" y="3580381"/>
                    </a:cubicBezTo>
                    <a:lnTo>
                      <a:pt x="0" y="3580381"/>
                    </a:lnTo>
                    <a:lnTo>
                      <a:pt x="4630" y="3397256"/>
                    </a:lnTo>
                    <a:cubicBezTo>
                      <a:pt x="100556" y="1504866"/>
                      <a:pt x="1665304" y="0"/>
                      <a:pt x="3581533" y="0"/>
                    </a:cubicBezTo>
                    <a:close/>
                  </a:path>
                </a:pathLst>
              </a:custGeom>
              <a:gradFill>
                <a:gsLst>
                  <a:gs pos="100000">
                    <a:srgbClr val="D59DFF">
                      <a:alpha val="23000"/>
                    </a:srgbClr>
                  </a:gs>
                  <a:gs pos="0">
                    <a:srgbClr val="1F9CF0">
                      <a:alpha val="25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grpSp>
        <p:sp>
          <p:nvSpPr>
            <p:cNvPr id="14" name="Freeform: Shape 13">
              <a:extLst>
                <a:ext uri="{FF2B5EF4-FFF2-40B4-BE49-F238E27FC236}">
                  <a16:creationId xmlns:a16="http://schemas.microsoft.com/office/drawing/2014/main" id="{8D3D36A4-87E7-9446-BCC6-B0C57E650CBC}"/>
                </a:ext>
              </a:extLst>
            </p:cNvPr>
            <p:cNvSpPr/>
            <p:nvPr userDrawn="1"/>
          </p:nvSpPr>
          <p:spPr>
            <a:xfrm>
              <a:off x="9761368" y="1"/>
              <a:ext cx="2430633" cy="1963134"/>
            </a:xfrm>
            <a:custGeom>
              <a:avLst/>
              <a:gdLst>
                <a:gd name="connsiteX0" fmla="*/ 72962 w 2430633"/>
                <a:gd name="connsiteY0" fmla="*/ 0 h 1963134"/>
                <a:gd name="connsiteX1" fmla="*/ 531131 w 2430633"/>
                <a:gd name="connsiteY1" fmla="*/ 0 h 1963134"/>
                <a:gd name="connsiteX2" fmla="*/ 520604 w 2430633"/>
                <a:gd name="connsiteY2" fmla="*/ 19395 h 1963134"/>
                <a:gd name="connsiteX3" fmla="*/ 435275 w 2430633"/>
                <a:gd name="connsiteY3" fmla="*/ 442043 h 1963134"/>
                <a:gd name="connsiteX4" fmla="*/ 1521090 w 2430633"/>
                <a:gd name="connsiteY4" fmla="*/ 1527858 h 1963134"/>
                <a:gd name="connsiteX5" fmla="*/ 2421465 w 2430633"/>
                <a:gd name="connsiteY5" fmla="*/ 1049133 h 1963134"/>
                <a:gd name="connsiteX6" fmla="*/ 2430633 w 2430633"/>
                <a:gd name="connsiteY6" fmla="*/ 1034041 h 1963134"/>
                <a:gd name="connsiteX7" fmla="*/ 2430633 w 2430633"/>
                <a:gd name="connsiteY7" fmla="*/ 1659171 h 1963134"/>
                <a:gd name="connsiteX8" fmla="*/ 2371546 w 2430633"/>
                <a:gd name="connsiteY8" fmla="*/ 1703356 h 1963134"/>
                <a:gd name="connsiteX9" fmla="*/ 1521090 w 2430633"/>
                <a:gd name="connsiteY9" fmla="*/ 1963134 h 1963134"/>
                <a:gd name="connsiteX10" fmla="*/ 0 w 2430633"/>
                <a:gd name="connsiteY10" fmla="*/ 442043 h 1963134"/>
                <a:gd name="connsiteX11" fmla="*/ 30903 w 2430633"/>
                <a:gd name="connsiteY11" fmla="*/ 135490 h 196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0633" h="1963134">
                  <a:moveTo>
                    <a:pt x="72962" y="0"/>
                  </a:moveTo>
                  <a:lnTo>
                    <a:pt x="531131" y="0"/>
                  </a:lnTo>
                  <a:lnTo>
                    <a:pt x="520604" y="19395"/>
                  </a:lnTo>
                  <a:cubicBezTo>
                    <a:pt x="465659" y="149300"/>
                    <a:pt x="435275" y="292123"/>
                    <a:pt x="435275" y="442043"/>
                  </a:cubicBezTo>
                  <a:cubicBezTo>
                    <a:pt x="435275" y="1041722"/>
                    <a:pt x="921411" y="1527858"/>
                    <a:pt x="1521090" y="1527858"/>
                  </a:cubicBezTo>
                  <a:cubicBezTo>
                    <a:pt x="1895890" y="1527858"/>
                    <a:pt x="2226336" y="1337961"/>
                    <a:pt x="2421465" y="1049133"/>
                  </a:cubicBezTo>
                  <a:lnTo>
                    <a:pt x="2430633" y="1034041"/>
                  </a:lnTo>
                  <a:lnTo>
                    <a:pt x="2430633" y="1659171"/>
                  </a:lnTo>
                  <a:lnTo>
                    <a:pt x="2371546" y="1703356"/>
                  </a:lnTo>
                  <a:cubicBezTo>
                    <a:pt x="2128779" y="1867366"/>
                    <a:pt x="1836118" y="1963134"/>
                    <a:pt x="1521090" y="1963134"/>
                  </a:cubicBezTo>
                  <a:cubicBezTo>
                    <a:pt x="681015" y="1963134"/>
                    <a:pt x="0" y="1282118"/>
                    <a:pt x="0" y="442043"/>
                  </a:cubicBezTo>
                  <a:cubicBezTo>
                    <a:pt x="0" y="337034"/>
                    <a:pt x="10641" y="234510"/>
                    <a:pt x="30903" y="13549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sp>
          <p:nvSpPr>
            <p:cNvPr id="15" name="Oval 14">
              <a:extLst>
                <a:ext uri="{FF2B5EF4-FFF2-40B4-BE49-F238E27FC236}">
                  <a16:creationId xmlns:a16="http://schemas.microsoft.com/office/drawing/2014/main" id="{5681CE15-9F22-BDFF-EA28-8D1C80094AEC}"/>
                </a:ext>
              </a:extLst>
            </p:cNvPr>
            <p:cNvSpPr/>
            <p:nvPr userDrawn="1"/>
          </p:nvSpPr>
          <p:spPr>
            <a:xfrm flipH="1">
              <a:off x="10577715" y="1733904"/>
              <a:ext cx="252468" cy="252468"/>
            </a:xfrm>
            <a:prstGeom prst="ellipse">
              <a:avLst/>
            </a:prstGeom>
            <a:noFill/>
            <a:ln w="6350">
              <a:solidFill>
                <a:srgbClr val="BFE8F6">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6"/>
            </a:p>
          </p:txBody>
        </p:sp>
        <p:sp>
          <p:nvSpPr>
            <p:cNvPr id="16" name="Freeform: Shape 15">
              <a:extLst>
                <a:ext uri="{FF2B5EF4-FFF2-40B4-BE49-F238E27FC236}">
                  <a16:creationId xmlns:a16="http://schemas.microsoft.com/office/drawing/2014/main" id="{97C9C2EE-B74F-A44D-3F95-7DA63008CC5A}"/>
                </a:ext>
              </a:extLst>
            </p:cNvPr>
            <p:cNvSpPr/>
            <p:nvPr userDrawn="1"/>
          </p:nvSpPr>
          <p:spPr>
            <a:xfrm>
              <a:off x="10191116" y="2"/>
              <a:ext cx="2000884" cy="1531759"/>
            </a:xfrm>
            <a:custGeom>
              <a:avLst/>
              <a:gdLst>
                <a:gd name="connsiteX0" fmla="*/ 95480 w 2000884"/>
                <a:gd name="connsiteY0" fmla="*/ 0 h 1531759"/>
                <a:gd name="connsiteX1" fmla="*/ 2000884 w 2000884"/>
                <a:gd name="connsiteY1" fmla="*/ 0 h 1531759"/>
                <a:gd name="connsiteX2" fmla="*/ 2000884 w 2000884"/>
                <a:gd name="connsiteY2" fmla="*/ 1043777 h 1531759"/>
                <a:gd name="connsiteX3" fmla="*/ 1996298 w 2000884"/>
                <a:gd name="connsiteY3" fmla="*/ 1051314 h 1531759"/>
                <a:gd name="connsiteX4" fmla="*/ 1091341 w 2000884"/>
                <a:gd name="connsiteY4" fmla="*/ 1531759 h 1531759"/>
                <a:gd name="connsiteX5" fmla="*/ 0 w 2000884"/>
                <a:gd name="connsiteY5" fmla="*/ 442043 h 1531759"/>
                <a:gd name="connsiteX6" fmla="*/ 85763 w 2000884"/>
                <a:gd name="connsiteY6" fmla="*/ 17876 h 1531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884" h="1531759">
                  <a:moveTo>
                    <a:pt x="95480" y="0"/>
                  </a:moveTo>
                  <a:lnTo>
                    <a:pt x="2000884" y="0"/>
                  </a:lnTo>
                  <a:lnTo>
                    <a:pt x="2000884" y="1043777"/>
                  </a:lnTo>
                  <a:lnTo>
                    <a:pt x="1996298" y="1051314"/>
                  </a:lnTo>
                  <a:cubicBezTo>
                    <a:pt x="1800176" y="1341180"/>
                    <a:pt x="1468048" y="1531759"/>
                    <a:pt x="1091341" y="1531759"/>
                  </a:cubicBezTo>
                  <a:cubicBezTo>
                    <a:pt x="488610" y="1531759"/>
                    <a:pt x="0" y="1043877"/>
                    <a:pt x="0" y="442043"/>
                  </a:cubicBezTo>
                  <a:cubicBezTo>
                    <a:pt x="0" y="291585"/>
                    <a:pt x="30538" y="148248"/>
                    <a:pt x="85763" y="17876"/>
                  </a:cubicBezTo>
                  <a:close/>
                </a:path>
              </a:pathLst>
            </a:custGeom>
            <a:gradFill flip="none" rotWithShape="1">
              <a:gsLst>
                <a:gs pos="2000">
                  <a:srgbClr val="342961">
                    <a:alpha val="93000"/>
                  </a:srgbClr>
                </a:gs>
                <a:gs pos="100000">
                  <a:srgbClr val="2096E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sz="2396">
                <a:solidFill>
                  <a:schemeClr val="lt1"/>
                </a:solidFill>
                <a:sym typeface="Calibri"/>
              </a:endParaRPr>
            </a:p>
          </p:txBody>
        </p:sp>
      </p:grpSp>
      <p:sp>
        <p:nvSpPr>
          <p:cNvPr id="22" name="Google Shape;74;p15">
            <a:extLst>
              <a:ext uri="{FF2B5EF4-FFF2-40B4-BE49-F238E27FC236}">
                <a16:creationId xmlns:a16="http://schemas.microsoft.com/office/drawing/2014/main" id="{B45F3749-769E-DA54-88F0-E2FE19871245}"/>
              </a:ext>
            </a:extLst>
          </p:cNvPr>
          <p:cNvSpPr txBox="1">
            <a:spLocks noGrp="1"/>
          </p:cNvSpPr>
          <p:nvPr>
            <p:ph type="title"/>
          </p:nvPr>
        </p:nvSpPr>
        <p:spPr>
          <a:xfrm>
            <a:off x="2086437" y="2112721"/>
            <a:ext cx="3494911" cy="1504604"/>
          </a:xfrm>
          <a:prstGeom prst="rect">
            <a:avLst/>
          </a:prstGeom>
        </p:spPr>
        <p:txBody>
          <a:bodyPr spcFirstLastPara="1" wrap="square" lIns="45700" tIns="18275" rIns="45700" bIns="18275" anchor="ctr" anchorCtr="0">
            <a:noAutofit/>
          </a:bodyPr>
          <a:lstStyle>
            <a:lvl1pPr lvl="0" rtl="0">
              <a:lnSpc>
                <a:spcPct val="90000"/>
              </a:lnSpc>
              <a:spcBef>
                <a:spcPts val="0"/>
              </a:spcBef>
              <a:spcAft>
                <a:spcPts val="0"/>
              </a:spcAft>
              <a:buSzPts val="5400"/>
              <a:buNone/>
              <a:defRPr sz="5325"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7" name="Arrow: Bent 26">
            <a:extLst>
              <a:ext uri="{FF2B5EF4-FFF2-40B4-BE49-F238E27FC236}">
                <a16:creationId xmlns:a16="http://schemas.microsoft.com/office/drawing/2014/main" id="{D87425F4-A309-21E8-AD9E-187EDDF4FC4A}"/>
              </a:ext>
              <a:ext uri="{C183D7F6-B498-43B3-948B-1728B52AA6E4}">
                <adec:decorative xmlns:adec="http://schemas.microsoft.com/office/drawing/2017/decorative" val="1"/>
              </a:ext>
            </a:extLst>
          </p:cNvPr>
          <p:cNvSpPr/>
          <p:nvPr userDrawn="1"/>
        </p:nvSpPr>
        <p:spPr>
          <a:xfrm rot="10800000">
            <a:off x="1969486" y="1314648"/>
            <a:ext cx="3528340" cy="2383591"/>
          </a:xfrm>
          <a:prstGeom prst="bentArrow">
            <a:avLst>
              <a:gd name="adj1" fmla="val 25000"/>
              <a:gd name="adj2" fmla="val 0"/>
              <a:gd name="adj3" fmla="val 25000"/>
              <a:gd name="adj4" fmla="val 12302"/>
            </a:avLst>
          </a:prstGeom>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6">
              <a:solidFill>
                <a:schemeClr val="tx1"/>
              </a:solidFill>
            </a:endParaRPr>
          </a:p>
        </p:txBody>
      </p:sp>
      <p:sp>
        <p:nvSpPr>
          <p:cNvPr id="28" name="Arrow: U-Turn 27">
            <a:extLst>
              <a:ext uri="{FF2B5EF4-FFF2-40B4-BE49-F238E27FC236}">
                <a16:creationId xmlns:a16="http://schemas.microsoft.com/office/drawing/2014/main" id="{DF180DA9-1FA8-89A2-6ADD-F9CE7474A860}"/>
              </a:ext>
              <a:ext uri="{C183D7F6-B498-43B3-948B-1728B52AA6E4}">
                <adec:decorative xmlns:adec="http://schemas.microsoft.com/office/drawing/2017/decorative" val="1"/>
              </a:ext>
            </a:extLst>
          </p:cNvPr>
          <p:cNvSpPr/>
          <p:nvPr userDrawn="1"/>
        </p:nvSpPr>
        <p:spPr>
          <a:xfrm>
            <a:off x="5498826" y="304801"/>
            <a:ext cx="597173" cy="1009846"/>
          </a:xfrm>
          <a:prstGeom prst="uturnArrow">
            <a:avLst>
              <a:gd name="adj1" fmla="val 0"/>
              <a:gd name="adj2" fmla="val 0"/>
              <a:gd name="adj3" fmla="val 0"/>
              <a:gd name="adj4" fmla="val 50000"/>
              <a:gd name="adj5" fmla="val 32964"/>
            </a:avLst>
          </a:prstGeom>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6">
              <a:solidFill>
                <a:schemeClr val="tx1"/>
              </a:solidFill>
            </a:endParaRPr>
          </a:p>
        </p:txBody>
      </p:sp>
      <p:cxnSp>
        <p:nvCxnSpPr>
          <p:cNvPr id="44" name="Straight Arrow Connector 43">
            <a:extLst>
              <a:ext uri="{FF2B5EF4-FFF2-40B4-BE49-F238E27FC236}">
                <a16:creationId xmlns:a16="http://schemas.microsoft.com/office/drawing/2014/main" id="{2E910B89-D595-9163-C735-BEC27695F783}"/>
              </a:ext>
              <a:ext uri="{C183D7F6-B498-43B3-948B-1728B52AA6E4}">
                <adec:decorative xmlns:adec="http://schemas.microsoft.com/office/drawing/2017/decorative" val="1"/>
              </a:ext>
            </a:extLst>
          </p:cNvPr>
          <p:cNvCxnSpPr>
            <a:cxnSpLocks/>
          </p:cNvCxnSpPr>
          <p:nvPr userDrawn="1"/>
        </p:nvCxnSpPr>
        <p:spPr>
          <a:xfrm>
            <a:off x="6100116" y="6363541"/>
            <a:ext cx="0" cy="494459"/>
          </a:xfrm>
          <a:prstGeom prst="straightConnector1">
            <a:avLst/>
          </a:prstGeom>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3" name="Google Shape;84;p16">
            <a:extLst>
              <a:ext uri="{FF2B5EF4-FFF2-40B4-BE49-F238E27FC236}">
                <a16:creationId xmlns:a16="http://schemas.microsoft.com/office/drawing/2014/main" id="{8E7A2B80-0948-97B9-AC9D-301C1591AC71}"/>
              </a:ext>
            </a:extLst>
          </p:cNvPr>
          <p:cNvSpPr txBox="1">
            <a:spLocks noGrp="1"/>
          </p:cNvSpPr>
          <p:nvPr>
            <p:ph type="body" idx="1"/>
          </p:nvPr>
        </p:nvSpPr>
        <p:spPr>
          <a:xfrm>
            <a:off x="5842003" y="641712"/>
            <a:ext cx="4884389" cy="5721828"/>
          </a:xfrm>
          <a:prstGeom prst="roundRect">
            <a:avLst>
              <a:gd name="adj" fmla="val 3592"/>
            </a:avLst>
          </a:prstGeom>
          <a:solidFill>
            <a:srgbClr val="5D4F92">
              <a:alpha val="42000"/>
            </a:srgbClr>
          </a:solidFill>
        </p:spPr>
        <p:txBody>
          <a:bodyPr spcFirstLastPara="1" wrap="square" lIns="45700" tIns="18275" rIns="45700" bIns="18275" anchor="ctr" anchorCtr="0">
            <a:noAutofit/>
          </a:bodyPr>
          <a:lstStyle>
            <a:lvl1pPr marL="310664" lvl="0" indent="-310664">
              <a:lnSpc>
                <a:spcPct val="100000"/>
              </a:lnSpc>
              <a:spcBef>
                <a:spcPts val="0"/>
              </a:spcBef>
              <a:spcAft>
                <a:spcPts val="1598"/>
              </a:spcAft>
              <a:buClr>
                <a:schemeClr val="accent1"/>
              </a:buClr>
              <a:buSzPct val="100000"/>
              <a:buFont typeface="+mj-lt"/>
              <a:buAutoNum type="arabicPeriod"/>
              <a:defRPr sz="2130" b="0" i="0">
                <a:solidFill>
                  <a:schemeClr val="bg1"/>
                </a:solidFill>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pic>
        <p:nvPicPr>
          <p:cNvPr id="9" name="Picture 8">
            <a:extLst>
              <a:ext uri="{FF2B5EF4-FFF2-40B4-BE49-F238E27FC236}">
                <a16:creationId xmlns:a16="http://schemas.microsoft.com/office/drawing/2014/main" id="{70F4B9BB-8F9D-370C-07BF-D3A8713F9CCF}"/>
              </a:ext>
              <a:ext uri="{C183D7F6-B498-43B3-948B-1728B52AA6E4}">
                <adec:decorative xmlns:adec="http://schemas.microsoft.com/office/drawing/2017/decorative" val="1"/>
              </a:ext>
            </a:extLst>
          </p:cNvPr>
          <p:cNvPicPr preferRelativeResize="0"/>
          <p:nvPr userDrawn="1"/>
        </p:nvPicPr>
        <p:blipFill rotWithShape="1">
          <a:blip r:embed="rId3">
            <a:alphaModFix amt="30000"/>
          </a:blip>
          <a:srcRect l="-565" t="-859" r="79904" b="-498"/>
          <a:stretch/>
        </p:blipFill>
        <p:spPr>
          <a:xfrm flipV="1">
            <a:off x="11015331" y="532191"/>
            <a:ext cx="1176669" cy="5793620"/>
          </a:xfrm>
          <a:custGeom>
            <a:avLst/>
            <a:gdLst>
              <a:gd name="connsiteX0" fmla="*/ 0 w 3915966"/>
              <a:gd name="connsiteY0" fmla="*/ 2085975 h 2085975"/>
              <a:gd name="connsiteX1" fmla="*/ 3915966 w 3915966"/>
              <a:gd name="connsiteY1" fmla="*/ 2085975 h 2085975"/>
              <a:gd name="connsiteX2" fmla="*/ 3915966 w 3915966"/>
              <a:gd name="connsiteY2" fmla="*/ 0 h 2085975"/>
              <a:gd name="connsiteX3" fmla="*/ 0 w 3915966"/>
              <a:gd name="connsiteY3" fmla="*/ 0 h 2085975"/>
            </a:gdLst>
            <a:ahLst/>
            <a:cxnLst>
              <a:cxn ang="0">
                <a:pos x="connsiteX0" y="connsiteY0"/>
              </a:cxn>
              <a:cxn ang="0">
                <a:pos x="connsiteX1" y="connsiteY1"/>
              </a:cxn>
              <a:cxn ang="0">
                <a:pos x="connsiteX2" y="connsiteY2"/>
              </a:cxn>
              <a:cxn ang="0">
                <a:pos x="connsiteX3" y="connsiteY3"/>
              </a:cxn>
            </a:cxnLst>
            <a:rect l="l" t="t" r="r" b="b"/>
            <a:pathLst>
              <a:path w="3915966" h="2085975">
                <a:moveTo>
                  <a:pt x="0" y="2085975"/>
                </a:moveTo>
                <a:lnTo>
                  <a:pt x="3915966" y="2085975"/>
                </a:lnTo>
                <a:lnTo>
                  <a:pt x="3915966" y="0"/>
                </a:lnTo>
                <a:lnTo>
                  <a:pt x="0" y="0"/>
                </a:lnTo>
                <a:close/>
              </a:path>
            </a:pathLst>
          </a:custGeom>
          <a:noFill/>
          <a:ln>
            <a:noFill/>
          </a:ln>
        </p:spPr>
      </p:pic>
    </p:spTree>
    <p:extLst>
      <p:ext uri="{BB962C8B-B14F-4D97-AF65-F5344CB8AC3E}">
        <p14:creationId xmlns:p14="http://schemas.microsoft.com/office/powerpoint/2010/main" val="373619779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matchingName="End Slide" preserve="1">
  <p:cSld name="End Slide">
    <p:spTree>
      <p:nvGrpSpPr>
        <p:cNvPr id="1" name="Shape 76"/>
        <p:cNvGrpSpPr/>
        <p:nvPr/>
      </p:nvGrpSpPr>
      <p:grpSpPr>
        <a:xfrm>
          <a:off x="0" y="0"/>
          <a:ext cx="0" cy="0"/>
          <a:chOff x="0" y="0"/>
          <a:chExt cx="0" cy="0"/>
        </a:xfrm>
      </p:grpSpPr>
      <p:grpSp>
        <p:nvGrpSpPr>
          <p:cNvPr id="2" name="Group 1">
            <a:extLst>
              <a:ext uri="{FF2B5EF4-FFF2-40B4-BE49-F238E27FC236}">
                <a16:creationId xmlns:a16="http://schemas.microsoft.com/office/drawing/2014/main" id="{C79008D2-194B-49D8-BBA4-B692D2DB120C}"/>
              </a:ext>
              <a:ext uri="{C183D7F6-B498-43B3-948B-1728B52AA6E4}">
                <adec:decorative xmlns:adec="http://schemas.microsoft.com/office/drawing/2017/decorative" val="1"/>
              </a:ext>
            </a:extLst>
          </p:cNvPr>
          <p:cNvGrpSpPr/>
          <p:nvPr userDrawn="1"/>
        </p:nvGrpSpPr>
        <p:grpSpPr>
          <a:xfrm>
            <a:off x="1" y="1"/>
            <a:ext cx="16459522" cy="7207260"/>
            <a:chOff x="0" y="0"/>
            <a:chExt cx="12344641" cy="5405445"/>
          </a:xfrm>
        </p:grpSpPr>
        <p:pic>
          <p:nvPicPr>
            <p:cNvPr id="77" name="Google Shape;77;p16">
              <a:extLs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0" y="0"/>
              <a:ext cx="5885013" cy="5143501"/>
            </a:xfrm>
            <a:prstGeom prst="rect">
              <a:avLst/>
            </a:prstGeom>
            <a:noFill/>
            <a:ln>
              <a:noFill/>
            </a:ln>
          </p:spPr>
        </p:pic>
        <p:sp>
          <p:nvSpPr>
            <p:cNvPr id="78" name="Google Shape;78;p16">
              <a:extLst>
                <a:ext uri="{C183D7F6-B498-43B3-948B-1728B52AA6E4}">
                  <adec:decorative xmlns:adec="http://schemas.microsoft.com/office/drawing/2017/decorative" val="1"/>
                </a:ext>
              </a:extLst>
            </p:cNvPr>
            <p:cNvSpPr/>
            <p:nvPr/>
          </p:nvSpPr>
          <p:spPr>
            <a:xfrm>
              <a:off x="1760228" y="1643076"/>
              <a:ext cx="3651900" cy="2862600"/>
            </a:xfrm>
            <a:prstGeom prst="roundRect">
              <a:avLst>
                <a:gd name="adj" fmla="val 371"/>
              </a:avLst>
            </a:prstGeom>
            <a:solidFill>
              <a:srgbClr val="161828"/>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79" name="Google Shape;79;p16">
              <a:extLst>
                <a:ext uri="{C183D7F6-B498-43B3-948B-1728B52AA6E4}">
                  <adec:decorative xmlns:adec="http://schemas.microsoft.com/office/drawing/2017/decorative" val="1"/>
                </a:ext>
              </a:extLst>
            </p:cNvPr>
            <p:cNvSpPr/>
            <p:nvPr/>
          </p:nvSpPr>
          <p:spPr>
            <a:xfrm rot="10800000">
              <a:off x="5412127" y="1642998"/>
              <a:ext cx="2833800" cy="2862600"/>
            </a:xfrm>
            <a:prstGeom prst="roundRect">
              <a:avLst>
                <a:gd name="adj" fmla="val 371"/>
              </a:avLst>
            </a:prstGeom>
            <a:gradFill>
              <a:gsLst>
                <a:gs pos="0">
                  <a:srgbClr val="9477E2"/>
                </a:gs>
                <a:gs pos="100000">
                  <a:srgbClr val="28AFEA"/>
                </a:gs>
              </a:gsLst>
              <a:lin ang="5400012" scaled="0"/>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pic>
          <p:nvPicPr>
            <p:cNvPr id="80" name="Google Shape;80;p16">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8582272" y="1643076"/>
              <a:ext cx="3762369" cy="3762369"/>
            </a:xfrm>
            <a:prstGeom prst="rect">
              <a:avLst/>
            </a:prstGeom>
            <a:noFill/>
            <a:ln>
              <a:noFill/>
            </a:ln>
          </p:spPr>
        </p:pic>
        <p:sp>
          <p:nvSpPr>
            <p:cNvPr id="81" name="Google Shape;81;p16">
              <a:extLst>
                <a:ext uri="{C183D7F6-B498-43B3-948B-1728B52AA6E4}">
                  <adec:decorative xmlns:adec="http://schemas.microsoft.com/office/drawing/2017/decorative" val="1"/>
                </a:ext>
              </a:extLst>
            </p:cNvPr>
            <p:cNvSpPr/>
            <p:nvPr/>
          </p:nvSpPr>
          <p:spPr>
            <a:xfrm rot="10800000">
              <a:off x="8564425" y="225"/>
              <a:ext cx="73200" cy="14112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82" name="Google Shape;82;p16"/>
          <p:cNvSpPr txBox="1">
            <a:spLocks noGrp="1"/>
          </p:cNvSpPr>
          <p:nvPr>
            <p:ph type="title"/>
          </p:nvPr>
        </p:nvSpPr>
        <p:spPr>
          <a:xfrm>
            <a:off x="7022592" y="707136"/>
            <a:ext cx="3974400" cy="1036400"/>
          </a:xfrm>
          <a:prstGeom prst="rect">
            <a:avLst/>
          </a:prstGeom>
        </p:spPr>
        <p:txBody>
          <a:bodyPr spcFirstLastPara="1" wrap="square" lIns="45700" tIns="18275" rIns="45700" bIns="18275" anchor="t" anchorCtr="0">
            <a:noAutofit/>
          </a:bodyPr>
          <a:lstStyle>
            <a:lvl1pPr lvl="0" algn="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 name="Google Shape;83;p16"/>
          <p:cNvSpPr txBox="1">
            <a:spLocks noGrp="1"/>
          </p:cNvSpPr>
          <p:nvPr>
            <p:ph type="title" idx="2"/>
          </p:nvPr>
        </p:nvSpPr>
        <p:spPr>
          <a:xfrm>
            <a:off x="2804160" y="2572512"/>
            <a:ext cx="3804000" cy="10972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3" b="0" i="0">
                <a:latin typeface="Helvetica" pitchFamily="2" charset="0"/>
              </a:defRPr>
            </a:lvl1pPr>
            <a:lvl2pPr lvl="1">
              <a:spcBef>
                <a:spcPts val="0"/>
              </a:spcBef>
              <a:spcAft>
                <a:spcPts val="0"/>
              </a:spcAft>
              <a:buSzPts val="1700"/>
              <a:buNone/>
              <a:defRPr sz="2263"/>
            </a:lvl2pPr>
            <a:lvl3pPr lvl="2">
              <a:spcBef>
                <a:spcPts val="0"/>
              </a:spcBef>
              <a:spcAft>
                <a:spcPts val="0"/>
              </a:spcAft>
              <a:buSzPts val="1700"/>
              <a:buNone/>
              <a:defRPr sz="2263"/>
            </a:lvl3pPr>
            <a:lvl4pPr lvl="3">
              <a:spcBef>
                <a:spcPts val="0"/>
              </a:spcBef>
              <a:spcAft>
                <a:spcPts val="0"/>
              </a:spcAft>
              <a:buSzPts val="1700"/>
              <a:buNone/>
              <a:defRPr sz="2263"/>
            </a:lvl4pPr>
            <a:lvl5pPr lvl="4">
              <a:spcBef>
                <a:spcPts val="0"/>
              </a:spcBef>
              <a:spcAft>
                <a:spcPts val="0"/>
              </a:spcAft>
              <a:buSzPts val="1700"/>
              <a:buNone/>
              <a:defRPr sz="2263"/>
            </a:lvl5pPr>
            <a:lvl6pPr lvl="5">
              <a:spcBef>
                <a:spcPts val="0"/>
              </a:spcBef>
              <a:spcAft>
                <a:spcPts val="0"/>
              </a:spcAft>
              <a:buSzPts val="1700"/>
              <a:buNone/>
              <a:defRPr sz="2263"/>
            </a:lvl6pPr>
            <a:lvl7pPr lvl="6">
              <a:spcBef>
                <a:spcPts val="0"/>
              </a:spcBef>
              <a:spcAft>
                <a:spcPts val="0"/>
              </a:spcAft>
              <a:buSzPts val="1700"/>
              <a:buNone/>
              <a:defRPr sz="2263"/>
            </a:lvl7pPr>
            <a:lvl8pPr lvl="7">
              <a:spcBef>
                <a:spcPts val="0"/>
              </a:spcBef>
              <a:spcAft>
                <a:spcPts val="0"/>
              </a:spcAft>
              <a:buSzPts val="1700"/>
              <a:buNone/>
              <a:defRPr sz="2263"/>
            </a:lvl8pPr>
            <a:lvl9pPr lvl="8">
              <a:spcBef>
                <a:spcPts val="0"/>
              </a:spcBef>
              <a:spcAft>
                <a:spcPts val="0"/>
              </a:spcAft>
              <a:buSzPts val="1700"/>
              <a:buNone/>
              <a:defRPr sz="2263"/>
            </a:lvl9pPr>
          </a:lstStyle>
          <a:p>
            <a:endParaRPr/>
          </a:p>
        </p:txBody>
      </p:sp>
      <p:sp>
        <p:nvSpPr>
          <p:cNvPr id="84" name="Google Shape;84;p16"/>
          <p:cNvSpPr txBox="1">
            <a:spLocks noGrp="1"/>
          </p:cNvSpPr>
          <p:nvPr>
            <p:ph type="body" idx="1"/>
          </p:nvPr>
        </p:nvSpPr>
        <p:spPr>
          <a:xfrm>
            <a:off x="2791968" y="3742944"/>
            <a:ext cx="3974400" cy="1706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a:p>
        </p:txBody>
      </p:sp>
      <p:pic>
        <p:nvPicPr>
          <p:cNvPr id="87" name="Google Shape;87;p16" descr="LinkedIn logo"/>
          <p:cNvPicPr preferRelativeResize="0"/>
          <p:nvPr/>
        </p:nvPicPr>
        <p:blipFill rotWithShape="1">
          <a:blip r:embed="rId4">
            <a:alphaModFix/>
          </a:blip>
          <a:srcRect/>
          <a:stretch/>
        </p:blipFill>
        <p:spPr>
          <a:xfrm>
            <a:off x="7634501" y="2601357"/>
            <a:ext cx="254410" cy="254409"/>
          </a:xfrm>
          <a:prstGeom prst="rect">
            <a:avLst/>
          </a:prstGeom>
          <a:noFill/>
          <a:ln>
            <a:noFill/>
          </a:ln>
        </p:spPr>
      </p:pic>
      <p:sp>
        <p:nvSpPr>
          <p:cNvPr id="85" name="Google Shape;85;p16"/>
          <p:cNvSpPr txBox="1">
            <a:spLocks noGrp="1"/>
          </p:cNvSpPr>
          <p:nvPr>
            <p:ph type="body" idx="3"/>
          </p:nvPr>
        </p:nvSpPr>
        <p:spPr>
          <a:xfrm>
            <a:off x="7985760" y="2633472"/>
            <a:ext cx="1865200" cy="244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a:p>
        </p:txBody>
      </p:sp>
      <p:sp>
        <p:nvSpPr>
          <p:cNvPr id="88" name="Google Shape;88;p16" descr="An icon of mail"/>
          <p:cNvSpPr/>
          <p:nvPr/>
        </p:nvSpPr>
        <p:spPr>
          <a:xfrm>
            <a:off x="7613708" y="3102871"/>
            <a:ext cx="296424" cy="194256"/>
          </a:xfrm>
          <a:custGeom>
            <a:avLst/>
            <a:gdLst/>
            <a:ahLst/>
            <a:cxnLst/>
            <a:rect l="l" t="t" r="r" b="b"/>
            <a:pathLst>
              <a:path w="21600" h="21600" extrusionOk="0">
                <a:moveTo>
                  <a:pt x="11610" y="13990"/>
                </a:moveTo>
                <a:cubicBezTo>
                  <a:pt x="11373" y="14259"/>
                  <a:pt x="11093" y="14400"/>
                  <a:pt x="10800" y="14400"/>
                </a:cubicBezTo>
                <a:cubicBezTo>
                  <a:pt x="10505" y="14400"/>
                  <a:pt x="10225" y="14259"/>
                  <a:pt x="9990" y="13990"/>
                </a:cubicBezTo>
                <a:lnTo>
                  <a:pt x="7198" y="10800"/>
                </a:lnTo>
                <a:lnTo>
                  <a:pt x="6636" y="10157"/>
                </a:lnTo>
                <a:lnTo>
                  <a:pt x="1349" y="4115"/>
                </a:lnTo>
                <a:lnTo>
                  <a:pt x="1349" y="4114"/>
                </a:lnTo>
                <a:cubicBezTo>
                  <a:pt x="1349" y="2980"/>
                  <a:pt x="1955" y="2057"/>
                  <a:pt x="2699" y="2057"/>
                </a:cubicBezTo>
                <a:lnTo>
                  <a:pt x="18899" y="2057"/>
                </a:lnTo>
                <a:cubicBezTo>
                  <a:pt x="19643" y="2057"/>
                  <a:pt x="20249" y="2980"/>
                  <a:pt x="20249" y="4114"/>
                </a:cubicBezTo>
                <a:cubicBezTo>
                  <a:pt x="20249" y="4114"/>
                  <a:pt x="11610" y="13990"/>
                  <a:pt x="11610" y="13990"/>
                </a:cubicBezTo>
                <a:close/>
                <a:moveTo>
                  <a:pt x="20249" y="16198"/>
                </a:moveTo>
                <a:lnTo>
                  <a:pt x="15525" y="10800"/>
                </a:lnTo>
                <a:lnTo>
                  <a:pt x="20249" y="5399"/>
                </a:lnTo>
                <a:cubicBezTo>
                  <a:pt x="20249" y="5399"/>
                  <a:pt x="20249" y="16198"/>
                  <a:pt x="20249" y="16198"/>
                </a:cubicBezTo>
                <a:close/>
                <a:moveTo>
                  <a:pt x="20249" y="17484"/>
                </a:moveTo>
                <a:cubicBezTo>
                  <a:pt x="20249" y="18620"/>
                  <a:pt x="19643" y="19541"/>
                  <a:pt x="18899" y="19541"/>
                </a:cubicBezTo>
                <a:lnTo>
                  <a:pt x="2699" y="19541"/>
                </a:lnTo>
                <a:cubicBezTo>
                  <a:pt x="1955" y="19541"/>
                  <a:pt x="1349" y="18620"/>
                  <a:pt x="1349" y="17484"/>
                </a:cubicBezTo>
                <a:lnTo>
                  <a:pt x="6636" y="11442"/>
                </a:lnTo>
                <a:lnTo>
                  <a:pt x="9585" y="14813"/>
                </a:lnTo>
                <a:cubicBezTo>
                  <a:pt x="9945" y="15222"/>
                  <a:pt x="10372" y="15429"/>
                  <a:pt x="10800" y="15429"/>
                </a:cubicBezTo>
                <a:cubicBezTo>
                  <a:pt x="11228" y="15429"/>
                  <a:pt x="11654" y="15222"/>
                  <a:pt x="12015" y="14813"/>
                </a:cubicBezTo>
                <a:lnTo>
                  <a:pt x="14963" y="11442"/>
                </a:lnTo>
                <a:cubicBezTo>
                  <a:pt x="14963" y="11442"/>
                  <a:pt x="20249" y="17484"/>
                  <a:pt x="20249" y="17484"/>
                </a:cubicBezTo>
                <a:close/>
                <a:moveTo>
                  <a:pt x="1349" y="5399"/>
                </a:moveTo>
                <a:lnTo>
                  <a:pt x="6074" y="10800"/>
                </a:lnTo>
                <a:lnTo>
                  <a:pt x="1349" y="16198"/>
                </a:lnTo>
                <a:cubicBezTo>
                  <a:pt x="1349" y="16198"/>
                  <a:pt x="1349" y="5399"/>
                  <a:pt x="1349" y="5399"/>
                </a:cubicBezTo>
                <a:close/>
                <a:moveTo>
                  <a:pt x="18899" y="0"/>
                </a:moveTo>
                <a:lnTo>
                  <a:pt x="2699" y="0"/>
                </a:lnTo>
                <a:cubicBezTo>
                  <a:pt x="1208" y="0"/>
                  <a:pt x="0" y="1842"/>
                  <a:pt x="0" y="4114"/>
                </a:cubicBezTo>
                <a:lnTo>
                  <a:pt x="0" y="17484"/>
                </a:lnTo>
                <a:cubicBezTo>
                  <a:pt x="0" y="19756"/>
                  <a:pt x="1208" y="21600"/>
                  <a:pt x="2699" y="21600"/>
                </a:cubicBezTo>
                <a:lnTo>
                  <a:pt x="18899" y="21600"/>
                </a:lnTo>
                <a:cubicBezTo>
                  <a:pt x="20391" y="21600"/>
                  <a:pt x="21600" y="19756"/>
                  <a:pt x="21600" y="17484"/>
                </a:cubicBezTo>
                <a:lnTo>
                  <a:pt x="21600" y="4114"/>
                </a:lnTo>
                <a:cubicBezTo>
                  <a:pt x="21600" y="1842"/>
                  <a:pt x="20391" y="0"/>
                  <a:pt x="18899" y="0"/>
                </a:cubicBezTo>
              </a:path>
            </a:pathLst>
          </a:custGeom>
          <a:solidFill>
            <a:schemeClr val="lt1"/>
          </a:solidFill>
          <a:ln>
            <a:noFill/>
          </a:ln>
        </p:spPr>
        <p:txBody>
          <a:bodyPr spcFirstLastPara="1" wrap="square" lIns="11915" tIns="11915" rIns="11915" bIns="11915" anchor="ctr" anchorCtr="0">
            <a:noAutofit/>
          </a:bodyPr>
          <a:lstStyle/>
          <a:p>
            <a:pPr marL="0" marR="0" lvl="0" indent="0" algn="ctr" rtl="0">
              <a:spcBef>
                <a:spcPts val="0"/>
              </a:spcBef>
              <a:spcAft>
                <a:spcPts val="0"/>
              </a:spcAft>
              <a:buNone/>
            </a:pPr>
            <a:endParaRPr sz="932" b="0" i="0">
              <a:solidFill>
                <a:srgbClr val="595959"/>
              </a:solidFill>
              <a:latin typeface="Helvetica" pitchFamily="2" charset="0"/>
              <a:ea typeface="Gill Sans"/>
              <a:cs typeface="Gill Sans"/>
              <a:sym typeface="Gill Sans"/>
            </a:endParaRPr>
          </a:p>
        </p:txBody>
      </p:sp>
      <p:sp>
        <p:nvSpPr>
          <p:cNvPr id="86" name="Google Shape;86;p16"/>
          <p:cNvSpPr txBox="1">
            <a:spLocks noGrp="1"/>
          </p:cNvSpPr>
          <p:nvPr>
            <p:ph type="body" idx="4"/>
          </p:nvPr>
        </p:nvSpPr>
        <p:spPr>
          <a:xfrm>
            <a:off x="7985760" y="3060192"/>
            <a:ext cx="18408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a:p>
        </p:txBody>
      </p:sp>
    </p:spTree>
    <p:extLst>
      <p:ext uri="{BB962C8B-B14F-4D97-AF65-F5344CB8AC3E}">
        <p14:creationId xmlns:p14="http://schemas.microsoft.com/office/powerpoint/2010/main" val="114422555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matchingName="Laptop Screen" preserve="1">
  <p:cSld name="Laptop Screen">
    <p:spTree>
      <p:nvGrpSpPr>
        <p:cNvPr id="1" name="Shape 89"/>
        <p:cNvGrpSpPr/>
        <p:nvPr/>
      </p:nvGrpSpPr>
      <p:grpSpPr>
        <a:xfrm>
          <a:off x="0" y="0"/>
          <a:ext cx="0" cy="0"/>
          <a:chOff x="0" y="0"/>
          <a:chExt cx="0" cy="0"/>
        </a:xfrm>
      </p:grpSpPr>
      <p:grpSp>
        <p:nvGrpSpPr>
          <p:cNvPr id="2" name="Group 1">
            <a:extLst>
              <a:ext uri="{FF2B5EF4-FFF2-40B4-BE49-F238E27FC236}">
                <a16:creationId xmlns:a16="http://schemas.microsoft.com/office/drawing/2014/main" id="{4A657735-2043-CCB0-5F53-5A2F05FD223D}"/>
              </a:ext>
              <a:ext uri="{C183D7F6-B498-43B3-948B-1728B52AA6E4}">
                <adec:decorative xmlns:adec="http://schemas.microsoft.com/office/drawing/2017/decorative" val="1"/>
              </a:ext>
            </a:extLst>
          </p:cNvPr>
          <p:cNvGrpSpPr/>
          <p:nvPr userDrawn="1"/>
        </p:nvGrpSpPr>
        <p:grpSpPr>
          <a:xfrm>
            <a:off x="-3954558" y="-3336012"/>
            <a:ext cx="20093353" cy="15515133"/>
            <a:chOff x="-2965919" y="-2502009"/>
            <a:chExt cx="15070015" cy="11636350"/>
          </a:xfrm>
        </p:grpSpPr>
        <p:sp>
          <p:nvSpPr>
            <p:cNvPr id="90" name="Google Shape;90;p17">
              <a:extLst>
                <a:ext uri="{C183D7F6-B498-43B3-948B-1728B52AA6E4}">
                  <adec:decorative xmlns:adec="http://schemas.microsoft.com/office/drawing/2017/decorative" val="1"/>
                </a:ext>
              </a:extLst>
            </p:cNvPr>
            <p:cNvSpPr/>
            <p:nvPr/>
          </p:nvSpPr>
          <p:spPr>
            <a:xfrm>
              <a:off x="578440" y="2538241"/>
              <a:ext cx="7986300" cy="6596100"/>
            </a:xfrm>
            <a:prstGeom prst="ellipse">
              <a:avLst/>
            </a:prstGeom>
            <a:gradFill>
              <a:gsLst>
                <a:gs pos="0">
                  <a:srgbClr val="D59DFF">
                    <a:alpha val="9803"/>
                  </a:srgbClr>
                </a:gs>
                <a:gs pos="79000">
                  <a:srgbClr val="1F9CF0"/>
                </a:gs>
                <a:gs pos="100000">
                  <a:srgbClr val="1F9CF0"/>
                </a:gs>
              </a:gsLst>
              <a:lin ang="5400012" scaled="0"/>
            </a:gradFill>
            <a:ln>
              <a:noFill/>
            </a:ln>
          </p:spPr>
          <p:txBody>
            <a:bodyPr spcFirstLastPara="1" wrap="square" lIns="42900" tIns="21450" rIns="42900" bIns="21450" anchor="ctr" anchorCtr="0">
              <a:noAutofit/>
            </a:bodyPr>
            <a:lstStyle/>
            <a:p>
              <a:pPr lvl="0" algn="ctr"/>
              <a:endParaRPr sz="1065">
                <a:solidFill>
                  <a:srgbClr val="FFFFFF"/>
                </a:solidFill>
                <a:latin typeface="Helvetica" pitchFamily="2" charset="0"/>
                <a:ea typeface="Calibri"/>
                <a:cs typeface="Calibri"/>
                <a:sym typeface="Calibri"/>
              </a:endParaRPr>
            </a:p>
          </p:txBody>
        </p:sp>
        <p:pic>
          <p:nvPicPr>
            <p:cNvPr id="91" name="Google Shape;91;p17">
              <a:extLs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1683473" y="1613647"/>
              <a:ext cx="5768748" cy="3152352"/>
            </a:xfrm>
            <a:prstGeom prst="rect">
              <a:avLst/>
            </a:prstGeom>
            <a:noFill/>
            <a:ln>
              <a:noFill/>
            </a:ln>
            <a:effectLst>
              <a:outerShdw blurRad="1270000" sx="90000" sy="-19000" rotWithShape="0">
                <a:srgbClr val="000000">
                  <a:alpha val="40000"/>
                </a:srgbClr>
              </a:outerShdw>
            </a:effectLst>
          </p:spPr>
        </p:pic>
        <p:sp>
          <p:nvSpPr>
            <p:cNvPr id="92" name="Google Shape;92;p17">
              <a:extLst>
                <a:ext uri="{C183D7F6-B498-43B3-948B-1728B52AA6E4}">
                  <adec:decorative xmlns:adec="http://schemas.microsoft.com/office/drawing/2017/decorative" val="1"/>
                </a:ext>
              </a:extLst>
            </p:cNvPr>
            <p:cNvSpPr/>
            <p:nvPr/>
          </p:nvSpPr>
          <p:spPr>
            <a:xfrm>
              <a:off x="724096" y="1898061"/>
              <a:ext cx="1595100" cy="837600"/>
            </a:xfrm>
            <a:prstGeom prst="wedgeRectCallout">
              <a:avLst>
                <a:gd name="adj1" fmla="val 72666"/>
                <a:gd name="adj2" fmla="val 36106"/>
              </a:avLst>
            </a:prstGeom>
            <a:gradFill>
              <a:gsLst>
                <a:gs pos="0">
                  <a:srgbClr val="1F9CF0"/>
                </a:gs>
                <a:gs pos="2000">
                  <a:srgbClr val="1F9CF0"/>
                </a:gs>
                <a:gs pos="100000">
                  <a:srgbClr val="9477E2">
                    <a:alpha val="20000"/>
                  </a:srgbClr>
                </a:gs>
              </a:gsLst>
              <a:lin ang="2700006" scaled="0"/>
            </a:gradFill>
            <a:ln>
              <a:noFill/>
            </a:ln>
            <a:effectLst>
              <a:outerShdw blurRad="1270000" dist="1384300" dir="2700000" sx="75000" sy="75000" algn="tl" rotWithShape="0">
                <a:srgbClr val="000000">
                  <a:alpha val="40000"/>
                </a:srgbClr>
              </a:outerShdw>
            </a:effectLst>
          </p:spPr>
          <p:txBody>
            <a:bodyPr spcFirstLastPara="1" wrap="square" lIns="42900" tIns="21450" rIns="42900" bIns="21450" anchor="ctr" anchorCtr="0">
              <a:noAutofit/>
            </a:bodyPr>
            <a:lstStyle/>
            <a:p>
              <a:pPr lvl="0" algn="ctr"/>
              <a:endParaRPr sz="1198">
                <a:solidFill>
                  <a:srgbClr val="FFFFFF"/>
                </a:solidFill>
                <a:latin typeface="Helvetica" pitchFamily="2" charset="0"/>
                <a:ea typeface="Calibri"/>
                <a:cs typeface="Calibri"/>
                <a:sym typeface="Calibri"/>
              </a:endParaRPr>
            </a:p>
          </p:txBody>
        </p:sp>
        <p:sp>
          <p:nvSpPr>
            <p:cNvPr id="93" name="Google Shape;93;p17">
              <a:extLst>
                <a:ext uri="{C183D7F6-B498-43B3-948B-1728B52AA6E4}">
                  <adec:decorative xmlns:adec="http://schemas.microsoft.com/office/drawing/2017/decorative" val="1"/>
                </a:ext>
              </a:extLst>
            </p:cNvPr>
            <p:cNvSpPr/>
            <p:nvPr/>
          </p:nvSpPr>
          <p:spPr>
            <a:xfrm>
              <a:off x="724096" y="3129893"/>
              <a:ext cx="1595100" cy="794700"/>
            </a:xfrm>
            <a:prstGeom prst="wedgeRectCallout">
              <a:avLst>
                <a:gd name="adj1" fmla="val 74259"/>
                <a:gd name="adj2" fmla="val -62681"/>
              </a:avLst>
            </a:prstGeom>
            <a:gradFill>
              <a:gsLst>
                <a:gs pos="0">
                  <a:srgbClr val="1F9CF0"/>
                </a:gs>
                <a:gs pos="100000">
                  <a:srgbClr val="9477E2">
                    <a:alpha val="20000"/>
                  </a:srgbClr>
                </a:gs>
              </a:gsLst>
              <a:lin ang="2700006" scaled="0"/>
            </a:gradFill>
            <a:ln>
              <a:noFill/>
            </a:ln>
            <a:effectLst>
              <a:outerShdw blurRad="1270000" dist="685800" dir="18900000" sx="85000" sy="85000" algn="bl" rotWithShape="0">
                <a:srgbClr val="000000">
                  <a:alpha val="40000"/>
                </a:srgbClr>
              </a:outerShdw>
            </a:effectLst>
          </p:spPr>
          <p:txBody>
            <a:bodyPr spcFirstLastPara="1" wrap="square" lIns="42900" tIns="21450" rIns="42900" bIns="21450" anchor="ctr" anchorCtr="0">
              <a:noAutofit/>
            </a:bodyPr>
            <a:lstStyle/>
            <a:p>
              <a:pPr lvl="0" algn="ctr"/>
              <a:endParaRPr sz="1198">
                <a:solidFill>
                  <a:srgbClr val="FFFFFF"/>
                </a:solidFill>
                <a:latin typeface="Helvetica" pitchFamily="2" charset="0"/>
                <a:ea typeface="Calibri"/>
                <a:cs typeface="Calibri"/>
                <a:sym typeface="Calibri"/>
              </a:endParaRPr>
            </a:p>
          </p:txBody>
        </p:sp>
        <p:sp>
          <p:nvSpPr>
            <p:cNvPr id="94" name="Google Shape;94;p17">
              <a:extLst>
                <a:ext uri="{C183D7F6-B498-43B3-948B-1728B52AA6E4}">
                  <adec:decorative xmlns:adec="http://schemas.microsoft.com/office/drawing/2017/decorative" val="1"/>
                </a:ext>
              </a:extLst>
            </p:cNvPr>
            <p:cNvSpPr/>
            <p:nvPr/>
          </p:nvSpPr>
          <p:spPr>
            <a:xfrm>
              <a:off x="6824868" y="1898061"/>
              <a:ext cx="1595100" cy="837600"/>
            </a:xfrm>
            <a:prstGeom prst="wedgeRectCallout">
              <a:avLst>
                <a:gd name="adj1" fmla="val -82756"/>
                <a:gd name="adj2" fmla="val -6358"/>
              </a:avLst>
            </a:prstGeom>
            <a:gradFill>
              <a:gsLst>
                <a:gs pos="0">
                  <a:srgbClr val="9477E2">
                    <a:alpha val="20000"/>
                  </a:srgbClr>
                </a:gs>
                <a:gs pos="100000">
                  <a:srgbClr val="9477E2"/>
                </a:gs>
              </a:gsLst>
              <a:lin ang="0" scaled="0"/>
            </a:gradFill>
            <a:ln>
              <a:noFill/>
            </a:ln>
            <a:effectLst>
              <a:outerShdw blurRad="1270000" dist="1016000" dir="8100000" sx="86000" sy="86000" algn="tr" rotWithShape="0">
                <a:srgbClr val="000000">
                  <a:alpha val="40000"/>
                </a:srgbClr>
              </a:outerShdw>
            </a:effectLst>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cxnSp>
          <p:nvCxnSpPr>
            <p:cNvPr id="95" name="Google Shape;95;p17">
              <a:extLst>
                <a:ext uri="{C183D7F6-B498-43B3-948B-1728B52AA6E4}">
                  <adec:decorative xmlns:adec="http://schemas.microsoft.com/office/drawing/2017/decorative" val="1"/>
                </a:ext>
              </a:extLst>
            </p:cNvPr>
            <p:cNvCxnSpPr/>
            <p:nvPr/>
          </p:nvCxnSpPr>
          <p:spPr>
            <a:xfrm>
              <a:off x="3536833" y="613302"/>
              <a:ext cx="2070300" cy="0"/>
            </a:xfrm>
            <a:prstGeom prst="straightConnector1">
              <a:avLst/>
            </a:prstGeom>
            <a:noFill/>
            <a:ln w="12700" cap="flat" cmpd="sng">
              <a:solidFill>
                <a:srgbClr val="627597"/>
              </a:solidFill>
              <a:prstDash val="solid"/>
              <a:miter lim="800000"/>
              <a:headEnd type="none" w="sm" len="sm"/>
              <a:tailEnd type="none" w="sm" len="sm"/>
            </a:ln>
          </p:spPr>
        </p:cxnSp>
        <p:sp>
          <p:nvSpPr>
            <p:cNvPr id="96" name="Google Shape;96;p17">
              <a:extLst>
                <a:ext uri="{C183D7F6-B498-43B3-948B-1728B52AA6E4}">
                  <adec:decorative xmlns:adec="http://schemas.microsoft.com/office/drawing/2017/decorative" val="1"/>
                </a:ext>
              </a:extLst>
            </p:cNvPr>
            <p:cNvSpPr/>
            <p:nvPr/>
          </p:nvSpPr>
          <p:spPr>
            <a:xfrm>
              <a:off x="6824140" y="3129892"/>
              <a:ext cx="1595100" cy="794700"/>
            </a:xfrm>
            <a:prstGeom prst="wedgeRectCallout">
              <a:avLst>
                <a:gd name="adj1" fmla="val -85826"/>
                <a:gd name="adj2" fmla="val -7867"/>
              </a:avLst>
            </a:prstGeom>
            <a:gradFill>
              <a:gsLst>
                <a:gs pos="0">
                  <a:srgbClr val="1F9CF0"/>
                </a:gs>
                <a:gs pos="2000">
                  <a:srgbClr val="1F9CF0"/>
                </a:gs>
                <a:gs pos="100000">
                  <a:srgbClr val="9477E2">
                    <a:alpha val="20000"/>
                  </a:srgbClr>
                </a:gs>
              </a:gsLst>
              <a:lin ang="2700006" scaled="0"/>
            </a:gradFill>
            <a:ln>
              <a:noFill/>
            </a:ln>
            <a:effectLst>
              <a:outerShdw blurRad="1270000" dist="1384300" dir="2700000" sx="75000" sy="75000" algn="tl" rotWithShape="0">
                <a:srgbClr val="000000">
                  <a:alpha val="40000"/>
                </a:srgbClr>
              </a:outerShdw>
            </a:effectLst>
          </p:spPr>
          <p:txBody>
            <a:bodyPr spcFirstLastPara="1" wrap="square" lIns="42900" tIns="21450" rIns="42900" bIns="21450" anchor="ctr" anchorCtr="0">
              <a:noAutofit/>
            </a:bodyPr>
            <a:lstStyle/>
            <a:p>
              <a:pPr lvl="0" algn="ctr"/>
              <a:endParaRPr sz="1198">
                <a:solidFill>
                  <a:srgbClr val="FFFFFF"/>
                </a:solidFill>
                <a:latin typeface="Helvetica" pitchFamily="2" charset="0"/>
                <a:ea typeface="Calibri"/>
                <a:cs typeface="Calibri"/>
                <a:sym typeface="Calibri"/>
              </a:endParaRPr>
            </a:p>
          </p:txBody>
        </p:sp>
        <p:pic>
          <p:nvPicPr>
            <p:cNvPr id="97" name="Google Shape;97;p17">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2965919" y="-2502009"/>
              <a:ext cx="3762369" cy="3762369"/>
            </a:xfrm>
            <a:prstGeom prst="rect">
              <a:avLst/>
            </a:prstGeom>
            <a:noFill/>
            <a:ln>
              <a:noFill/>
            </a:ln>
          </p:spPr>
        </p:pic>
        <p:pic>
          <p:nvPicPr>
            <p:cNvPr id="98" name="Google Shape;98;p17">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8341727" y="-2498835"/>
              <a:ext cx="3762369" cy="3762369"/>
            </a:xfrm>
            <a:prstGeom prst="rect">
              <a:avLst/>
            </a:prstGeom>
            <a:noFill/>
            <a:ln>
              <a:noFill/>
            </a:ln>
          </p:spPr>
        </p:pic>
      </p:grpSp>
      <p:sp>
        <p:nvSpPr>
          <p:cNvPr id="101" name="Google Shape;101;p17"/>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100" name="Google Shape;100;p17"/>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algn="ctr" rtl="0">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99" name="Google Shape;99;p17"/>
          <p:cNvSpPr>
            <a:spLocks noGrp="1"/>
          </p:cNvSpPr>
          <p:nvPr>
            <p:ph type="pic" idx="2"/>
          </p:nvPr>
        </p:nvSpPr>
        <p:spPr>
          <a:xfrm>
            <a:off x="3330400" y="2429890"/>
            <a:ext cx="5543376" cy="3459827"/>
          </a:xfrm>
          <a:prstGeom prst="rect">
            <a:avLst/>
          </a:prstGeom>
          <a:noFill/>
          <a:ln>
            <a:noFill/>
          </a:ln>
        </p:spPr>
        <p:txBody>
          <a:bodyPr anchor="ctr"/>
          <a:lstStyle>
            <a:lvl1pPr marL="0" indent="0" algn="ctr">
              <a:buNone/>
              <a:defRPr sz="1065" b="0" i="0">
                <a:solidFill>
                  <a:schemeClr val="tx1"/>
                </a:solidFill>
                <a:latin typeface="Helvetica" pitchFamily="2" charset="0"/>
              </a:defRPr>
            </a:lvl1pPr>
          </a:lstStyle>
          <a:p>
            <a:endParaRPr lang="en-US"/>
          </a:p>
        </p:txBody>
      </p:sp>
      <p:sp>
        <p:nvSpPr>
          <p:cNvPr id="102" name="Google Shape;102;p17"/>
          <p:cNvSpPr txBox="1">
            <a:spLocks noGrp="1"/>
          </p:cNvSpPr>
          <p:nvPr>
            <p:ph type="body" idx="3"/>
          </p:nvPr>
        </p:nvSpPr>
        <p:spPr>
          <a:xfrm>
            <a:off x="1219201" y="2677281"/>
            <a:ext cx="1633600" cy="2316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900"/>
              <a:buNone/>
              <a:defRPr sz="1198" b="1" i="0">
                <a:solidFill>
                  <a:schemeClr val="bg1"/>
                </a:solidFill>
                <a:latin typeface="Helvetica" pitchFamily="2" charset="0"/>
              </a:defRPr>
            </a:lvl1pPr>
            <a:lvl2pPr marL="1217295" lvl="1" indent="-380405" algn="ctr">
              <a:lnSpc>
                <a:spcPct val="100000"/>
              </a:lnSpc>
              <a:spcBef>
                <a:spcPts val="0"/>
              </a:spcBef>
              <a:spcAft>
                <a:spcPts val="0"/>
              </a:spcAft>
              <a:buSzPts val="900"/>
              <a:buChar char="○"/>
              <a:defRPr sz="1198"/>
            </a:lvl2pPr>
            <a:lvl3pPr marL="1825943" lvl="2" indent="-380405" algn="ctr">
              <a:lnSpc>
                <a:spcPct val="100000"/>
              </a:lnSpc>
              <a:spcBef>
                <a:spcPts val="0"/>
              </a:spcBef>
              <a:spcAft>
                <a:spcPts val="0"/>
              </a:spcAft>
              <a:buSzPts val="900"/>
              <a:buChar char="■"/>
              <a:defRPr sz="1198"/>
            </a:lvl3pPr>
            <a:lvl4pPr marL="2434590" lvl="3" indent="-380405" algn="ctr">
              <a:lnSpc>
                <a:spcPct val="100000"/>
              </a:lnSpc>
              <a:spcBef>
                <a:spcPts val="0"/>
              </a:spcBef>
              <a:spcAft>
                <a:spcPts val="0"/>
              </a:spcAft>
              <a:buSzPts val="900"/>
              <a:buChar char="●"/>
              <a:defRPr sz="1198"/>
            </a:lvl4pPr>
            <a:lvl5pPr marL="3043238" lvl="4" indent="-380405" algn="ctr">
              <a:lnSpc>
                <a:spcPct val="100000"/>
              </a:lnSpc>
              <a:spcBef>
                <a:spcPts val="0"/>
              </a:spcBef>
              <a:spcAft>
                <a:spcPts val="0"/>
              </a:spcAft>
              <a:buSzPts val="900"/>
              <a:buChar char="○"/>
              <a:defRPr sz="1198"/>
            </a:lvl5pPr>
            <a:lvl6pPr marL="3651885" lvl="5" indent="-380405" algn="ctr">
              <a:lnSpc>
                <a:spcPct val="100000"/>
              </a:lnSpc>
              <a:spcBef>
                <a:spcPts val="0"/>
              </a:spcBef>
              <a:spcAft>
                <a:spcPts val="0"/>
              </a:spcAft>
              <a:buSzPts val="900"/>
              <a:buChar char="■"/>
              <a:defRPr sz="1198"/>
            </a:lvl6pPr>
            <a:lvl7pPr marL="4260533" lvl="6" indent="-380405" algn="ctr">
              <a:lnSpc>
                <a:spcPct val="100000"/>
              </a:lnSpc>
              <a:spcBef>
                <a:spcPts val="0"/>
              </a:spcBef>
              <a:spcAft>
                <a:spcPts val="0"/>
              </a:spcAft>
              <a:buSzPts val="900"/>
              <a:buChar char="●"/>
              <a:defRPr sz="1198"/>
            </a:lvl7pPr>
            <a:lvl8pPr marL="4869180" lvl="7" indent="-380405" algn="ctr">
              <a:lnSpc>
                <a:spcPct val="100000"/>
              </a:lnSpc>
              <a:spcBef>
                <a:spcPts val="0"/>
              </a:spcBef>
              <a:spcAft>
                <a:spcPts val="0"/>
              </a:spcAft>
              <a:buSzPts val="900"/>
              <a:buChar char="○"/>
              <a:defRPr sz="1198"/>
            </a:lvl8pPr>
            <a:lvl9pPr marL="5477828" lvl="8" indent="-380405" algn="ctr">
              <a:lnSpc>
                <a:spcPct val="100000"/>
              </a:lnSpc>
              <a:spcBef>
                <a:spcPts val="0"/>
              </a:spcBef>
              <a:spcAft>
                <a:spcPts val="0"/>
              </a:spcAft>
              <a:buSzPts val="900"/>
              <a:buChar char="■"/>
              <a:defRPr sz="1198"/>
            </a:lvl9pPr>
          </a:lstStyle>
          <a:p>
            <a:endParaRPr/>
          </a:p>
        </p:txBody>
      </p:sp>
      <p:sp>
        <p:nvSpPr>
          <p:cNvPr id="106" name="Google Shape;106;p17"/>
          <p:cNvSpPr txBox="1">
            <a:spLocks noGrp="1"/>
          </p:cNvSpPr>
          <p:nvPr>
            <p:ph type="body" idx="7"/>
          </p:nvPr>
        </p:nvSpPr>
        <p:spPr>
          <a:xfrm>
            <a:off x="963168" y="2957698"/>
            <a:ext cx="2121600" cy="414400"/>
          </a:xfrm>
          <a:prstGeom prst="rect">
            <a:avLst/>
          </a:prstGeom>
        </p:spPr>
        <p:txBody>
          <a:bodyPr spcFirstLastPara="1" wrap="square" lIns="82275" tIns="18275" rIns="82275" bIns="18275" anchor="t" anchorCtr="0">
            <a:noAutofit/>
          </a:bodyPr>
          <a:lstStyle>
            <a:lvl1pPr marL="0" lvl="0" indent="0" algn="ctr">
              <a:spcBef>
                <a:spcPts val="0"/>
              </a:spcBef>
              <a:spcAft>
                <a:spcPts val="0"/>
              </a:spcAft>
              <a:buSzPts val="800"/>
              <a:buNone/>
              <a:defRPr sz="1065" b="0" i="0">
                <a:latin typeface="Helvetica" pitchFamily="2" charset="0"/>
              </a:defRPr>
            </a:lvl1pPr>
            <a:lvl2pPr marL="1217295" lvl="1" indent="-371951" algn="ctr">
              <a:spcBef>
                <a:spcPts val="0"/>
              </a:spcBef>
              <a:spcAft>
                <a:spcPts val="0"/>
              </a:spcAft>
              <a:buSzPts val="800"/>
              <a:buChar char="○"/>
              <a:defRPr sz="1065"/>
            </a:lvl2pPr>
            <a:lvl3pPr marL="1825943" lvl="2" indent="-371951" algn="ctr">
              <a:spcBef>
                <a:spcPts val="0"/>
              </a:spcBef>
              <a:spcAft>
                <a:spcPts val="0"/>
              </a:spcAft>
              <a:buSzPts val="800"/>
              <a:buChar char="■"/>
              <a:defRPr sz="1065"/>
            </a:lvl3pPr>
            <a:lvl4pPr marL="2434590" lvl="3" indent="-371951" algn="ctr">
              <a:spcBef>
                <a:spcPts val="0"/>
              </a:spcBef>
              <a:spcAft>
                <a:spcPts val="0"/>
              </a:spcAft>
              <a:buSzPts val="800"/>
              <a:buChar char="●"/>
              <a:defRPr sz="1065"/>
            </a:lvl4pPr>
            <a:lvl5pPr marL="3043238" lvl="4" indent="-371951" algn="ctr">
              <a:spcBef>
                <a:spcPts val="0"/>
              </a:spcBef>
              <a:spcAft>
                <a:spcPts val="0"/>
              </a:spcAft>
              <a:buSzPts val="800"/>
              <a:buChar char="○"/>
              <a:defRPr sz="1065"/>
            </a:lvl5pPr>
            <a:lvl6pPr marL="3651885" lvl="5" indent="-371951" algn="ctr">
              <a:spcBef>
                <a:spcPts val="0"/>
              </a:spcBef>
              <a:spcAft>
                <a:spcPts val="0"/>
              </a:spcAft>
              <a:buSzPts val="800"/>
              <a:buChar char="■"/>
              <a:defRPr sz="1065"/>
            </a:lvl6pPr>
            <a:lvl7pPr marL="4260533" lvl="6" indent="-371951" algn="ctr">
              <a:spcBef>
                <a:spcPts val="0"/>
              </a:spcBef>
              <a:spcAft>
                <a:spcPts val="0"/>
              </a:spcAft>
              <a:buSzPts val="800"/>
              <a:buChar char="●"/>
              <a:defRPr sz="1065"/>
            </a:lvl7pPr>
            <a:lvl8pPr marL="4869180" lvl="7" indent="-371951" algn="ctr">
              <a:spcBef>
                <a:spcPts val="0"/>
              </a:spcBef>
              <a:spcAft>
                <a:spcPts val="0"/>
              </a:spcAft>
              <a:buSzPts val="800"/>
              <a:buChar char="○"/>
              <a:defRPr sz="1065"/>
            </a:lvl8pPr>
            <a:lvl9pPr marL="5477828" lvl="8" indent="-371951" algn="ctr">
              <a:spcBef>
                <a:spcPts val="0"/>
              </a:spcBef>
              <a:spcAft>
                <a:spcPts val="0"/>
              </a:spcAft>
              <a:buSzPts val="800"/>
              <a:buChar char="■"/>
              <a:defRPr sz="1065"/>
            </a:lvl9pPr>
          </a:lstStyle>
          <a:p>
            <a:endParaRPr dirty="0"/>
          </a:p>
        </p:txBody>
      </p:sp>
      <p:sp>
        <p:nvSpPr>
          <p:cNvPr id="103" name="Google Shape;103;p17"/>
          <p:cNvSpPr txBox="1">
            <a:spLocks noGrp="1"/>
          </p:cNvSpPr>
          <p:nvPr>
            <p:ph type="body" idx="4"/>
          </p:nvPr>
        </p:nvSpPr>
        <p:spPr>
          <a:xfrm>
            <a:off x="1219201" y="429881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198" b="1" i="0">
                <a:solidFill>
                  <a:schemeClr val="bg1"/>
                </a:solidFill>
                <a:latin typeface="Helvetica" pitchFamily="2" charset="0"/>
              </a:defRPr>
            </a:lvl1pPr>
            <a:lvl2pPr marL="1217295" lvl="1" indent="-380405" algn="ctr" rtl="0">
              <a:lnSpc>
                <a:spcPct val="100000"/>
              </a:lnSpc>
              <a:spcBef>
                <a:spcPts val="0"/>
              </a:spcBef>
              <a:spcAft>
                <a:spcPts val="0"/>
              </a:spcAft>
              <a:buSzPts val="900"/>
              <a:buChar char="○"/>
              <a:defRPr sz="1198"/>
            </a:lvl2pPr>
            <a:lvl3pPr marL="1825943" lvl="2" indent="-380405" algn="ctr" rtl="0">
              <a:lnSpc>
                <a:spcPct val="100000"/>
              </a:lnSpc>
              <a:spcBef>
                <a:spcPts val="0"/>
              </a:spcBef>
              <a:spcAft>
                <a:spcPts val="0"/>
              </a:spcAft>
              <a:buSzPts val="900"/>
              <a:buChar char="■"/>
              <a:defRPr sz="1198"/>
            </a:lvl3pPr>
            <a:lvl4pPr marL="2434590" lvl="3" indent="-380405" algn="ctr" rtl="0">
              <a:lnSpc>
                <a:spcPct val="100000"/>
              </a:lnSpc>
              <a:spcBef>
                <a:spcPts val="0"/>
              </a:spcBef>
              <a:spcAft>
                <a:spcPts val="0"/>
              </a:spcAft>
              <a:buSzPts val="900"/>
              <a:buChar char="●"/>
              <a:defRPr sz="1198"/>
            </a:lvl4pPr>
            <a:lvl5pPr marL="3043238" lvl="4" indent="-380405" algn="ctr" rtl="0">
              <a:lnSpc>
                <a:spcPct val="100000"/>
              </a:lnSpc>
              <a:spcBef>
                <a:spcPts val="0"/>
              </a:spcBef>
              <a:spcAft>
                <a:spcPts val="0"/>
              </a:spcAft>
              <a:buSzPts val="900"/>
              <a:buChar char="○"/>
              <a:defRPr sz="1198"/>
            </a:lvl5pPr>
            <a:lvl6pPr marL="3651885" lvl="5" indent="-380405" algn="ctr" rtl="0">
              <a:lnSpc>
                <a:spcPct val="100000"/>
              </a:lnSpc>
              <a:spcBef>
                <a:spcPts val="0"/>
              </a:spcBef>
              <a:spcAft>
                <a:spcPts val="0"/>
              </a:spcAft>
              <a:buSzPts val="900"/>
              <a:buChar char="■"/>
              <a:defRPr sz="1198"/>
            </a:lvl6pPr>
            <a:lvl7pPr marL="4260533" lvl="6" indent="-380405" algn="ctr" rtl="0">
              <a:lnSpc>
                <a:spcPct val="100000"/>
              </a:lnSpc>
              <a:spcBef>
                <a:spcPts val="0"/>
              </a:spcBef>
              <a:spcAft>
                <a:spcPts val="0"/>
              </a:spcAft>
              <a:buSzPts val="900"/>
              <a:buChar char="●"/>
              <a:defRPr sz="1198"/>
            </a:lvl7pPr>
            <a:lvl8pPr marL="4869180" lvl="7" indent="-380405" algn="ctr" rtl="0">
              <a:lnSpc>
                <a:spcPct val="100000"/>
              </a:lnSpc>
              <a:spcBef>
                <a:spcPts val="0"/>
              </a:spcBef>
              <a:spcAft>
                <a:spcPts val="0"/>
              </a:spcAft>
              <a:buSzPts val="900"/>
              <a:buChar char="○"/>
              <a:defRPr sz="1198"/>
            </a:lvl8pPr>
            <a:lvl9pPr marL="5477828" lvl="8" indent="-380405" algn="ctr" rtl="0">
              <a:lnSpc>
                <a:spcPct val="100000"/>
              </a:lnSpc>
              <a:spcBef>
                <a:spcPts val="0"/>
              </a:spcBef>
              <a:spcAft>
                <a:spcPts val="0"/>
              </a:spcAft>
              <a:buSzPts val="900"/>
              <a:buChar char="■"/>
              <a:defRPr sz="1198"/>
            </a:lvl9pPr>
          </a:lstStyle>
          <a:p>
            <a:endParaRPr dirty="0"/>
          </a:p>
        </p:txBody>
      </p:sp>
      <p:sp>
        <p:nvSpPr>
          <p:cNvPr id="107" name="Google Shape;107;p17"/>
          <p:cNvSpPr txBox="1">
            <a:spLocks noGrp="1"/>
          </p:cNvSpPr>
          <p:nvPr>
            <p:ph type="body" idx="8"/>
          </p:nvPr>
        </p:nvSpPr>
        <p:spPr>
          <a:xfrm>
            <a:off x="963168" y="4579233"/>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104" name="Google Shape;104;p17"/>
          <p:cNvSpPr txBox="1">
            <a:spLocks noGrp="1"/>
          </p:cNvSpPr>
          <p:nvPr>
            <p:ph type="body" idx="5"/>
          </p:nvPr>
        </p:nvSpPr>
        <p:spPr>
          <a:xfrm>
            <a:off x="9351264" y="2680881"/>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198" b="1" i="0">
                <a:solidFill>
                  <a:schemeClr val="bg1"/>
                </a:solidFill>
                <a:latin typeface="Helvetica" pitchFamily="2" charset="0"/>
              </a:defRPr>
            </a:lvl1pPr>
            <a:lvl2pPr marL="1217295" lvl="1" indent="-380405" algn="ctr" rtl="0">
              <a:lnSpc>
                <a:spcPct val="100000"/>
              </a:lnSpc>
              <a:spcBef>
                <a:spcPts val="0"/>
              </a:spcBef>
              <a:spcAft>
                <a:spcPts val="0"/>
              </a:spcAft>
              <a:buSzPts val="900"/>
              <a:buChar char="○"/>
              <a:defRPr sz="1198"/>
            </a:lvl2pPr>
            <a:lvl3pPr marL="1825943" lvl="2" indent="-380405" algn="ctr" rtl="0">
              <a:lnSpc>
                <a:spcPct val="100000"/>
              </a:lnSpc>
              <a:spcBef>
                <a:spcPts val="0"/>
              </a:spcBef>
              <a:spcAft>
                <a:spcPts val="0"/>
              </a:spcAft>
              <a:buSzPts val="900"/>
              <a:buChar char="■"/>
              <a:defRPr sz="1198"/>
            </a:lvl3pPr>
            <a:lvl4pPr marL="2434590" lvl="3" indent="-380405" algn="ctr" rtl="0">
              <a:lnSpc>
                <a:spcPct val="100000"/>
              </a:lnSpc>
              <a:spcBef>
                <a:spcPts val="0"/>
              </a:spcBef>
              <a:spcAft>
                <a:spcPts val="0"/>
              </a:spcAft>
              <a:buSzPts val="900"/>
              <a:buChar char="●"/>
              <a:defRPr sz="1198"/>
            </a:lvl4pPr>
            <a:lvl5pPr marL="3043238" lvl="4" indent="-380405" algn="ctr" rtl="0">
              <a:lnSpc>
                <a:spcPct val="100000"/>
              </a:lnSpc>
              <a:spcBef>
                <a:spcPts val="0"/>
              </a:spcBef>
              <a:spcAft>
                <a:spcPts val="0"/>
              </a:spcAft>
              <a:buSzPts val="900"/>
              <a:buChar char="○"/>
              <a:defRPr sz="1198"/>
            </a:lvl5pPr>
            <a:lvl6pPr marL="3651885" lvl="5" indent="-380405" algn="ctr" rtl="0">
              <a:lnSpc>
                <a:spcPct val="100000"/>
              </a:lnSpc>
              <a:spcBef>
                <a:spcPts val="0"/>
              </a:spcBef>
              <a:spcAft>
                <a:spcPts val="0"/>
              </a:spcAft>
              <a:buSzPts val="900"/>
              <a:buChar char="■"/>
              <a:defRPr sz="1198"/>
            </a:lvl6pPr>
            <a:lvl7pPr marL="4260533" lvl="6" indent="-380405" algn="ctr" rtl="0">
              <a:lnSpc>
                <a:spcPct val="100000"/>
              </a:lnSpc>
              <a:spcBef>
                <a:spcPts val="0"/>
              </a:spcBef>
              <a:spcAft>
                <a:spcPts val="0"/>
              </a:spcAft>
              <a:buSzPts val="900"/>
              <a:buChar char="●"/>
              <a:defRPr sz="1198"/>
            </a:lvl7pPr>
            <a:lvl8pPr marL="4869180" lvl="7" indent="-380405" algn="ctr" rtl="0">
              <a:lnSpc>
                <a:spcPct val="100000"/>
              </a:lnSpc>
              <a:spcBef>
                <a:spcPts val="0"/>
              </a:spcBef>
              <a:spcAft>
                <a:spcPts val="0"/>
              </a:spcAft>
              <a:buSzPts val="900"/>
              <a:buChar char="○"/>
              <a:defRPr sz="1198"/>
            </a:lvl8pPr>
            <a:lvl9pPr marL="5477828" lvl="8" indent="-380405" algn="ctr" rtl="0">
              <a:lnSpc>
                <a:spcPct val="100000"/>
              </a:lnSpc>
              <a:spcBef>
                <a:spcPts val="0"/>
              </a:spcBef>
              <a:spcAft>
                <a:spcPts val="0"/>
              </a:spcAft>
              <a:buSzPts val="900"/>
              <a:buChar char="■"/>
              <a:defRPr sz="1198"/>
            </a:lvl9pPr>
          </a:lstStyle>
          <a:p>
            <a:endParaRPr dirty="0"/>
          </a:p>
        </p:txBody>
      </p:sp>
      <p:sp>
        <p:nvSpPr>
          <p:cNvPr id="108" name="Google Shape;108;p17"/>
          <p:cNvSpPr txBox="1">
            <a:spLocks noGrp="1"/>
          </p:cNvSpPr>
          <p:nvPr>
            <p:ph type="body" idx="9"/>
          </p:nvPr>
        </p:nvSpPr>
        <p:spPr>
          <a:xfrm>
            <a:off x="9095233" y="2969889"/>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105" name="Google Shape;105;p17"/>
          <p:cNvSpPr txBox="1">
            <a:spLocks noGrp="1"/>
          </p:cNvSpPr>
          <p:nvPr>
            <p:ph type="body" idx="6"/>
          </p:nvPr>
        </p:nvSpPr>
        <p:spPr>
          <a:xfrm>
            <a:off x="9351400" y="429881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198" b="1" i="0">
                <a:solidFill>
                  <a:schemeClr val="bg1"/>
                </a:solidFill>
                <a:latin typeface="Helvetica" pitchFamily="2" charset="0"/>
              </a:defRPr>
            </a:lvl1pPr>
            <a:lvl2pPr marL="1217295" lvl="1" indent="-380405" algn="ctr" rtl="0">
              <a:lnSpc>
                <a:spcPct val="100000"/>
              </a:lnSpc>
              <a:spcBef>
                <a:spcPts val="0"/>
              </a:spcBef>
              <a:spcAft>
                <a:spcPts val="0"/>
              </a:spcAft>
              <a:buSzPts val="900"/>
              <a:buChar char="○"/>
              <a:defRPr sz="1198"/>
            </a:lvl2pPr>
            <a:lvl3pPr marL="1825943" lvl="2" indent="-380405" algn="ctr" rtl="0">
              <a:lnSpc>
                <a:spcPct val="100000"/>
              </a:lnSpc>
              <a:spcBef>
                <a:spcPts val="0"/>
              </a:spcBef>
              <a:spcAft>
                <a:spcPts val="0"/>
              </a:spcAft>
              <a:buSzPts val="900"/>
              <a:buChar char="■"/>
              <a:defRPr sz="1198"/>
            </a:lvl3pPr>
            <a:lvl4pPr marL="2434590" lvl="3" indent="-380405" algn="ctr" rtl="0">
              <a:lnSpc>
                <a:spcPct val="100000"/>
              </a:lnSpc>
              <a:spcBef>
                <a:spcPts val="0"/>
              </a:spcBef>
              <a:spcAft>
                <a:spcPts val="0"/>
              </a:spcAft>
              <a:buSzPts val="900"/>
              <a:buChar char="●"/>
              <a:defRPr sz="1198"/>
            </a:lvl4pPr>
            <a:lvl5pPr marL="3043238" lvl="4" indent="-380405" algn="ctr" rtl="0">
              <a:lnSpc>
                <a:spcPct val="100000"/>
              </a:lnSpc>
              <a:spcBef>
                <a:spcPts val="0"/>
              </a:spcBef>
              <a:spcAft>
                <a:spcPts val="0"/>
              </a:spcAft>
              <a:buSzPts val="900"/>
              <a:buChar char="○"/>
              <a:defRPr sz="1198"/>
            </a:lvl5pPr>
            <a:lvl6pPr marL="3651885" lvl="5" indent="-380405" algn="ctr" rtl="0">
              <a:lnSpc>
                <a:spcPct val="100000"/>
              </a:lnSpc>
              <a:spcBef>
                <a:spcPts val="0"/>
              </a:spcBef>
              <a:spcAft>
                <a:spcPts val="0"/>
              </a:spcAft>
              <a:buSzPts val="900"/>
              <a:buChar char="■"/>
              <a:defRPr sz="1198"/>
            </a:lvl6pPr>
            <a:lvl7pPr marL="4260533" lvl="6" indent="-380405" algn="ctr" rtl="0">
              <a:lnSpc>
                <a:spcPct val="100000"/>
              </a:lnSpc>
              <a:spcBef>
                <a:spcPts val="0"/>
              </a:spcBef>
              <a:spcAft>
                <a:spcPts val="0"/>
              </a:spcAft>
              <a:buSzPts val="900"/>
              <a:buChar char="●"/>
              <a:defRPr sz="1198"/>
            </a:lvl7pPr>
            <a:lvl8pPr marL="4869180" lvl="7" indent="-380405" algn="ctr" rtl="0">
              <a:lnSpc>
                <a:spcPct val="100000"/>
              </a:lnSpc>
              <a:spcBef>
                <a:spcPts val="0"/>
              </a:spcBef>
              <a:spcAft>
                <a:spcPts val="0"/>
              </a:spcAft>
              <a:buSzPts val="900"/>
              <a:buChar char="○"/>
              <a:defRPr sz="1198"/>
            </a:lvl8pPr>
            <a:lvl9pPr marL="5477828" lvl="8" indent="-380405" algn="ctr" rtl="0">
              <a:lnSpc>
                <a:spcPct val="100000"/>
              </a:lnSpc>
              <a:spcBef>
                <a:spcPts val="0"/>
              </a:spcBef>
              <a:spcAft>
                <a:spcPts val="0"/>
              </a:spcAft>
              <a:buSzPts val="900"/>
              <a:buChar char="■"/>
              <a:defRPr sz="1198"/>
            </a:lvl9pPr>
          </a:lstStyle>
          <a:p>
            <a:endParaRPr dirty="0"/>
          </a:p>
        </p:txBody>
      </p:sp>
      <p:sp>
        <p:nvSpPr>
          <p:cNvPr id="109" name="Google Shape;109;p17"/>
          <p:cNvSpPr txBox="1">
            <a:spLocks noGrp="1"/>
          </p:cNvSpPr>
          <p:nvPr>
            <p:ph type="body" idx="13"/>
          </p:nvPr>
        </p:nvSpPr>
        <p:spPr>
          <a:xfrm>
            <a:off x="9095233" y="4591426"/>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Tree>
    <p:extLst>
      <p:ext uri="{BB962C8B-B14F-4D97-AF65-F5344CB8AC3E}">
        <p14:creationId xmlns:p14="http://schemas.microsoft.com/office/powerpoint/2010/main" val="13676804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matchingName="Top-Bottom Split" preserve="1">
  <p:cSld name="Top-Bottom Split">
    <p:spTree>
      <p:nvGrpSpPr>
        <p:cNvPr id="1" name="Shape 110"/>
        <p:cNvGrpSpPr/>
        <p:nvPr/>
      </p:nvGrpSpPr>
      <p:grpSpPr>
        <a:xfrm>
          <a:off x="0" y="0"/>
          <a:ext cx="0" cy="0"/>
          <a:chOff x="0" y="0"/>
          <a:chExt cx="0" cy="0"/>
        </a:xfrm>
      </p:grpSpPr>
      <p:grpSp>
        <p:nvGrpSpPr>
          <p:cNvPr id="3" name="Group 2">
            <a:extLst>
              <a:ext uri="{FF2B5EF4-FFF2-40B4-BE49-F238E27FC236}">
                <a16:creationId xmlns:a16="http://schemas.microsoft.com/office/drawing/2014/main" id="{AE3E3842-1A1C-DFC2-C6F6-A988610AABA6}"/>
              </a:ext>
              <a:ext uri="{C183D7F6-B498-43B3-948B-1728B52AA6E4}">
                <adec:decorative xmlns:adec="http://schemas.microsoft.com/office/drawing/2017/decorative" val="1"/>
              </a:ext>
            </a:extLst>
          </p:cNvPr>
          <p:cNvGrpSpPr/>
          <p:nvPr userDrawn="1"/>
        </p:nvGrpSpPr>
        <p:grpSpPr>
          <a:xfrm>
            <a:off x="543900" y="-4209151"/>
            <a:ext cx="11648205" cy="15887968"/>
            <a:chOff x="407925" y="-3156864"/>
            <a:chExt cx="8736154" cy="11915976"/>
          </a:xfrm>
        </p:grpSpPr>
        <p:cxnSp>
          <p:nvCxnSpPr>
            <p:cNvPr id="113" name="Google Shape;113;p18">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grpSp>
          <p:nvGrpSpPr>
            <p:cNvPr id="115" name="Google Shape;115;p18">
              <a:extLst>
                <a:ext uri="{C183D7F6-B498-43B3-948B-1728B52AA6E4}">
                  <adec:decorative xmlns:adec="http://schemas.microsoft.com/office/drawing/2017/decorative" val="1"/>
                </a:ext>
              </a:extLst>
            </p:cNvPr>
            <p:cNvGrpSpPr/>
            <p:nvPr/>
          </p:nvGrpSpPr>
          <p:grpSpPr>
            <a:xfrm>
              <a:off x="4679511" y="3094843"/>
              <a:ext cx="507623" cy="506585"/>
              <a:chOff x="8210789" y="6930887"/>
              <a:chExt cx="1081200" cy="1080600"/>
            </a:xfrm>
          </p:grpSpPr>
          <p:sp>
            <p:nvSpPr>
              <p:cNvPr id="116" name="Google Shape;116;p18"/>
              <p:cNvSpPr/>
              <p:nvPr/>
            </p:nvSpPr>
            <p:spPr>
              <a:xfrm>
                <a:off x="8210789" y="6930887"/>
                <a:ext cx="1081200" cy="10806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17" name="Google Shape;117;p18"/>
              <p:cNvSpPr/>
              <p:nvPr/>
            </p:nvSpPr>
            <p:spPr>
              <a:xfrm>
                <a:off x="8393115" y="7113123"/>
                <a:ext cx="716700" cy="7164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2" name="Group 1">
              <a:extLst>
                <a:ext uri="{FF2B5EF4-FFF2-40B4-BE49-F238E27FC236}">
                  <a16:creationId xmlns:a16="http://schemas.microsoft.com/office/drawing/2014/main" id="{E94EB603-8C2E-D4C8-50E5-D722D006D0A4}"/>
                </a:ext>
              </a:extLst>
            </p:cNvPr>
            <p:cNvGrpSpPr/>
            <p:nvPr userDrawn="1"/>
          </p:nvGrpSpPr>
          <p:grpSpPr>
            <a:xfrm>
              <a:off x="407925" y="-3156864"/>
              <a:ext cx="8736154" cy="11915976"/>
              <a:chOff x="407925" y="-3156864"/>
              <a:chExt cx="8736154" cy="11915976"/>
            </a:xfrm>
          </p:grpSpPr>
          <p:sp>
            <p:nvSpPr>
              <p:cNvPr id="111" name="Google Shape;111;p18">
                <a:extLst>
                  <a:ext uri="{C183D7F6-B498-43B3-948B-1728B52AA6E4}">
                    <adec:decorative xmlns:adec="http://schemas.microsoft.com/office/drawing/2017/decorative" val="1"/>
                  </a:ext>
                </a:extLst>
              </p:cNvPr>
              <p:cNvSpPr/>
              <p:nvPr/>
            </p:nvSpPr>
            <p:spPr>
              <a:xfrm>
                <a:off x="425779" y="2838193"/>
                <a:ext cx="8718300" cy="2305200"/>
              </a:xfrm>
              <a:prstGeom prst="round2SameRect">
                <a:avLst>
                  <a:gd name="adj1" fmla="val 4610"/>
                  <a:gd name="adj2" fmla="val 0"/>
                </a:avLst>
              </a:prstGeom>
              <a:gradFill>
                <a:gsLst>
                  <a:gs pos="0">
                    <a:srgbClr val="1F9CF0"/>
                  </a:gs>
                  <a:gs pos="48500">
                    <a:srgbClr val="9477E2">
                      <a:alpha val="48627"/>
                    </a:srgbClr>
                  </a:gs>
                  <a:gs pos="97000">
                    <a:srgbClr val="9477E2">
                      <a:alpha val="0"/>
                    </a:srgbClr>
                  </a:gs>
                  <a:gs pos="100000">
                    <a:srgbClr val="9477E2">
                      <a:alpha val="0"/>
                    </a:srgbClr>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112" name="Google Shape;112;p18">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4672027" y="-3156864"/>
                <a:ext cx="3762369" cy="3762369"/>
              </a:xfrm>
              <a:prstGeom prst="rect">
                <a:avLst/>
              </a:prstGeom>
              <a:noFill/>
              <a:ln>
                <a:noFill/>
              </a:ln>
            </p:spPr>
          </p:pic>
          <p:pic>
            <p:nvPicPr>
              <p:cNvPr id="114" name="Google Shape;114;p18">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4672026" y="4996743"/>
                <a:ext cx="3762369" cy="3762369"/>
              </a:xfrm>
              <a:prstGeom prst="rect">
                <a:avLst/>
              </a:prstGeom>
              <a:noFill/>
              <a:ln>
                <a:noFill/>
              </a:ln>
            </p:spPr>
          </p:pic>
          <p:sp>
            <p:nvSpPr>
              <p:cNvPr id="118" name="Google Shape;118;p18">
                <a:extLst>
                  <a:ext uri="{C183D7F6-B498-43B3-948B-1728B52AA6E4}">
                    <adec:decorative xmlns:adec="http://schemas.microsoft.com/office/drawing/2017/decorative" val="1"/>
                  </a:ext>
                </a:extLst>
              </p:cNvPr>
              <p:cNvSpPr/>
              <p:nvPr/>
            </p:nvSpPr>
            <p:spPr>
              <a:xfrm rot="10800000">
                <a:off x="407925" y="325"/>
                <a:ext cx="73200" cy="22164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grpSp>
      <p:sp>
        <p:nvSpPr>
          <p:cNvPr id="119" name="Google Shape;119;p18"/>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120" name="Google Shape;120;p18"/>
          <p:cNvSpPr txBox="1">
            <a:spLocks noGrp="1"/>
          </p:cNvSpPr>
          <p:nvPr>
            <p:ph type="title"/>
          </p:nvPr>
        </p:nvSpPr>
        <p:spPr>
          <a:xfrm>
            <a:off x="1060704" y="1243584"/>
            <a:ext cx="4681600" cy="1792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3" b="0"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 name="Google Shape;121;p18"/>
          <p:cNvSpPr txBox="1">
            <a:spLocks noGrp="1"/>
          </p:cNvSpPr>
          <p:nvPr>
            <p:ph type="body" idx="2"/>
          </p:nvPr>
        </p:nvSpPr>
        <p:spPr>
          <a:xfrm>
            <a:off x="6230112" y="1243584"/>
            <a:ext cx="4596400" cy="14996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1000"/>
              <a:buNone/>
              <a:defRPr b="0" i="0">
                <a:latin typeface="Helvetica" pitchFamily="2" charset="0"/>
              </a:defRPr>
            </a:lvl1pPr>
            <a:lvl2pPr marL="1217295" lvl="1" indent="-388858">
              <a:spcBef>
                <a:spcPts val="0"/>
              </a:spcBef>
              <a:spcAft>
                <a:spcPts val="0"/>
              </a:spcAft>
              <a:buSzPts val="1000"/>
              <a:buChar char="○"/>
              <a:defRPr/>
            </a:lvl2pPr>
            <a:lvl3pPr marL="1825943" lvl="2" indent="-388858">
              <a:spcBef>
                <a:spcPts val="0"/>
              </a:spcBef>
              <a:spcAft>
                <a:spcPts val="0"/>
              </a:spcAft>
              <a:buSzPts val="1000"/>
              <a:buChar char="■"/>
              <a:defRPr/>
            </a:lvl3pPr>
            <a:lvl4pPr marL="2434590" lvl="3" indent="-388858">
              <a:spcBef>
                <a:spcPts val="0"/>
              </a:spcBef>
              <a:spcAft>
                <a:spcPts val="0"/>
              </a:spcAft>
              <a:buSzPts val="1000"/>
              <a:buChar char="●"/>
              <a:defRPr/>
            </a:lvl4pPr>
            <a:lvl5pPr marL="3043238" lvl="4" indent="-388858">
              <a:spcBef>
                <a:spcPts val="0"/>
              </a:spcBef>
              <a:spcAft>
                <a:spcPts val="0"/>
              </a:spcAft>
              <a:buSzPts val="1000"/>
              <a:buChar char="○"/>
              <a:defRPr/>
            </a:lvl5pPr>
            <a:lvl6pPr marL="3651885" lvl="5" indent="-388858">
              <a:spcBef>
                <a:spcPts val="0"/>
              </a:spcBef>
              <a:spcAft>
                <a:spcPts val="0"/>
              </a:spcAft>
              <a:buSzPts val="1000"/>
              <a:buChar char="■"/>
              <a:defRPr/>
            </a:lvl6pPr>
            <a:lvl7pPr marL="4260533" lvl="6" indent="-388858">
              <a:spcBef>
                <a:spcPts val="0"/>
              </a:spcBef>
              <a:spcAft>
                <a:spcPts val="0"/>
              </a:spcAft>
              <a:buSzPts val="1000"/>
              <a:buChar char="●"/>
              <a:defRPr/>
            </a:lvl7pPr>
            <a:lvl8pPr marL="4869180" lvl="7" indent="-388858">
              <a:spcBef>
                <a:spcPts val="0"/>
              </a:spcBef>
              <a:spcAft>
                <a:spcPts val="0"/>
              </a:spcAft>
              <a:buSzPts val="1000"/>
              <a:buChar char="○"/>
              <a:defRPr/>
            </a:lvl8pPr>
            <a:lvl9pPr marL="5477828" lvl="8" indent="-388858">
              <a:spcBef>
                <a:spcPts val="0"/>
              </a:spcBef>
              <a:spcAft>
                <a:spcPts val="0"/>
              </a:spcAft>
              <a:buSzPts val="1000"/>
              <a:buChar char="■"/>
              <a:defRPr/>
            </a:lvl9pPr>
          </a:lstStyle>
          <a:p>
            <a:endParaRPr/>
          </a:p>
        </p:txBody>
      </p:sp>
      <p:sp>
        <p:nvSpPr>
          <p:cNvPr id="122" name="Google Shape;122;p18"/>
          <p:cNvSpPr>
            <a:spLocks noGrp="1"/>
          </p:cNvSpPr>
          <p:nvPr>
            <p:ph type="pic" idx="3"/>
          </p:nvPr>
        </p:nvSpPr>
        <p:spPr>
          <a:xfrm>
            <a:off x="6409670" y="4296087"/>
            <a:ext cx="336187" cy="336187"/>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a:p>
        </p:txBody>
      </p:sp>
      <p:sp>
        <p:nvSpPr>
          <p:cNvPr id="123" name="Google Shape;123;p18"/>
          <p:cNvSpPr txBox="1">
            <a:spLocks noGrp="1"/>
          </p:cNvSpPr>
          <p:nvPr>
            <p:ph type="title" idx="4"/>
          </p:nvPr>
        </p:nvSpPr>
        <p:spPr>
          <a:xfrm>
            <a:off x="7034784" y="4255008"/>
            <a:ext cx="3755200" cy="402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3"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 name="Google Shape;124;p18"/>
          <p:cNvSpPr txBox="1">
            <a:spLocks noGrp="1"/>
          </p:cNvSpPr>
          <p:nvPr>
            <p:ph type="body" idx="5"/>
          </p:nvPr>
        </p:nvSpPr>
        <p:spPr>
          <a:xfrm>
            <a:off x="6353483" y="4974336"/>
            <a:ext cx="4424228" cy="878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a:p>
        </p:txBody>
      </p:sp>
    </p:spTree>
    <p:extLst>
      <p:ext uri="{BB962C8B-B14F-4D97-AF65-F5344CB8AC3E}">
        <p14:creationId xmlns:p14="http://schemas.microsoft.com/office/powerpoint/2010/main" val="385641541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matchingName="Four Sections" preserve="1" userDrawn="1">
  <p:cSld name="Four Sections">
    <p:spTree>
      <p:nvGrpSpPr>
        <p:cNvPr id="1" name="Shape 125"/>
        <p:cNvGrpSpPr/>
        <p:nvPr/>
      </p:nvGrpSpPr>
      <p:grpSpPr>
        <a:xfrm>
          <a:off x="0" y="0"/>
          <a:ext cx="0" cy="0"/>
          <a:chOff x="0" y="0"/>
          <a:chExt cx="0" cy="0"/>
        </a:xfrm>
      </p:grpSpPr>
      <p:sp>
        <p:nvSpPr>
          <p:cNvPr id="151" name="Google Shape;151;p19"/>
          <p:cNvSpPr txBox="1">
            <a:spLocks noGrp="1"/>
          </p:cNvSpPr>
          <p:nvPr>
            <p:ph type="title" idx="15"/>
          </p:nvPr>
        </p:nvSpPr>
        <p:spPr>
          <a:xfrm>
            <a:off x="558001" y="304769"/>
            <a:ext cx="11136159" cy="713523"/>
          </a:xfrm>
          <a:prstGeom prst="rect">
            <a:avLst/>
          </a:prstGeom>
        </p:spPr>
        <p:txBody>
          <a:bodyPr spcFirstLastPara="1" wrap="square" lIns="0" tIns="18275" rIns="0" bIns="18275" anchor="t" anchorCtr="0">
            <a:noAutofit/>
          </a:bodyPr>
          <a:lstStyle>
            <a:lvl1pPr lvl="0" rtl="0">
              <a:lnSpc>
                <a:spcPct val="100000"/>
              </a:lnSpc>
              <a:spcBef>
                <a:spcPts val="0"/>
              </a:spcBef>
              <a:spcAft>
                <a:spcPts val="0"/>
              </a:spcAft>
              <a:buSzPts val="2300"/>
              <a:buNone/>
              <a:defRPr sz="3195"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129" name="Google Shape;129;p19"/>
          <p:cNvSpPr>
            <a:spLocks noGrp="1"/>
          </p:cNvSpPr>
          <p:nvPr>
            <p:ph type="pic" idx="5"/>
          </p:nvPr>
        </p:nvSpPr>
        <p:spPr>
          <a:xfrm>
            <a:off x="0" y="1110227"/>
            <a:ext cx="3043600" cy="1853184"/>
          </a:xfrm>
          <a:prstGeom prst="rect">
            <a:avLst/>
          </a:prstGeom>
          <a:noFill/>
          <a:ln>
            <a:noFill/>
          </a:ln>
        </p:spPr>
        <p:txBody>
          <a:bodyPr anchor="ctr"/>
          <a:lstStyle>
            <a:lvl1pPr marL="0" indent="0" algn="ctr">
              <a:buNone/>
              <a:defRPr b="0" i="0">
                <a:latin typeface="Helvetica" pitchFamily="2" charset="0"/>
              </a:defRPr>
            </a:lvl1pPr>
          </a:lstStyle>
          <a:p>
            <a:endParaRPr lang="en-US"/>
          </a:p>
        </p:txBody>
      </p:sp>
      <p:grpSp>
        <p:nvGrpSpPr>
          <p:cNvPr id="5" name="Group 4">
            <a:extLst>
              <a:ext uri="{FF2B5EF4-FFF2-40B4-BE49-F238E27FC236}">
                <a16:creationId xmlns:a16="http://schemas.microsoft.com/office/drawing/2014/main" id="{C6D0AEF3-20C9-E36E-10B3-45993C86AF77}"/>
              </a:ext>
              <a:ext uri="{C183D7F6-B498-43B3-948B-1728B52AA6E4}">
                <adec:decorative xmlns:adec="http://schemas.microsoft.com/office/drawing/2017/decorative" val="1"/>
              </a:ext>
            </a:extLst>
          </p:cNvPr>
          <p:cNvGrpSpPr/>
          <p:nvPr userDrawn="1"/>
        </p:nvGrpSpPr>
        <p:grpSpPr>
          <a:xfrm>
            <a:off x="0" y="2504317"/>
            <a:ext cx="3048000" cy="2291203"/>
            <a:chOff x="0" y="1878238"/>
            <a:chExt cx="2286000" cy="1718402"/>
          </a:xfrm>
        </p:grpSpPr>
        <p:sp>
          <p:nvSpPr>
            <p:cNvPr id="133" name="Google Shape;133;p19">
              <a:extLst>
                <a:ext uri="{C183D7F6-B498-43B3-948B-1728B52AA6E4}">
                  <adec:decorative xmlns:adec="http://schemas.microsoft.com/office/drawing/2017/decorative" val="1"/>
                </a:ext>
              </a:extLst>
            </p:cNvPr>
            <p:cNvSpPr/>
            <p:nvPr/>
          </p:nvSpPr>
          <p:spPr>
            <a:xfrm>
              <a:off x="0" y="2231132"/>
              <a:ext cx="2286000" cy="1365508"/>
            </a:xfrm>
            <a:prstGeom prst="rect">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39" name="Google Shape;115;p18">
              <a:extLst>
                <a:ext uri="{FF2B5EF4-FFF2-40B4-BE49-F238E27FC236}">
                  <a16:creationId xmlns:a16="http://schemas.microsoft.com/office/drawing/2014/main" id="{2CABBAFB-D7E4-4946-8936-326967B61E08}"/>
                </a:ext>
                <a:ext uri="{C183D7F6-B498-43B3-948B-1728B52AA6E4}">
                  <adec:decorative xmlns:adec="http://schemas.microsoft.com/office/drawing/2017/decorative" val="1"/>
                </a:ext>
              </a:extLst>
            </p:cNvPr>
            <p:cNvGrpSpPr/>
            <p:nvPr userDrawn="1"/>
          </p:nvGrpSpPr>
          <p:grpSpPr>
            <a:xfrm>
              <a:off x="725202" y="1878238"/>
              <a:ext cx="720446" cy="718973"/>
              <a:chOff x="8210789" y="6930887"/>
              <a:chExt cx="1081200" cy="1080600"/>
            </a:xfrm>
          </p:grpSpPr>
          <p:sp>
            <p:nvSpPr>
              <p:cNvPr id="40" name="Google Shape;116;p18">
                <a:extLst>
                  <a:ext uri="{FF2B5EF4-FFF2-40B4-BE49-F238E27FC236}">
                    <a16:creationId xmlns:a16="http://schemas.microsoft.com/office/drawing/2014/main" id="{927C82E0-53EB-9E40-B93B-79D8C7C49530}"/>
                  </a:ext>
                </a:extLst>
              </p:cNvPr>
              <p:cNvSpPr/>
              <p:nvPr/>
            </p:nvSpPr>
            <p:spPr>
              <a:xfrm>
                <a:off x="8210789" y="6930887"/>
                <a:ext cx="1081200" cy="10806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1" name="Google Shape;117;p18">
                <a:extLst>
                  <a:ext uri="{FF2B5EF4-FFF2-40B4-BE49-F238E27FC236}">
                    <a16:creationId xmlns:a16="http://schemas.microsoft.com/office/drawing/2014/main" id="{33518440-89C6-C546-AC7B-32EBE9911FC2}"/>
                  </a:ext>
                </a:extLst>
              </p:cNvPr>
              <p:cNvSpPr/>
              <p:nvPr/>
            </p:nvSpPr>
            <p:spPr>
              <a:xfrm>
                <a:off x="8393115" y="7113123"/>
                <a:ext cx="716700" cy="7164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sp>
        <p:nvSpPr>
          <p:cNvPr id="42" name="Google Shape;122;p18">
            <a:extLst>
              <a:ext uri="{FF2B5EF4-FFF2-40B4-BE49-F238E27FC236}">
                <a16:creationId xmlns:a16="http://schemas.microsoft.com/office/drawing/2014/main" id="{770EE0F9-203B-9148-A3BA-831953FEF71D}"/>
              </a:ext>
            </a:extLst>
          </p:cNvPr>
          <p:cNvSpPr>
            <a:spLocks noGrp="1"/>
          </p:cNvSpPr>
          <p:nvPr>
            <p:ph type="pic" idx="23"/>
          </p:nvPr>
        </p:nvSpPr>
        <p:spPr>
          <a:xfrm>
            <a:off x="1208668" y="2745067"/>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a:p>
        </p:txBody>
      </p:sp>
      <p:sp>
        <p:nvSpPr>
          <p:cNvPr id="148" name="Google Shape;148;p19"/>
          <p:cNvSpPr txBox="1">
            <a:spLocks noGrp="1"/>
          </p:cNvSpPr>
          <p:nvPr>
            <p:ph type="body" idx="1"/>
          </p:nvPr>
        </p:nvSpPr>
        <p:spPr>
          <a:xfrm>
            <a:off x="451104" y="3472990"/>
            <a:ext cx="1670400" cy="319524"/>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331" b="0" i="0">
                <a:solidFill>
                  <a:schemeClr val="bg1"/>
                </a:solidFill>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a:p>
        </p:txBody>
      </p:sp>
      <p:sp>
        <p:nvSpPr>
          <p:cNvPr id="149" name="Google Shape;149;p19"/>
          <p:cNvSpPr txBox="1">
            <a:spLocks noGrp="1"/>
          </p:cNvSpPr>
          <p:nvPr>
            <p:ph type="body" idx="13"/>
          </p:nvPr>
        </p:nvSpPr>
        <p:spPr>
          <a:xfrm>
            <a:off x="451104" y="3778676"/>
            <a:ext cx="2255600" cy="924911"/>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a:p>
        </p:txBody>
      </p:sp>
      <p:grpSp>
        <p:nvGrpSpPr>
          <p:cNvPr id="6" name="Group 5">
            <a:extLst>
              <a:ext uri="{FF2B5EF4-FFF2-40B4-BE49-F238E27FC236}">
                <a16:creationId xmlns:a16="http://schemas.microsoft.com/office/drawing/2014/main" id="{7F7888B4-45D0-5024-C25B-EFA6D164CE21}"/>
              </a:ext>
              <a:ext uri="{C183D7F6-B498-43B3-948B-1728B52AA6E4}">
                <adec:decorative xmlns:adec="http://schemas.microsoft.com/office/drawing/2017/decorative" val="1"/>
              </a:ext>
            </a:extLst>
          </p:cNvPr>
          <p:cNvGrpSpPr/>
          <p:nvPr userDrawn="1"/>
        </p:nvGrpSpPr>
        <p:grpSpPr>
          <a:xfrm>
            <a:off x="3043534" y="2502357"/>
            <a:ext cx="3048000" cy="2293163"/>
            <a:chOff x="2282650" y="1876768"/>
            <a:chExt cx="2286000" cy="1719872"/>
          </a:xfrm>
        </p:grpSpPr>
        <p:sp>
          <p:nvSpPr>
            <p:cNvPr id="132" name="Google Shape;132;p19">
              <a:extLst>
                <a:ext uri="{C183D7F6-B498-43B3-948B-1728B52AA6E4}">
                  <adec:decorative xmlns:adec="http://schemas.microsoft.com/office/drawing/2017/decorative" val="1"/>
                </a:ext>
              </a:extLst>
            </p:cNvPr>
            <p:cNvSpPr/>
            <p:nvPr/>
          </p:nvSpPr>
          <p:spPr>
            <a:xfrm>
              <a:off x="2282650" y="2231132"/>
              <a:ext cx="2286000" cy="1365508"/>
            </a:xfrm>
            <a:prstGeom prst="rect">
              <a:avLst/>
            </a:prstGeom>
            <a:gradFill>
              <a:gsLst>
                <a:gs pos="0">
                  <a:srgbClr val="9477E2">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2" name="Group 1">
              <a:extLst>
                <a:ext uri="{FF2B5EF4-FFF2-40B4-BE49-F238E27FC236}">
                  <a16:creationId xmlns:a16="http://schemas.microsoft.com/office/drawing/2014/main" id="{80DF5EDE-E7F7-6146-AC08-AF61888173CC}"/>
                </a:ext>
                <a:ext uri="{C183D7F6-B498-43B3-948B-1728B52AA6E4}">
                  <adec:decorative xmlns:adec="http://schemas.microsoft.com/office/drawing/2017/decorative" val="1"/>
                </a:ext>
              </a:extLst>
            </p:cNvPr>
            <p:cNvGrpSpPr/>
            <p:nvPr userDrawn="1"/>
          </p:nvGrpSpPr>
          <p:grpSpPr>
            <a:xfrm>
              <a:off x="3068238" y="1876768"/>
              <a:ext cx="720300" cy="719400"/>
              <a:chOff x="3068238" y="1382291"/>
              <a:chExt cx="720300" cy="719400"/>
            </a:xfrm>
          </p:grpSpPr>
          <p:sp>
            <p:nvSpPr>
              <p:cNvPr id="134" name="Google Shape;134;p19"/>
              <p:cNvSpPr/>
              <p:nvPr/>
            </p:nvSpPr>
            <p:spPr>
              <a:xfrm>
                <a:off x="3068238" y="1382291"/>
                <a:ext cx="720300" cy="7194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lvl="0" indent="0" algn="ctr">
                  <a:buNone/>
                </a:pPr>
                <a:endParaRPr sz="1065">
                  <a:solidFill>
                    <a:schemeClr val="lt1"/>
                  </a:solidFill>
                  <a:latin typeface="Helvetica" pitchFamily="2" charset="0"/>
                  <a:ea typeface="Calibri"/>
                  <a:cs typeface="Calibri"/>
                  <a:sym typeface="Calibri"/>
                </a:endParaRPr>
              </a:p>
            </p:txBody>
          </p:sp>
          <p:sp>
            <p:nvSpPr>
              <p:cNvPr id="135" name="Google Shape;135;p19"/>
              <p:cNvSpPr/>
              <p:nvPr userDrawn="1"/>
            </p:nvSpPr>
            <p:spPr>
              <a:xfrm>
                <a:off x="3190019" y="1504824"/>
                <a:ext cx="477600" cy="476700"/>
              </a:xfrm>
              <a:prstGeom prst="ellipse">
                <a:avLst/>
              </a:prstGeom>
              <a:solidFill>
                <a:srgbClr val="8661C5"/>
              </a:solidFill>
              <a:ln>
                <a:noFill/>
              </a:ln>
            </p:spPr>
            <p:txBody>
              <a:bodyPr spcFirstLastPara="1" wrap="square" lIns="42900" tIns="21450" rIns="42900" bIns="21450" anchor="ctr" anchorCtr="0">
                <a:noAutofit/>
              </a:bodyPr>
              <a:lstStyle/>
              <a:p>
                <a:pPr marL="0" lvl="0" indent="0" algn="ctr">
                  <a:buNone/>
                </a:pPr>
                <a:endParaRPr sz="1065">
                  <a:solidFill>
                    <a:schemeClr val="lt1"/>
                  </a:solidFill>
                  <a:latin typeface="Helvetica" pitchFamily="2" charset="0"/>
                  <a:ea typeface="Calibri"/>
                  <a:cs typeface="Calibri"/>
                  <a:sym typeface="Calibri"/>
                </a:endParaRPr>
              </a:p>
            </p:txBody>
          </p:sp>
        </p:grpSp>
      </p:grpSp>
      <p:grpSp>
        <p:nvGrpSpPr>
          <p:cNvPr id="7" name="Group 6">
            <a:extLst>
              <a:ext uri="{FF2B5EF4-FFF2-40B4-BE49-F238E27FC236}">
                <a16:creationId xmlns:a16="http://schemas.microsoft.com/office/drawing/2014/main" id="{B258C728-B08C-223E-4D1B-66EB88D64B9F}"/>
              </a:ext>
              <a:ext uri="{C183D7F6-B498-43B3-948B-1728B52AA6E4}">
                <adec:decorative xmlns:adec="http://schemas.microsoft.com/office/drawing/2017/decorative" val="1"/>
              </a:ext>
            </a:extLst>
          </p:cNvPr>
          <p:cNvGrpSpPr/>
          <p:nvPr userDrawn="1"/>
        </p:nvGrpSpPr>
        <p:grpSpPr>
          <a:xfrm>
            <a:off x="6090910" y="2502357"/>
            <a:ext cx="3048000" cy="2293163"/>
            <a:chOff x="4568183" y="1876768"/>
            <a:chExt cx="2286000" cy="1719872"/>
          </a:xfrm>
        </p:grpSpPr>
        <p:sp>
          <p:nvSpPr>
            <p:cNvPr id="131" name="Google Shape;131;p19">
              <a:extLst>
                <a:ext uri="{C183D7F6-B498-43B3-948B-1728B52AA6E4}">
                  <adec:decorative xmlns:adec="http://schemas.microsoft.com/office/drawing/2017/decorative" val="1"/>
                </a:ext>
              </a:extLst>
            </p:cNvPr>
            <p:cNvSpPr/>
            <p:nvPr/>
          </p:nvSpPr>
          <p:spPr>
            <a:xfrm>
              <a:off x="4568183" y="2231132"/>
              <a:ext cx="2286000" cy="1365508"/>
            </a:xfrm>
            <a:prstGeom prst="rect">
              <a:avLst/>
            </a:prstGeom>
            <a:gradFill>
              <a:gsLst>
                <a:gs pos="0">
                  <a:srgbClr val="6A37C7">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3" name="Group 2">
              <a:extLst>
                <a:ext uri="{FF2B5EF4-FFF2-40B4-BE49-F238E27FC236}">
                  <a16:creationId xmlns:a16="http://schemas.microsoft.com/office/drawing/2014/main" id="{62153F02-68F3-1F42-A78B-072046ECEDD4}"/>
                </a:ext>
                <a:ext uri="{C183D7F6-B498-43B3-948B-1728B52AA6E4}">
                  <adec:decorative xmlns:adec="http://schemas.microsoft.com/office/drawing/2017/decorative" val="1"/>
                </a:ext>
              </a:extLst>
            </p:cNvPr>
            <p:cNvGrpSpPr/>
            <p:nvPr userDrawn="1"/>
          </p:nvGrpSpPr>
          <p:grpSpPr>
            <a:xfrm>
              <a:off x="5357600" y="1876768"/>
              <a:ext cx="720300" cy="719400"/>
              <a:chOff x="5357600" y="1382291"/>
              <a:chExt cx="720300" cy="719400"/>
            </a:xfrm>
          </p:grpSpPr>
          <p:sp>
            <p:nvSpPr>
              <p:cNvPr id="138" name="Google Shape;138;p19"/>
              <p:cNvSpPr/>
              <p:nvPr/>
            </p:nvSpPr>
            <p:spPr>
              <a:xfrm>
                <a:off x="5357600" y="1382291"/>
                <a:ext cx="720300" cy="7194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dirty="0">
                  <a:solidFill>
                    <a:schemeClr val="lt1"/>
                  </a:solidFill>
                  <a:latin typeface="Helvetica" pitchFamily="2" charset="0"/>
                  <a:ea typeface="Calibri"/>
                  <a:cs typeface="Calibri"/>
                  <a:sym typeface="Calibri"/>
                </a:endParaRPr>
              </a:p>
            </p:txBody>
          </p:sp>
          <p:sp>
            <p:nvSpPr>
              <p:cNvPr id="139" name="Google Shape;139;p19"/>
              <p:cNvSpPr/>
              <p:nvPr/>
            </p:nvSpPr>
            <p:spPr>
              <a:xfrm>
                <a:off x="5479381" y="1504824"/>
                <a:ext cx="477600" cy="4767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grpSp>
        <p:nvGrpSpPr>
          <p:cNvPr id="8" name="Group 7">
            <a:extLst>
              <a:ext uri="{FF2B5EF4-FFF2-40B4-BE49-F238E27FC236}">
                <a16:creationId xmlns:a16="http://schemas.microsoft.com/office/drawing/2014/main" id="{4722DEE5-5AA0-E252-08EF-A18B4CD34D13}"/>
              </a:ext>
              <a:ext uri="{C183D7F6-B498-43B3-948B-1728B52AA6E4}">
                <adec:decorative xmlns:adec="http://schemas.microsoft.com/office/drawing/2017/decorative" val="1"/>
              </a:ext>
            </a:extLst>
          </p:cNvPr>
          <p:cNvGrpSpPr/>
          <p:nvPr userDrawn="1"/>
        </p:nvGrpSpPr>
        <p:grpSpPr>
          <a:xfrm>
            <a:off x="9143381" y="2502357"/>
            <a:ext cx="3048000" cy="2293163"/>
            <a:chOff x="6857536" y="1876768"/>
            <a:chExt cx="2286000" cy="1719872"/>
          </a:xfrm>
        </p:grpSpPr>
        <p:sp>
          <p:nvSpPr>
            <p:cNvPr id="130" name="Google Shape;130;p19">
              <a:extLst>
                <a:ext uri="{C183D7F6-B498-43B3-948B-1728B52AA6E4}">
                  <adec:decorative xmlns:adec="http://schemas.microsoft.com/office/drawing/2017/decorative" val="1"/>
                </a:ext>
              </a:extLst>
            </p:cNvPr>
            <p:cNvSpPr/>
            <p:nvPr/>
          </p:nvSpPr>
          <p:spPr>
            <a:xfrm>
              <a:off x="6857536" y="2231132"/>
              <a:ext cx="2286000" cy="1365508"/>
            </a:xfrm>
            <a:prstGeom prst="rect">
              <a:avLst/>
            </a:prstGeom>
            <a:gradFill>
              <a:gsLst>
                <a:gs pos="0">
                  <a:srgbClr val="9477E2">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4" name="Group 3">
              <a:extLst>
                <a:ext uri="{FF2B5EF4-FFF2-40B4-BE49-F238E27FC236}">
                  <a16:creationId xmlns:a16="http://schemas.microsoft.com/office/drawing/2014/main" id="{0E2775DA-4DCB-AD4E-B04F-182EF29AE8A8}"/>
                </a:ext>
                <a:ext uri="{C183D7F6-B498-43B3-948B-1728B52AA6E4}">
                  <adec:decorative xmlns:adec="http://schemas.microsoft.com/office/drawing/2017/decorative" val="1"/>
                </a:ext>
              </a:extLst>
            </p:cNvPr>
            <p:cNvGrpSpPr/>
            <p:nvPr userDrawn="1"/>
          </p:nvGrpSpPr>
          <p:grpSpPr>
            <a:xfrm>
              <a:off x="7645560" y="1876768"/>
              <a:ext cx="720300" cy="719400"/>
              <a:chOff x="7645560" y="1382291"/>
              <a:chExt cx="720300" cy="719400"/>
            </a:xfrm>
          </p:grpSpPr>
          <p:sp>
            <p:nvSpPr>
              <p:cNvPr id="136" name="Google Shape;136;p19"/>
              <p:cNvSpPr/>
              <p:nvPr/>
            </p:nvSpPr>
            <p:spPr>
              <a:xfrm>
                <a:off x="7645560" y="1382291"/>
                <a:ext cx="720300" cy="7194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lvl="0" indent="0" algn="ctr">
                  <a:buNone/>
                </a:pPr>
                <a:endParaRPr sz="1065">
                  <a:solidFill>
                    <a:schemeClr val="lt1"/>
                  </a:solidFill>
                  <a:latin typeface="Helvetica" pitchFamily="2" charset="0"/>
                  <a:ea typeface="Calibri"/>
                  <a:cs typeface="Calibri"/>
                  <a:sym typeface="Calibri"/>
                </a:endParaRPr>
              </a:p>
            </p:txBody>
          </p:sp>
          <p:sp>
            <p:nvSpPr>
              <p:cNvPr id="137" name="Google Shape;137;p19"/>
              <p:cNvSpPr/>
              <p:nvPr/>
            </p:nvSpPr>
            <p:spPr>
              <a:xfrm>
                <a:off x="7767340" y="1504824"/>
                <a:ext cx="477600" cy="476700"/>
              </a:xfrm>
              <a:prstGeom prst="ellipse">
                <a:avLst/>
              </a:prstGeom>
              <a:solidFill>
                <a:srgbClr val="8661C5"/>
              </a:solidFill>
              <a:ln>
                <a:noFill/>
              </a:ln>
            </p:spPr>
            <p:txBody>
              <a:bodyPr spcFirstLastPara="1" wrap="square" lIns="42900" tIns="21450" rIns="42900" bIns="21450" anchor="ctr" anchorCtr="0">
                <a:noAutofit/>
              </a:bodyPr>
              <a:lstStyle/>
              <a:p>
                <a:pPr marL="0" lvl="0" indent="0" algn="ctr">
                  <a:buNone/>
                </a:pPr>
                <a:endParaRPr sz="1065">
                  <a:solidFill>
                    <a:schemeClr val="lt1"/>
                  </a:solidFill>
                  <a:latin typeface="Helvetica" pitchFamily="2" charset="0"/>
                  <a:ea typeface="Calibri"/>
                  <a:cs typeface="Calibri"/>
                  <a:sym typeface="Calibri"/>
                </a:endParaRPr>
              </a:p>
            </p:txBody>
          </p:sp>
        </p:grpSp>
      </p:grpSp>
      <p:sp>
        <p:nvSpPr>
          <p:cNvPr id="48" name="Google Shape;122;p18">
            <a:extLst>
              <a:ext uri="{FF2B5EF4-FFF2-40B4-BE49-F238E27FC236}">
                <a16:creationId xmlns:a16="http://schemas.microsoft.com/office/drawing/2014/main" id="{257D24F3-611A-FCC2-A794-C0EA49B74D6D}"/>
              </a:ext>
            </a:extLst>
          </p:cNvPr>
          <p:cNvSpPr>
            <a:spLocks noGrp="1"/>
          </p:cNvSpPr>
          <p:nvPr>
            <p:ph type="pic" idx="30"/>
          </p:nvPr>
        </p:nvSpPr>
        <p:spPr>
          <a:xfrm>
            <a:off x="4328966" y="2745067"/>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a:p>
        </p:txBody>
      </p:sp>
      <p:sp>
        <p:nvSpPr>
          <p:cNvPr id="153" name="Google Shape;153;p19"/>
          <p:cNvSpPr txBox="1">
            <a:spLocks noGrp="1"/>
          </p:cNvSpPr>
          <p:nvPr>
            <p:ph type="body" idx="17"/>
          </p:nvPr>
        </p:nvSpPr>
        <p:spPr>
          <a:xfrm>
            <a:off x="3596637" y="3472990"/>
            <a:ext cx="1670400" cy="319524"/>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1" b="0" i="0">
                <a:solidFill>
                  <a:schemeClr val="bg1"/>
                </a:solidFill>
                <a:latin typeface="Helvetica" pitchFamily="2" charset="0"/>
              </a:defRPr>
            </a:lvl1pPr>
            <a:lvl2pPr marL="1217295" lvl="1" indent="-371951" rtl="0">
              <a:lnSpc>
                <a:spcPct val="100000"/>
              </a:lnSpc>
              <a:spcBef>
                <a:spcPts val="0"/>
              </a:spcBef>
              <a:spcAft>
                <a:spcPts val="0"/>
              </a:spcAft>
              <a:buSzPts val="800"/>
              <a:buChar char="○"/>
              <a:defRPr sz="1065"/>
            </a:lvl2pPr>
            <a:lvl3pPr marL="1825943" lvl="2" indent="-371951" rtl="0">
              <a:lnSpc>
                <a:spcPct val="100000"/>
              </a:lnSpc>
              <a:spcBef>
                <a:spcPts val="0"/>
              </a:spcBef>
              <a:spcAft>
                <a:spcPts val="0"/>
              </a:spcAft>
              <a:buSzPts val="800"/>
              <a:buChar char="■"/>
              <a:defRPr sz="1065"/>
            </a:lvl3pPr>
            <a:lvl4pPr marL="2434590" lvl="3" indent="-371951" rtl="0">
              <a:lnSpc>
                <a:spcPct val="100000"/>
              </a:lnSpc>
              <a:spcBef>
                <a:spcPts val="0"/>
              </a:spcBef>
              <a:spcAft>
                <a:spcPts val="0"/>
              </a:spcAft>
              <a:buSzPts val="800"/>
              <a:buChar char="●"/>
              <a:defRPr sz="1065"/>
            </a:lvl4pPr>
            <a:lvl5pPr marL="3043238" lvl="4" indent="-371951" rtl="0">
              <a:lnSpc>
                <a:spcPct val="100000"/>
              </a:lnSpc>
              <a:spcBef>
                <a:spcPts val="0"/>
              </a:spcBef>
              <a:spcAft>
                <a:spcPts val="0"/>
              </a:spcAft>
              <a:buSzPts val="800"/>
              <a:buChar char="○"/>
              <a:defRPr sz="1065"/>
            </a:lvl5pPr>
            <a:lvl6pPr marL="3651885" lvl="5" indent="-371951" rtl="0">
              <a:lnSpc>
                <a:spcPct val="100000"/>
              </a:lnSpc>
              <a:spcBef>
                <a:spcPts val="0"/>
              </a:spcBef>
              <a:spcAft>
                <a:spcPts val="0"/>
              </a:spcAft>
              <a:buSzPts val="800"/>
              <a:buChar char="■"/>
              <a:defRPr sz="1065"/>
            </a:lvl6pPr>
            <a:lvl7pPr marL="4260533" lvl="6" indent="-371951" rtl="0">
              <a:lnSpc>
                <a:spcPct val="100000"/>
              </a:lnSpc>
              <a:spcBef>
                <a:spcPts val="0"/>
              </a:spcBef>
              <a:spcAft>
                <a:spcPts val="0"/>
              </a:spcAft>
              <a:buSzPts val="800"/>
              <a:buChar char="●"/>
              <a:defRPr sz="1065"/>
            </a:lvl7pPr>
            <a:lvl8pPr marL="4869180" lvl="7" indent="-371951" rtl="0">
              <a:lnSpc>
                <a:spcPct val="100000"/>
              </a:lnSpc>
              <a:spcBef>
                <a:spcPts val="0"/>
              </a:spcBef>
              <a:spcAft>
                <a:spcPts val="0"/>
              </a:spcAft>
              <a:buSzPts val="800"/>
              <a:buChar char="○"/>
              <a:defRPr sz="1065"/>
            </a:lvl8pPr>
            <a:lvl9pPr marL="5477828" lvl="8" indent="-371951" rtl="0">
              <a:lnSpc>
                <a:spcPct val="100000"/>
              </a:lnSpc>
              <a:spcBef>
                <a:spcPts val="0"/>
              </a:spcBef>
              <a:spcAft>
                <a:spcPts val="0"/>
              </a:spcAft>
              <a:buSzPts val="800"/>
              <a:buChar char="■"/>
              <a:defRPr sz="1065"/>
            </a:lvl9pPr>
          </a:lstStyle>
          <a:p>
            <a:endParaRPr dirty="0"/>
          </a:p>
        </p:txBody>
      </p:sp>
      <p:sp>
        <p:nvSpPr>
          <p:cNvPr id="154" name="Google Shape;154;p19"/>
          <p:cNvSpPr txBox="1">
            <a:spLocks noGrp="1"/>
          </p:cNvSpPr>
          <p:nvPr>
            <p:ph type="body" idx="18"/>
          </p:nvPr>
        </p:nvSpPr>
        <p:spPr>
          <a:xfrm>
            <a:off x="3596637" y="3778676"/>
            <a:ext cx="2255600" cy="924911"/>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2" name="Google Shape;129;p19">
            <a:extLst>
              <a:ext uri="{FF2B5EF4-FFF2-40B4-BE49-F238E27FC236}">
                <a16:creationId xmlns:a16="http://schemas.microsoft.com/office/drawing/2014/main" id="{183614BC-81FB-DD41-94B5-38C9366C2FD7}"/>
              </a:ext>
            </a:extLst>
          </p:cNvPr>
          <p:cNvSpPr>
            <a:spLocks noGrp="1"/>
          </p:cNvSpPr>
          <p:nvPr>
            <p:ph type="pic" idx="28"/>
          </p:nvPr>
        </p:nvSpPr>
        <p:spPr>
          <a:xfrm>
            <a:off x="3043533" y="5000075"/>
            <a:ext cx="3043600" cy="1857926"/>
          </a:xfrm>
          <a:prstGeom prst="rect">
            <a:avLst/>
          </a:prstGeom>
          <a:noFill/>
          <a:ln>
            <a:noFill/>
          </a:ln>
        </p:spPr>
        <p:txBody>
          <a:bodyPr anchor="ctr"/>
          <a:lstStyle>
            <a:lvl1pPr marL="0" indent="0" algn="ctr">
              <a:buNone/>
              <a:defRPr b="0" i="0">
                <a:latin typeface="Helvetica" pitchFamily="2" charset="0"/>
              </a:defRPr>
            </a:lvl1pPr>
          </a:lstStyle>
          <a:p>
            <a:endParaRPr lang="en-US" dirty="0"/>
          </a:p>
        </p:txBody>
      </p:sp>
      <p:sp>
        <p:nvSpPr>
          <p:cNvPr id="51" name="Google Shape;129;p19">
            <a:extLst>
              <a:ext uri="{FF2B5EF4-FFF2-40B4-BE49-F238E27FC236}">
                <a16:creationId xmlns:a16="http://schemas.microsoft.com/office/drawing/2014/main" id="{D02644DB-3AB0-6A40-906C-1B97F6BB74DF}"/>
              </a:ext>
            </a:extLst>
          </p:cNvPr>
          <p:cNvSpPr>
            <a:spLocks noGrp="1"/>
          </p:cNvSpPr>
          <p:nvPr>
            <p:ph type="pic" idx="27"/>
          </p:nvPr>
        </p:nvSpPr>
        <p:spPr>
          <a:xfrm>
            <a:off x="6090911" y="1110227"/>
            <a:ext cx="3043600" cy="1853184"/>
          </a:xfrm>
          <a:prstGeom prst="rect">
            <a:avLst/>
          </a:prstGeom>
          <a:noFill/>
          <a:ln>
            <a:noFill/>
          </a:ln>
        </p:spPr>
        <p:txBody>
          <a:bodyPr anchor="ctr"/>
          <a:lstStyle>
            <a:lvl1pPr marL="0" indent="0" algn="ctr">
              <a:buNone/>
              <a:defRPr b="0" i="0">
                <a:latin typeface="Helvetica" pitchFamily="2" charset="0"/>
              </a:defRPr>
            </a:lvl1pPr>
          </a:lstStyle>
          <a:p>
            <a:endParaRPr lang="en-US" dirty="0"/>
          </a:p>
        </p:txBody>
      </p:sp>
      <p:sp>
        <p:nvSpPr>
          <p:cNvPr id="49" name="Google Shape;122;p18">
            <a:extLst>
              <a:ext uri="{FF2B5EF4-FFF2-40B4-BE49-F238E27FC236}">
                <a16:creationId xmlns:a16="http://schemas.microsoft.com/office/drawing/2014/main" id="{8125D358-82E1-5146-9868-59151E4787F5}"/>
              </a:ext>
            </a:extLst>
          </p:cNvPr>
          <p:cNvSpPr>
            <a:spLocks noGrp="1"/>
          </p:cNvSpPr>
          <p:nvPr>
            <p:ph type="pic" idx="25"/>
          </p:nvPr>
        </p:nvSpPr>
        <p:spPr>
          <a:xfrm>
            <a:off x="7385101" y="2743392"/>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155" name="Google Shape;155;p19"/>
          <p:cNvSpPr txBox="1">
            <a:spLocks noGrp="1"/>
          </p:cNvSpPr>
          <p:nvPr>
            <p:ph type="body" idx="19"/>
          </p:nvPr>
        </p:nvSpPr>
        <p:spPr>
          <a:xfrm>
            <a:off x="6547104" y="3472990"/>
            <a:ext cx="1670400" cy="319524"/>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1"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156" name="Google Shape;156;p19"/>
          <p:cNvSpPr txBox="1">
            <a:spLocks noGrp="1"/>
          </p:cNvSpPr>
          <p:nvPr>
            <p:ph type="body" idx="20"/>
          </p:nvPr>
        </p:nvSpPr>
        <p:spPr>
          <a:xfrm>
            <a:off x="6547104" y="3778676"/>
            <a:ext cx="2255600" cy="924911"/>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0" name="Google Shape;122;p18">
            <a:extLst>
              <a:ext uri="{FF2B5EF4-FFF2-40B4-BE49-F238E27FC236}">
                <a16:creationId xmlns:a16="http://schemas.microsoft.com/office/drawing/2014/main" id="{D612543C-1131-2740-B754-942B3C674732}"/>
              </a:ext>
            </a:extLst>
          </p:cNvPr>
          <p:cNvSpPr>
            <a:spLocks noGrp="1"/>
          </p:cNvSpPr>
          <p:nvPr>
            <p:ph type="pic" idx="26"/>
          </p:nvPr>
        </p:nvSpPr>
        <p:spPr>
          <a:xfrm>
            <a:off x="10435714" y="2743392"/>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157" name="Google Shape;157;p19"/>
          <p:cNvSpPr txBox="1">
            <a:spLocks noGrp="1"/>
          </p:cNvSpPr>
          <p:nvPr>
            <p:ph type="body" idx="21"/>
          </p:nvPr>
        </p:nvSpPr>
        <p:spPr>
          <a:xfrm>
            <a:off x="9595104" y="3472990"/>
            <a:ext cx="1670400" cy="319524"/>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1"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158" name="Google Shape;158;p19"/>
          <p:cNvSpPr txBox="1">
            <a:spLocks noGrp="1"/>
          </p:cNvSpPr>
          <p:nvPr>
            <p:ph type="body" idx="22"/>
          </p:nvPr>
        </p:nvSpPr>
        <p:spPr>
          <a:xfrm>
            <a:off x="9595104" y="3778676"/>
            <a:ext cx="2255600" cy="924911"/>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3" name="Google Shape;129;p19">
            <a:extLst>
              <a:ext uri="{FF2B5EF4-FFF2-40B4-BE49-F238E27FC236}">
                <a16:creationId xmlns:a16="http://schemas.microsoft.com/office/drawing/2014/main" id="{DE9CF3D8-208C-EF41-A2C5-9CB01676BFCD}"/>
              </a:ext>
            </a:extLst>
          </p:cNvPr>
          <p:cNvSpPr>
            <a:spLocks noGrp="1"/>
          </p:cNvSpPr>
          <p:nvPr>
            <p:ph type="pic" idx="29"/>
          </p:nvPr>
        </p:nvSpPr>
        <p:spPr>
          <a:xfrm>
            <a:off x="9147781" y="5000075"/>
            <a:ext cx="3043600" cy="1857926"/>
          </a:xfrm>
          <a:prstGeom prst="rect">
            <a:avLst/>
          </a:prstGeom>
          <a:noFill/>
          <a:ln>
            <a:noFill/>
          </a:ln>
        </p:spPr>
        <p:txBody>
          <a:bodyPr anchor="ctr"/>
          <a:lstStyle>
            <a:lvl1pPr marL="0" indent="0" algn="ctr">
              <a:buNone/>
              <a:defRPr b="0" i="0">
                <a:latin typeface="Helvetica" pitchFamily="2" charset="0"/>
              </a:defRPr>
            </a:lvl1pPr>
          </a:lstStyle>
          <a:p>
            <a:endParaRPr lang="en-US" dirty="0"/>
          </a:p>
        </p:txBody>
      </p:sp>
    </p:spTree>
    <p:extLst>
      <p:ext uri="{BB962C8B-B14F-4D97-AF65-F5344CB8AC3E}">
        <p14:creationId xmlns:p14="http://schemas.microsoft.com/office/powerpoint/2010/main" val="260757361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matchingName="Three Features" preserve="1" userDrawn="1">
  <p:cSld name="Three Features">
    <p:spTree>
      <p:nvGrpSpPr>
        <p:cNvPr id="1" name="Shape 159"/>
        <p:cNvGrpSpPr/>
        <p:nvPr/>
      </p:nvGrpSpPr>
      <p:grpSpPr>
        <a:xfrm>
          <a:off x="0" y="0"/>
          <a:ext cx="0" cy="0"/>
          <a:chOff x="0" y="0"/>
          <a:chExt cx="0" cy="0"/>
        </a:xfrm>
      </p:grpSpPr>
      <p:grpSp>
        <p:nvGrpSpPr>
          <p:cNvPr id="3" name="Group 2">
            <a:extLst>
              <a:ext uri="{FF2B5EF4-FFF2-40B4-BE49-F238E27FC236}">
                <a16:creationId xmlns:a16="http://schemas.microsoft.com/office/drawing/2014/main" id="{713EB9D9-6A50-217C-4FBA-3F7BF6C6CB74}"/>
              </a:ext>
              <a:ext uri="{C183D7F6-B498-43B3-948B-1728B52AA6E4}">
                <adec:decorative xmlns:adec="http://schemas.microsoft.com/office/drawing/2017/decorative" val="1"/>
              </a:ext>
            </a:extLst>
          </p:cNvPr>
          <p:cNvGrpSpPr/>
          <p:nvPr userDrawn="1"/>
        </p:nvGrpSpPr>
        <p:grpSpPr>
          <a:xfrm>
            <a:off x="1" y="-1396268"/>
            <a:ext cx="12381658" cy="8254440"/>
            <a:chOff x="0" y="-1047201"/>
            <a:chExt cx="9286243" cy="6190830"/>
          </a:xfrm>
        </p:grpSpPr>
        <p:cxnSp>
          <p:nvCxnSpPr>
            <p:cNvPr id="177" name="Google Shape;177;p20">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grpSp>
          <p:nvGrpSpPr>
            <p:cNvPr id="2" name="Group 1">
              <a:extLst>
                <a:ext uri="{FF2B5EF4-FFF2-40B4-BE49-F238E27FC236}">
                  <a16:creationId xmlns:a16="http://schemas.microsoft.com/office/drawing/2014/main" id="{E55E3903-7657-27AD-96AA-DB6E07D9B62F}"/>
                </a:ext>
              </a:extLst>
            </p:cNvPr>
            <p:cNvGrpSpPr/>
            <p:nvPr userDrawn="1"/>
          </p:nvGrpSpPr>
          <p:grpSpPr>
            <a:xfrm>
              <a:off x="0" y="-1047201"/>
              <a:ext cx="9286243" cy="6190830"/>
              <a:chOff x="0" y="-1047201"/>
              <a:chExt cx="9286243" cy="6190830"/>
            </a:xfrm>
          </p:grpSpPr>
          <p:pic>
            <p:nvPicPr>
              <p:cNvPr id="160" name="Google Shape;160;p20">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5523874" y="-1047201"/>
                <a:ext cx="3762369" cy="3762369"/>
              </a:xfrm>
              <a:prstGeom prst="rect">
                <a:avLst/>
              </a:prstGeom>
              <a:noFill/>
              <a:ln>
                <a:noFill/>
              </a:ln>
            </p:spPr>
          </p:pic>
          <p:sp>
            <p:nvSpPr>
              <p:cNvPr id="161" name="Google Shape;161;p20">
                <a:extLst>
                  <a:ext uri="{C183D7F6-B498-43B3-948B-1728B52AA6E4}">
                    <adec:decorative xmlns:adec="http://schemas.microsoft.com/office/drawing/2017/decorative" val="1"/>
                  </a:ext>
                </a:extLst>
              </p:cNvPr>
              <p:cNvSpPr/>
              <p:nvPr/>
            </p:nvSpPr>
            <p:spPr>
              <a:xfrm>
                <a:off x="0" y="3028029"/>
                <a:ext cx="3048000" cy="2115600"/>
              </a:xfrm>
              <a:prstGeom prst="rect">
                <a:avLst/>
              </a:prstGeom>
              <a:gradFill>
                <a:gsLst>
                  <a:gs pos="0">
                    <a:srgbClr val="1F9CF0"/>
                  </a:gs>
                  <a:gs pos="200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62" name="Google Shape;162;p20">
                <a:extLst>
                  <a:ext uri="{C183D7F6-B498-43B3-948B-1728B52AA6E4}">
                    <adec:decorative xmlns:adec="http://schemas.microsoft.com/office/drawing/2017/decorative" val="1"/>
                  </a:ext>
                </a:extLst>
              </p:cNvPr>
              <p:cNvSpPr/>
              <p:nvPr/>
            </p:nvSpPr>
            <p:spPr>
              <a:xfrm>
                <a:off x="3048002" y="3028029"/>
                <a:ext cx="3048000" cy="2115600"/>
              </a:xfrm>
              <a:prstGeom prst="rect">
                <a:avLst/>
              </a:prstGeom>
              <a:gradFill>
                <a:gsLst>
                  <a:gs pos="0">
                    <a:srgbClr val="9477E2">
                      <a:alpha val="20000"/>
                    </a:srgbClr>
                  </a:gs>
                  <a:gs pos="2000">
                    <a:srgbClr val="9477E2">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63" name="Google Shape;163;p20">
                <a:extLst>
                  <a:ext uri="{C183D7F6-B498-43B3-948B-1728B52AA6E4}">
                    <adec:decorative xmlns:adec="http://schemas.microsoft.com/office/drawing/2017/decorative" val="1"/>
                  </a:ext>
                </a:extLst>
              </p:cNvPr>
              <p:cNvSpPr/>
              <p:nvPr/>
            </p:nvSpPr>
            <p:spPr>
              <a:xfrm>
                <a:off x="6096004" y="3028029"/>
                <a:ext cx="3048000" cy="2115600"/>
              </a:xfrm>
              <a:prstGeom prst="rect">
                <a:avLst/>
              </a:prstGeom>
              <a:gradFill>
                <a:gsLst>
                  <a:gs pos="0">
                    <a:srgbClr val="352559"/>
                  </a:gs>
                  <a:gs pos="2000">
                    <a:srgbClr val="352559"/>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164" name="Google Shape;164;p20">
                <a:extLst>
                  <a:ext uri="{C183D7F6-B498-43B3-948B-1728B52AA6E4}">
                    <adec:decorative xmlns:adec="http://schemas.microsoft.com/office/drawing/2017/decorative" val="1"/>
                  </a:ext>
                </a:extLst>
              </p:cNvPr>
              <p:cNvGrpSpPr/>
              <p:nvPr/>
            </p:nvGrpSpPr>
            <p:grpSpPr>
              <a:xfrm>
                <a:off x="1026526" y="2558754"/>
                <a:ext cx="940705" cy="938664"/>
                <a:chOff x="6104965" y="2265289"/>
                <a:chExt cx="1855800" cy="1855800"/>
              </a:xfrm>
            </p:grpSpPr>
            <p:sp>
              <p:nvSpPr>
                <p:cNvPr id="165" name="Google Shape;165;p20"/>
                <p:cNvSpPr/>
                <p:nvPr/>
              </p:nvSpPr>
              <p:spPr>
                <a:xfrm>
                  <a:off x="6104965" y="2265289"/>
                  <a:ext cx="1855800" cy="1855800"/>
                </a:xfrm>
                <a:prstGeom prst="ellipse">
                  <a:avLst/>
                </a:prstGeom>
                <a:solidFill>
                  <a:srgbClr val="1F9CF0">
                    <a:alpha val="3098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66" name="Google Shape;166;p20"/>
                <p:cNvSpPr/>
                <p:nvPr/>
              </p:nvSpPr>
              <p:spPr>
                <a:xfrm>
                  <a:off x="6326459" y="2482124"/>
                  <a:ext cx="1422000" cy="14220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67" name="Google Shape;167;p20"/>
                <p:cNvSpPr/>
                <p:nvPr/>
              </p:nvSpPr>
              <p:spPr>
                <a:xfrm>
                  <a:off x="6566834" y="2724359"/>
                  <a:ext cx="942600" cy="9426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pic>
            <p:nvPicPr>
              <p:cNvPr id="168" name="Google Shape;168;p20">
                <a:extLst>
                  <a:ext uri="{C183D7F6-B498-43B3-948B-1728B52AA6E4}">
                    <adec:decorative xmlns:adec="http://schemas.microsoft.com/office/drawing/2017/decorative" val="1"/>
                  </a:ext>
                </a:extLst>
              </p:cNvPr>
              <p:cNvPicPr preferRelativeResize="0"/>
              <p:nvPr/>
            </p:nvPicPr>
            <p:blipFill rotWithShape="1">
              <a:blip r:embed="rId3">
                <a:alphaModFix/>
              </a:blip>
              <a:srcRect/>
              <a:stretch/>
            </p:blipFill>
            <p:spPr>
              <a:xfrm>
                <a:off x="5550356" y="0"/>
                <a:ext cx="3587500" cy="3028029"/>
              </a:xfrm>
              <a:prstGeom prst="rect">
                <a:avLst/>
              </a:prstGeom>
              <a:noFill/>
              <a:ln>
                <a:noFill/>
              </a:ln>
            </p:spPr>
          </p:pic>
          <p:grpSp>
            <p:nvGrpSpPr>
              <p:cNvPr id="169" name="Google Shape;169;p20">
                <a:extLst>
                  <a:ext uri="{C183D7F6-B498-43B3-948B-1728B52AA6E4}">
                    <adec:decorative xmlns:adec="http://schemas.microsoft.com/office/drawing/2017/decorative" val="1"/>
                  </a:ext>
                </a:extLst>
              </p:cNvPr>
              <p:cNvGrpSpPr/>
              <p:nvPr/>
            </p:nvGrpSpPr>
            <p:grpSpPr>
              <a:xfrm>
                <a:off x="4094240" y="2556866"/>
                <a:ext cx="940148" cy="938664"/>
                <a:chOff x="6104965" y="2265289"/>
                <a:chExt cx="1855800" cy="1855800"/>
              </a:xfrm>
            </p:grpSpPr>
            <p:sp>
              <p:nvSpPr>
                <p:cNvPr id="170" name="Google Shape;170;p20"/>
                <p:cNvSpPr/>
                <p:nvPr/>
              </p:nvSpPr>
              <p:spPr>
                <a:xfrm>
                  <a:off x="6104965" y="2265289"/>
                  <a:ext cx="1855800" cy="1855800"/>
                </a:xfrm>
                <a:prstGeom prst="ellipse">
                  <a:avLst/>
                </a:prstGeom>
                <a:solidFill>
                  <a:srgbClr val="9477E2">
                    <a:alpha val="30980"/>
                  </a:srgbClr>
                </a:soli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sp>
              <p:nvSpPr>
                <p:cNvPr id="171" name="Google Shape;171;p20"/>
                <p:cNvSpPr/>
                <p:nvPr/>
              </p:nvSpPr>
              <p:spPr>
                <a:xfrm>
                  <a:off x="6326458" y="2482124"/>
                  <a:ext cx="1422000" cy="1422000"/>
                </a:xfrm>
                <a:prstGeom prst="ellipse">
                  <a:avLst/>
                </a:prstGeom>
                <a:solidFill>
                  <a:srgbClr val="9477E2">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sp>
              <p:nvSpPr>
                <p:cNvPr id="172" name="Google Shape;172;p20"/>
                <p:cNvSpPr/>
                <p:nvPr/>
              </p:nvSpPr>
              <p:spPr>
                <a:xfrm>
                  <a:off x="6566834" y="2724359"/>
                  <a:ext cx="942600" cy="942600"/>
                </a:xfrm>
                <a:prstGeom prst="ellipse">
                  <a:avLst/>
                </a:prstGeom>
                <a:solidFill>
                  <a:srgbClr val="9477E2"/>
                </a:soli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grpSp>
          <p:grpSp>
            <p:nvGrpSpPr>
              <p:cNvPr id="173" name="Google Shape;173;p20">
                <a:extLst>
                  <a:ext uri="{C183D7F6-B498-43B3-948B-1728B52AA6E4}">
                    <adec:decorative xmlns:adec="http://schemas.microsoft.com/office/drawing/2017/decorative" val="1"/>
                  </a:ext>
                </a:extLst>
              </p:cNvPr>
              <p:cNvGrpSpPr/>
              <p:nvPr/>
            </p:nvGrpSpPr>
            <p:grpSpPr>
              <a:xfrm>
                <a:off x="7149441" y="2559599"/>
                <a:ext cx="940148" cy="938664"/>
                <a:chOff x="6104965" y="2265289"/>
                <a:chExt cx="1855800" cy="1855800"/>
              </a:xfrm>
            </p:grpSpPr>
            <p:sp>
              <p:nvSpPr>
                <p:cNvPr id="174" name="Google Shape;174;p20"/>
                <p:cNvSpPr/>
                <p:nvPr/>
              </p:nvSpPr>
              <p:spPr>
                <a:xfrm>
                  <a:off x="6104965" y="2265289"/>
                  <a:ext cx="1855800" cy="1855800"/>
                </a:xfrm>
                <a:prstGeom prst="ellipse">
                  <a:avLst/>
                </a:prstGeom>
                <a:solidFill>
                  <a:srgbClr val="8661C5">
                    <a:alpha val="3098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75" name="Google Shape;175;p20"/>
                <p:cNvSpPr/>
                <p:nvPr/>
              </p:nvSpPr>
              <p:spPr>
                <a:xfrm>
                  <a:off x="6326458" y="2482124"/>
                  <a:ext cx="1422000" cy="14220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176" name="Google Shape;176;p20"/>
                <p:cNvSpPr/>
                <p:nvPr/>
              </p:nvSpPr>
              <p:spPr>
                <a:xfrm>
                  <a:off x="6566834" y="2724359"/>
                  <a:ext cx="942600" cy="9426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178" name="Google Shape;178;p20">
                <a:extLst>
                  <a:ext uri="{C183D7F6-B498-43B3-948B-1728B52AA6E4}">
                    <adec:decorative xmlns:adec="http://schemas.microsoft.com/office/drawing/2017/decorative" val="1"/>
                  </a:ext>
                </a:extLst>
              </p:cNvPr>
              <p:cNvSpPr/>
              <p:nvPr/>
            </p:nvSpPr>
            <p:spPr>
              <a:xfrm rot="10800000">
                <a:off x="407925" y="275"/>
                <a:ext cx="73200" cy="22431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37" name="Google Shape;67;p15">
                <a:extLst>
                  <a:ext uri="{FF2B5EF4-FFF2-40B4-BE49-F238E27FC236}">
                    <a16:creationId xmlns:a16="http://schemas.microsoft.com/office/drawing/2014/main" id="{D78CD110-237A-5F43-8A7B-221443C4F7EB}"/>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grpSp>
      <p:sp>
        <p:nvSpPr>
          <p:cNvPr id="32" name="Google Shape;120;p18">
            <a:extLst>
              <a:ext uri="{FF2B5EF4-FFF2-40B4-BE49-F238E27FC236}">
                <a16:creationId xmlns:a16="http://schemas.microsoft.com/office/drawing/2014/main" id="{E7A6AB27-0469-C841-892F-B81BA63227CF}"/>
              </a:ext>
            </a:extLst>
          </p:cNvPr>
          <p:cNvSpPr txBox="1">
            <a:spLocks noGrp="1"/>
          </p:cNvSpPr>
          <p:nvPr>
            <p:ph type="title"/>
          </p:nvPr>
        </p:nvSpPr>
        <p:spPr>
          <a:xfrm>
            <a:off x="1060704" y="1243584"/>
            <a:ext cx="4681600" cy="1792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3" b="0"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79" name="Google Shape;179;p20"/>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lang="en-US" dirty="0"/>
          </a:p>
        </p:txBody>
      </p:sp>
      <p:sp>
        <p:nvSpPr>
          <p:cNvPr id="33" name="Google Shape;122;p18">
            <a:extLst>
              <a:ext uri="{FF2B5EF4-FFF2-40B4-BE49-F238E27FC236}">
                <a16:creationId xmlns:a16="http://schemas.microsoft.com/office/drawing/2014/main" id="{CCD79018-57BD-894A-9B47-70A12FA8EE6C}"/>
              </a:ext>
            </a:extLst>
          </p:cNvPr>
          <p:cNvSpPr>
            <a:spLocks noGrp="1"/>
          </p:cNvSpPr>
          <p:nvPr>
            <p:ph type="pic" idx="23"/>
          </p:nvPr>
        </p:nvSpPr>
        <p:spPr>
          <a:xfrm>
            <a:off x="1757272" y="3798882"/>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185" name="Google Shape;185;p20"/>
          <p:cNvSpPr txBox="1">
            <a:spLocks noGrp="1"/>
          </p:cNvSpPr>
          <p:nvPr>
            <p:ph type="body" idx="7"/>
          </p:nvPr>
        </p:nvSpPr>
        <p:spPr>
          <a:xfrm>
            <a:off x="903928" y="4876800"/>
            <a:ext cx="2239696" cy="2928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1100"/>
              <a:buNone/>
              <a:defRPr sz="1464" b="1" i="0">
                <a:solidFill>
                  <a:schemeClr val="bg1"/>
                </a:solidFill>
                <a:latin typeface="Helvetica" pitchFamily="2" charset="0"/>
              </a:defRPr>
            </a:lvl1pPr>
            <a:lvl2pPr marL="1217295" lvl="1" indent="-388858">
              <a:spcBef>
                <a:spcPts val="0"/>
              </a:spcBef>
              <a:spcAft>
                <a:spcPts val="0"/>
              </a:spcAft>
              <a:buSzPts val="1000"/>
              <a:buChar char="○"/>
              <a:defRPr/>
            </a:lvl2pPr>
            <a:lvl3pPr marL="1825943" lvl="2" indent="-388858">
              <a:spcBef>
                <a:spcPts val="0"/>
              </a:spcBef>
              <a:spcAft>
                <a:spcPts val="0"/>
              </a:spcAft>
              <a:buSzPts val="1000"/>
              <a:buChar char="■"/>
              <a:defRPr/>
            </a:lvl3pPr>
            <a:lvl4pPr marL="2434590" lvl="3" indent="-388858">
              <a:spcBef>
                <a:spcPts val="0"/>
              </a:spcBef>
              <a:spcAft>
                <a:spcPts val="0"/>
              </a:spcAft>
              <a:buSzPts val="1000"/>
              <a:buChar char="●"/>
              <a:defRPr/>
            </a:lvl4pPr>
            <a:lvl5pPr marL="3043238" lvl="4" indent="-388858">
              <a:spcBef>
                <a:spcPts val="0"/>
              </a:spcBef>
              <a:spcAft>
                <a:spcPts val="0"/>
              </a:spcAft>
              <a:buSzPts val="1000"/>
              <a:buChar char="○"/>
              <a:defRPr/>
            </a:lvl5pPr>
            <a:lvl6pPr marL="3651885" lvl="5" indent="-388858">
              <a:spcBef>
                <a:spcPts val="0"/>
              </a:spcBef>
              <a:spcAft>
                <a:spcPts val="0"/>
              </a:spcAft>
              <a:buSzPts val="1000"/>
              <a:buChar char="■"/>
              <a:defRPr/>
            </a:lvl6pPr>
            <a:lvl7pPr marL="4260533" lvl="6" indent="-388858">
              <a:spcBef>
                <a:spcPts val="0"/>
              </a:spcBef>
              <a:spcAft>
                <a:spcPts val="0"/>
              </a:spcAft>
              <a:buSzPts val="1000"/>
              <a:buChar char="●"/>
              <a:defRPr/>
            </a:lvl7pPr>
            <a:lvl8pPr marL="4869180" lvl="7" indent="-388858">
              <a:spcBef>
                <a:spcPts val="0"/>
              </a:spcBef>
              <a:spcAft>
                <a:spcPts val="0"/>
              </a:spcAft>
              <a:buSzPts val="1000"/>
              <a:buChar char="○"/>
              <a:defRPr/>
            </a:lvl8pPr>
            <a:lvl9pPr marL="5477828" lvl="8" indent="-388858">
              <a:spcBef>
                <a:spcPts val="0"/>
              </a:spcBef>
              <a:spcAft>
                <a:spcPts val="0"/>
              </a:spcAft>
              <a:buSzPts val="1000"/>
              <a:buChar char="■"/>
              <a:defRPr/>
            </a:lvl9pPr>
          </a:lstStyle>
          <a:p>
            <a:endParaRPr dirty="0"/>
          </a:p>
        </p:txBody>
      </p:sp>
      <p:sp>
        <p:nvSpPr>
          <p:cNvPr id="184" name="Google Shape;184;p20"/>
          <p:cNvSpPr txBox="1">
            <a:spLocks noGrp="1"/>
          </p:cNvSpPr>
          <p:nvPr>
            <p:ph type="body" idx="6"/>
          </p:nvPr>
        </p:nvSpPr>
        <p:spPr>
          <a:xfrm>
            <a:off x="670560" y="5218176"/>
            <a:ext cx="2731200" cy="10852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34" name="Google Shape;122;p18">
            <a:extLst>
              <a:ext uri="{FF2B5EF4-FFF2-40B4-BE49-F238E27FC236}">
                <a16:creationId xmlns:a16="http://schemas.microsoft.com/office/drawing/2014/main" id="{3821B06F-3407-5C43-AD89-CD938462AD20}"/>
              </a:ext>
            </a:extLst>
          </p:cNvPr>
          <p:cNvSpPr>
            <a:spLocks noGrp="1"/>
          </p:cNvSpPr>
          <p:nvPr>
            <p:ph type="pic" idx="24"/>
          </p:nvPr>
        </p:nvSpPr>
        <p:spPr>
          <a:xfrm>
            <a:off x="5847186" y="3796366"/>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187" name="Google Shape;187;p20"/>
          <p:cNvSpPr txBox="1">
            <a:spLocks noGrp="1"/>
          </p:cNvSpPr>
          <p:nvPr>
            <p:ph type="body" idx="9"/>
          </p:nvPr>
        </p:nvSpPr>
        <p:spPr>
          <a:xfrm>
            <a:off x="4730112" y="4876800"/>
            <a:ext cx="273158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4" b="1" i="0">
                <a:solidFill>
                  <a:schemeClr val="bg1"/>
                </a:solidFill>
                <a:latin typeface="Helvetica" pitchFamily="2" charset="0"/>
              </a:defRPr>
            </a:lvl1pPr>
            <a:lvl2pPr marL="1217295" lvl="1" indent="-388858" rtl="0">
              <a:spcBef>
                <a:spcPts val="0"/>
              </a:spcBef>
              <a:spcAft>
                <a:spcPts val="0"/>
              </a:spcAft>
              <a:buSzPts val="1000"/>
              <a:buChar char="○"/>
              <a:defRPr/>
            </a:lvl2pPr>
            <a:lvl3pPr marL="1825943" lvl="2" indent="-388858" rtl="0">
              <a:spcBef>
                <a:spcPts val="0"/>
              </a:spcBef>
              <a:spcAft>
                <a:spcPts val="0"/>
              </a:spcAft>
              <a:buSzPts val="1000"/>
              <a:buChar char="■"/>
              <a:defRPr/>
            </a:lvl3pPr>
            <a:lvl4pPr marL="2434590" lvl="3" indent="-388858" rtl="0">
              <a:spcBef>
                <a:spcPts val="0"/>
              </a:spcBef>
              <a:spcAft>
                <a:spcPts val="0"/>
              </a:spcAft>
              <a:buSzPts val="1000"/>
              <a:buChar char="●"/>
              <a:defRPr/>
            </a:lvl4pPr>
            <a:lvl5pPr marL="3043238" lvl="4" indent="-388858" rtl="0">
              <a:spcBef>
                <a:spcPts val="0"/>
              </a:spcBef>
              <a:spcAft>
                <a:spcPts val="0"/>
              </a:spcAft>
              <a:buSzPts val="1000"/>
              <a:buChar char="○"/>
              <a:defRPr/>
            </a:lvl5pPr>
            <a:lvl6pPr marL="3651885" lvl="5" indent="-388858" rtl="0">
              <a:spcBef>
                <a:spcPts val="0"/>
              </a:spcBef>
              <a:spcAft>
                <a:spcPts val="0"/>
              </a:spcAft>
              <a:buSzPts val="1000"/>
              <a:buChar char="■"/>
              <a:defRPr/>
            </a:lvl6pPr>
            <a:lvl7pPr marL="4260533" lvl="6" indent="-388858" rtl="0">
              <a:spcBef>
                <a:spcPts val="0"/>
              </a:spcBef>
              <a:spcAft>
                <a:spcPts val="0"/>
              </a:spcAft>
              <a:buSzPts val="1000"/>
              <a:buChar char="●"/>
              <a:defRPr/>
            </a:lvl7pPr>
            <a:lvl8pPr marL="4869180" lvl="7" indent="-388858" rtl="0">
              <a:spcBef>
                <a:spcPts val="0"/>
              </a:spcBef>
              <a:spcAft>
                <a:spcPts val="0"/>
              </a:spcAft>
              <a:buSzPts val="1000"/>
              <a:buChar char="○"/>
              <a:defRPr/>
            </a:lvl8pPr>
            <a:lvl9pPr marL="5477828" lvl="8" indent="-388858" rtl="0">
              <a:spcBef>
                <a:spcPts val="0"/>
              </a:spcBef>
              <a:spcAft>
                <a:spcPts val="0"/>
              </a:spcAft>
              <a:buSzPts val="1000"/>
              <a:buChar char="■"/>
              <a:defRPr/>
            </a:lvl9pPr>
          </a:lstStyle>
          <a:p>
            <a:endParaRPr dirty="0"/>
          </a:p>
        </p:txBody>
      </p:sp>
      <p:sp>
        <p:nvSpPr>
          <p:cNvPr id="186" name="Google Shape;186;p20"/>
          <p:cNvSpPr txBox="1">
            <a:spLocks noGrp="1"/>
          </p:cNvSpPr>
          <p:nvPr>
            <p:ph type="body" idx="8"/>
          </p:nvPr>
        </p:nvSpPr>
        <p:spPr>
          <a:xfrm>
            <a:off x="4730496" y="5218176"/>
            <a:ext cx="2731200" cy="10852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5" name="Google Shape;122;p18">
            <a:extLst>
              <a:ext uri="{FF2B5EF4-FFF2-40B4-BE49-F238E27FC236}">
                <a16:creationId xmlns:a16="http://schemas.microsoft.com/office/drawing/2014/main" id="{86A4FF54-90AF-1547-A759-FE79ACB06627}"/>
              </a:ext>
            </a:extLst>
          </p:cNvPr>
          <p:cNvSpPr>
            <a:spLocks noGrp="1"/>
          </p:cNvSpPr>
          <p:nvPr>
            <p:ph type="pic" idx="25"/>
          </p:nvPr>
        </p:nvSpPr>
        <p:spPr>
          <a:xfrm>
            <a:off x="9920788" y="3800009"/>
            <a:ext cx="477135" cy="477134"/>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189" name="Google Shape;189;p20"/>
          <p:cNvSpPr txBox="1">
            <a:spLocks noGrp="1"/>
          </p:cNvSpPr>
          <p:nvPr>
            <p:ph type="body" idx="14"/>
          </p:nvPr>
        </p:nvSpPr>
        <p:spPr>
          <a:xfrm>
            <a:off x="8884668" y="4888992"/>
            <a:ext cx="254234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4" b="1" i="0">
                <a:solidFill>
                  <a:schemeClr val="bg1"/>
                </a:solidFill>
                <a:latin typeface="Helvetica" pitchFamily="2" charset="0"/>
              </a:defRPr>
            </a:lvl1pPr>
            <a:lvl2pPr marL="1217295" lvl="1" indent="-388858" rtl="0">
              <a:spcBef>
                <a:spcPts val="0"/>
              </a:spcBef>
              <a:spcAft>
                <a:spcPts val="0"/>
              </a:spcAft>
              <a:buSzPts val="1000"/>
              <a:buChar char="○"/>
              <a:defRPr/>
            </a:lvl2pPr>
            <a:lvl3pPr marL="1825943" lvl="2" indent="-388858" rtl="0">
              <a:spcBef>
                <a:spcPts val="0"/>
              </a:spcBef>
              <a:spcAft>
                <a:spcPts val="0"/>
              </a:spcAft>
              <a:buSzPts val="1000"/>
              <a:buChar char="■"/>
              <a:defRPr/>
            </a:lvl3pPr>
            <a:lvl4pPr marL="2434590" lvl="3" indent="-388858" rtl="0">
              <a:spcBef>
                <a:spcPts val="0"/>
              </a:spcBef>
              <a:spcAft>
                <a:spcPts val="0"/>
              </a:spcAft>
              <a:buSzPts val="1000"/>
              <a:buChar char="●"/>
              <a:defRPr/>
            </a:lvl4pPr>
            <a:lvl5pPr marL="3043238" lvl="4" indent="-388858" rtl="0">
              <a:spcBef>
                <a:spcPts val="0"/>
              </a:spcBef>
              <a:spcAft>
                <a:spcPts val="0"/>
              </a:spcAft>
              <a:buSzPts val="1000"/>
              <a:buChar char="○"/>
              <a:defRPr/>
            </a:lvl5pPr>
            <a:lvl6pPr marL="3651885" lvl="5" indent="-388858" rtl="0">
              <a:spcBef>
                <a:spcPts val="0"/>
              </a:spcBef>
              <a:spcAft>
                <a:spcPts val="0"/>
              </a:spcAft>
              <a:buSzPts val="1000"/>
              <a:buChar char="■"/>
              <a:defRPr/>
            </a:lvl6pPr>
            <a:lvl7pPr marL="4260533" lvl="6" indent="-388858" rtl="0">
              <a:spcBef>
                <a:spcPts val="0"/>
              </a:spcBef>
              <a:spcAft>
                <a:spcPts val="0"/>
              </a:spcAft>
              <a:buSzPts val="1000"/>
              <a:buChar char="●"/>
              <a:defRPr/>
            </a:lvl7pPr>
            <a:lvl8pPr marL="4869180" lvl="7" indent="-388858" rtl="0">
              <a:spcBef>
                <a:spcPts val="0"/>
              </a:spcBef>
              <a:spcAft>
                <a:spcPts val="0"/>
              </a:spcAft>
              <a:buSzPts val="1000"/>
              <a:buChar char="○"/>
              <a:defRPr/>
            </a:lvl8pPr>
            <a:lvl9pPr marL="5477828" lvl="8" indent="-388858" rtl="0">
              <a:spcBef>
                <a:spcPts val="0"/>
              </a:spcBef>
              <a:spcAft>
                <a:spcPts val="0"/>
              </a:spcAft>
              <a:buSzPts val="1000"/>
              <a:buChar char="■"/>
              <a:defRPr/>
            </a:lvl9pPr>
          </a:lstStyle>
          <a:p>
            <a:endParaRPr dirty="0"/>
          </a:p>
        </p:txBody>
      </p:sp>
      <p:sp>
        <p:nvSpPr>
          <p:cNvPr id="188" name="Google Shape;188;p20"/>
          <p:cNvSpPr txBox="1">
            <a:spLocks noGrp="1"/>
          </p:cNvSpPr>
          <p:nvPr>
            <p:ph type="body" idx="13"/>
          </p:nvPr>
        </p:nvSpPr>
        <p:spPr>
          <a:xfrm>
            <a:off x="8790227" y="5230368"/>
            <a:ext cx="2731200" cy="10852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6" name="Google Shape;268;p27">
            <a:extLst>
              <a:ext uri="{FF2B5EF4-FFF2-40B4-BE49-F238E27FC236}">
                <a16:creationId xmlns:a16="http://schemas.microsoft.com/office/drawing/2014/main" id="{7E4BF4A8-E0B6-8242-AC99-775A759DE1A5}"/>
              </a:ext>
              <a:ext uri="{C183D7F6-B498-43B3-948B-1728B52AA6E4}">
                <adec:decorative xmlns:adec="http://schemas.microsoft.com/office/drawing/2017/decorative" val="1"/>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7" name="Google Shape;56;p14">
            <a:extLst>
              <a:ext uri="{FF2B5EF4-FFF2-40B4-BE49-F238E27FC236}">
                <a16:creationId xmlns:a16="http://schemas.microsoft.com/office/drawing/2014/main" id="{78379644-2D0E-8017-C510-B607AB39D656}"/>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4352912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p_Banner_Trio_Dark">
    <p:spTree>
      <p:nvGrpSpPr>
        <p:cNvPr id="1" name=""/>
        <p:cNvGrpSpPr/>
        <p:nvPr/>
      </p:nvGrpSpPr>
      <p:grpSpPr>
        <a:xfrm>
          <a:off x="0" y="0"/>
          <a:ext cx="0" cy="0"/>
          <a:chOff x="0" y="0"/>
          <a:chExt cx="0" cy="0"/>
        </a:xfrm>
      </p:grpSpPr>
      <p:sp>
        <p:nvSpPr>
          <p:cNvPr id="7" name="Freeform: Shape 11">
            <a:extLst>
              <a:ext uri="{FF2B5EF4-FFF2-40B4-BE49-F238E27FC236}">
                <a16:creationId xmlns:a16="http://schemas.microsoft.com/office/drawing/2014/main" id="{0D00EF44-C02F-AAF8-DBC7-45C3F502D815}"/>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561E4086-C3F0-04BD-CE4A-65EB1DA1C581}"/>
              </a:ext>
            </a:extLst>
          </p:cNvPr>
          <p:cNvSpPr>
            <a:spLocks noGrp="1"/>
          </p:cNvSpPr>
          <p:nvPr>
            <p:ph type="body" sz="quarter" idx="13" hasCustomPrompt="1"/>
          </p:nvPr>
        </p:nvSpPr>
        <p:spPr>
          <a:xfrm>
            <a:off x="563499" y="112540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11" name="Text Placeholder 4">
            <a:extLst>
              <a:ext uri="{FF2B5EF4-FFF2-40B4-BE49-F238E27FC236}">
                <a16:creationId xmlns:a16="http://schemas.microsoft.com/office/drawing/2014/main" id="{9D00ECC6-76CF-D27F-DB49-A2E81E9B8F3D}"/>
              </a:ext>
            </a:extLst>
          </p:cNvPr>
          <p:cNvSpPr>
            <a:spLocks noGrp="1"/>
          </p:cNvSpPr>
          <p:nvPr>
            <p:ph type="body" sz="quarter" idx="19" hasCustomPrompt="1"/>
          </p:nvPr>
        </p:nvSpPr>
        <p:spPr>
          <a:xfrm>
            <a:off x="6269535" y="111422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1048196133"/>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matchingName="Subsection Cover E" preserve="1">
  <p:cSld name="Subsection Cover E">
    <p:spTree>
      <p:nvGrpSpPr>
        <p:cNvPr id="1" name="Shape 190"/>
        <p:cNvGrpSpPr/>
        <p:nvPr/>
      </p:nvGrpSpPr>
      <p:grpSpPr>
        <a:xfrm>
          <a:off x="0" y="0"/>
          <a:ext cx="0" cy="0"/>
          <a:chOff x="0" y="0"/>
          <a:chExt cx="0" cy="0"/>
        </a:xfrm>
      </p:grpSpPr>
      <p:grpSp>
        <p:nvGrpSpPr>
          <p:cNvPr id="2" name="Group 1">
            <a:extLst>
              <a:ext uri="{FF2B5EF4-FFF2-40B4-BE49-F238E27FC236}">
                <a16:creationId xmlns:a16="http://schemas.microsoft.com/office/drawing/2014/main" id="{EAB10C81-7E96-8DBC-D29F-80FF1F4E4FE8}"/>
              </a:ext>
              <a:ext uri="{C183D7F6-B498-43B3-948B-1728B52AA6E4}">
                <adec:decorative xmlns:adec="http://schemas.microsoft.com/office/drawing/2017/decorative" val="1"/>
              </a:ext>
            </a:extLst>
          </p:cNvPr>
          <p:cNvGrpSpPr/>
          <p:nvPr userDrawn="1"/>
        </p:nvGrpSpPr>
        <p:grpSpPr>
          <a:xfrm>
            <a:off x="0" y="-34"/>
            <a:ext cx="14229232" cy="10254376"/>
            <a:chOff x="0" y="-25"/>
            <a:chExt cx="10671924" cy="7690782"/>
          </a:xfrm>
        </p:grpSpPr>
        <p:pic>
          <p:nvPicPr>
            <p:cNvPr id="191" name="Google Shape;191;p21">
              <a:extLst>
                <a:ext uri="{C183D7F6-B498-43B3-948B-1728B52AA6E4}">
                  <adec:decorative xmlns:adec="http://schemas.microsoft.com/office/drawing/2017/decorative" val="1"/>
                </a:ext>
              </a:extLst>
            </p:cNvPr>
            <p:cNvPicPr preferRelativeResize="0"/>
            <p:nvPr/>
          </p:nvPicPr>
          <p:blipFill rotWithShape="1">
            <a:blip r:embed="rId2">
              <a:alphaModFix/>
            </a:blip>
            <a:srcRect l="17695" t="23177" b="8771"/>
            <a:stretch/>
          </p:blipFill>
          <p:spPr>
            <a:xfrm>
              <a:off x="0" y="-25"/>
              <a:ext cx="6961777" cy="5143499"/>
            </a:xfrm>
            <a:prstGeom prst="rect">
              <a:avLst/>
            </a:prstGeom>
            <a:noFill/>
            <a:ln>
              <a:noFill/>
            </a:ln>
          </p:spPr>
        </p:pic>
        <p:pic>
          <p:nvPicPr>
            <p:cNvPr id="192" name="Google Shape;192;p21">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6909555" y="1122319"/>
              <a:ext cx="3762369" cy="3762369"/>
            </a:xfrm>
            <a:prstGeom prst="rect">
              <a:avLst/>
            </a:prstGeom>
            <a:noFill/>
            <a:ln>
              <a:noFill/>
            </a:ln>
          </p:spPr>
        </p:pic>
        <p:pic>
          <p:nvPicPr>
            <p:cNvPr id="193" name="Google Shape;193;p21">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1022198" y="3928388"/>
              <a:ext cx="3762369" cy="3762369"/>
            </a:xfrm>
            <a:prstGeom prst="rect">
              <a:avLst/>
            </a:prstGeom>
            <a:noFill/>
            <a:ln>
              <a:noFill/>
            </a:ln>
          </p:spPr>
        </p:pic>
        <p:sp>
          <p:nvSpPr>
            <p:cNvPr id="194" name="Google Shape;194;p21">
              <a:extLst>
                <a:ext uri="{C183D7F6-B498-43B3-948B-1728B52AA6E4}">
                  <adec:decorative xmlns:adec="http://schemas.microsoft.com/office/drawing/2017/decorative" val="1"/>
                </a:ext>
              </a:extLst>
            </p:cNvPr>
            <p:cNvSpPr/>
            <p:nvPr/>
          </p:nvSpPr>
          <p:spPr>
            <a:xfrm rot="10800000">
              <a:off x="998900" y="-25"/>
              <a:ext cx="73200" cy="31794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195" name="Google Shape;195;p21">
              <a:extLst>
                <a:ext uri="{C183D7F6-B498-43B3-948B-1728B52AA6E4}">
                  <adec:decorative xmlns:adec="http://schemas.microsoft.com/office/drawing/2017/decorative" val="1"/>
                </a:ext>
              </a:extLst>
            </p:cNvPr>
            <p:cNvCxnSpPr/>
            <p:nvPr/>
          </p:nvCxnSpPr>
          <p:spPr>
            <a:xfrm>
              <a:off x="1264320" y="1478529"/>
              <a:ext cx="2070300" cy="0"/>
            </a:xfrm>
            <a:prstGeom prst="straightConnector1">
              <a:avLst/>
            </a:prstGeom>
            <a:noFill/>
            <a:ln w="12700" cap="flat" cmpd="sng">
              <a:solidFill>
                <a:schemeClr val="lt1"/>
              </a:solidFill>
              <a:prstDash val="solid"/>
              <a:miter lim="800000"/>
              <a:headEnd type="none" w="sm" len="sm"/>
              <a:tailEnd type="none" w="sm" len="sm"/>
            </a:ln>
          </p:spPr>
        </p:cxnSp>
      </p:grpSp>
      <p:sp>
        <p:nvSpPr>
          <p:cNvPr id="196" name="Google Shape;196;p21"/>
          <p:cNvSpPr txBox="1">
            <a:spLocks noGrp="1"/>
          </p:cNvSpPr>
          <p:nvPr>
            <p:ph type="title"/>
          </p:nvPr>
        </p:nvSpPr>
        <p:spPr>
          <a:xfrm>
            <a:off x="1633734"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7" name="Google Shape;197;p21"/>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5"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103863255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matchingName="Subsection Cover F" preserve="1" userDrawn="1">
  <p:cSld name="Subsection Cover F">
    <p:spTree>
      <p:nvGrpSpPr>
        <p:cNvPr id="1" name="Shape 198"/>
        <p:cNvGrpSpPr/>
        <p:nvPr/>
      </p:nvGrpSpPr>
      <p:grpSpPr>
        <a:xfrm>
          <a:off x="0" y="0"/>
          <a:ext cx="0" cy="0"/>
          <a:chOff x="0" y="0"/>
          <a:chExt cx="0" cy="0"/>
        </a:xfrm>
      </p:grpSpPr>
      <p:grpSp>
        <p:nvGrpSpPr>
          <p:cNvPr id="2" name="Group 1">
            <a:extLst>
              <a:ext uri="{FF2B5EF4-FFF2-40B4-BE49-F238E27FC236}">
                <a16:creationId xmlns:a16="http://schemas.microsoft.com/office/drawing/2014/main" id="{48916E6B-130A-702E-A467-CC8CFED680EA}"/>
              </a:ext>
              <a:ext uri="{C183D7F6-B498-43B3-948B-1728B52AA6E4}">
                <adec:decorative xmlns:adec="http://schemas.microsoft.com/office/drawing/2017/decorative" val="1"/>
              </a:ext>
            </a:extLst>
          </p:cNvPr>
          <p:cNvGrpSpPr/>
          <p:nvPr userDrawn="1"/>
        </p:nvGrpSpPr>
        <p:grpSpPr>
          <a:xfrm>
            <a:off x="-1555011" y="-1630732"/>
            <a:ext cx="15784244" cy="11885076"/>
            <a:chOff x="-1166259" y="-1223050"/>
            <a:chExt cx="11838183" cy="8913807"/>
          </a:xfrm>
        </p:grpSpPr>
        <p:pic>
          <p:nvPicPr>
            <p:cNvPr id="199" name="Google Shape;199;p22">
              <a:extLst>
                <a:ext uri="{C183D7F6-B498-43B3-948B-1728B52AA6E4}">
                  <adec:decorative xmlns:adec="http://schemas.microsoft.com/office/drawing/2017/decorative" val="1"/>
                </a:ext>
              </a:extLst>
            </p:cNvPr>
            <p:cNvPicPr preferRelativeResize="0"/>
            <p:nvPr/>
          </p:nvPicPr>
          <p:blipFill>
            <a:blip r:embed="rId2">
              <a:alphaModFix/>
            </a:blip>
            <a:stretch>
              <a:fillRect/>
            </a:stretch>
          </p:blipFill>
          <p:spPr>
            <a:xfrm>
              <a:off x="-1166259" y="-1223050"/>
              <a:ext cx="5138468" cy="5143501"/>
            </a:xfrm>
            <a:prstGeom prst="rect">
              <a:avLst/>
            </a:prstGeom>
            <a:noFill/>
            <a:ln>
              <a:noFill/>
            </a:ln>
          </p:spPr>
        </p:pic>
        <p:sp>
          <p:nvSpPr>
            <p:cNvPr id="200" name="Google Shape;200;p22">
              <a:extLst>
                <a:ext uri="{C183D7F6-B498-43B3-948B-1728B52AA6E4}">
                  <adec:decorative xmlns:adec="http://schemas.microsoft.com/office/drawing/2017/decorative" val="1"/>
                </a:ext>
              </a:extLst>
            </p:cNvPr>
            <p:cNvSpPr/>
            <p:nvPr/>
          </p:nvSpPr>
          <p:spPr>
            <a:xfrm>
              <a:off x="-331227" y="647439"/>
              <a:ext cx="6414300" cy="6404400"/>
            </a:xfrm>
            <a:prstGeom prst="ellipse">
              <a:avLst/>
            </a:prstGeom>
            <a:gradFill>
              <a:gsLst>
                <a:gs pos="0">
                  <a:srgbClr val="1F9CF0"/>
                </a:gs>
                <a:gs pos="72000">
                  <a:srgbClr val="007ACC">
                    <a:alpha val="23529"/>
                  </a:srgbClr>
                </a:gs>
                <a:gs pos="100000">
                  <a:srgbClr val="007ACC">
                    <a:alpha val="23529"/>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201" name="Google Shape;201;p22">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6909555" y="1122319"/>
              <a:ext cx="3762369" cy="3762369"/>
            </a:xfrm>
            <a:prstGeom prst="rect">
              <a:avLst/>
            </a:prstGeom>
            <a:noFill/>
            <a:ln>
              <a:noFill/>
            </a:ln>
          </p:spPr>
        </p:pic>
        <p:pic>
          <p:nvPicPr>
            <p:cNvPr id="202" name="Google Shape;202;p22">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1022198" y="3928388"/>
              <a:ext cx="3762369" cy="3762369"/>
            </a:xfrm>
            <a:prstGeom prst="rect">
              <a:avLst/>
            </a:prstGeom>
            <a:noFill/>
            <a:ln>
              <a:noFill/>
            </a:ln>
          </p:spPr>
        </p:pic>
        <p:sp>
          <p:nvSpPr>
            <p:cNvPr id="203" name="Google Shape;203;p22">
              <a:extLst>
                <a:ext uri="{C183D7F6-B498-43B3-948B-1728B52AA6E4}">
                  <adec:decorative xmlns:adec="http://schemas.microsoft.com/office/drawing/2017/decorative" val="1"/>
                </a:ext>
              </a:extLst>
            </p:cNvPr>
            <p:cNvSpPr/>
            <p:nvPr/>
          </p:nvSpPr>
          <p:spPr>
            <a:xfrm>
              <a:off x="-345041" y="230188"/>
              <a:ext cx="1103700" cy="1102200"/>
            </a:xfrm>
            <a:prstGeom prst="ellipse">
              <a:avLst/>
            </a:prstGeom>
            <a:gradFill>
              <a:gsLst>
                <a:gs pos="0">
                  <a:srgbClr val="D59DFF">
                    <a:alpha val="21960"/>
                  </a:srgbClr>
                </a:gs>
                <a:gs pos="100000">
                  <a:srgbClr val="161828">
                    <a:alpha val="55294"/>
                  </a:srgbClr>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204" name="Google Shape;204;p22">
              <a:extLst>
                <a:ext uri="{C183D7F6-B498-43B3-948B-1728B52AA6E4}">
                  <adec:decorative xmlns:adec="http://schemas.microsoft.com/office/drawing/2017/decorative" val="1"/>
                </a:ext>
              </a:extLst>
            </p:cNvPr>
            <p:cNvPicPr preferRelativeResize="0"/>
            <p:nvPr/>
          </p:nvPicPr>
          <p:blipFill>
            <a:blip r:embed="rId4">
              <a:alphaModFix/>
            </a:blip>
            <a:stretch>
              <a:fillRect/>
            </a:stretch>
          </p:blipFill>
          <p:spPr>
            <a:xfrm>
              <a:off x="4744082" y="2640400"/>
              <a:ext cx="1610051" cy="1985751"/>
            </a:xfrm>
            <a:prstGeom prst="rect">
              <a:avLst/>
            </a:prstGeom>
            <a:noFill/>
            <a:ln>
              <a:noFill/>
            </a:ln>
          </p:spPr>
        </p:pic>
        <p:sp>
          <p:nvSpPr>
            <p:cNvPr id="205" name="Google Shape;205;p22">
              <a:extLst>
                <a:ext uri="{C183D7F6-B498-43B3-948B-1728B52AA6E4}">
                  <adec:decorative xmlns:adec="http://schemas.microsoft.com/office/drawing/2017/decorative" val="1"/>
                </a:ext>
              </a:extLst>
            </p:cNvPr>
            <p:cNvSpPr/>
            <p:nvPr/>
          </p:nvSpPr>
          <p:spPr>
            <a:xfrm rot="10800000">
              <a:off x="998900" y="-1"/>
              <a:ext cx="73200" cy="3857625"/>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12" name="Google Shape;196;p21">
            <a:extLst>
              <a:ext uri="{FF2B5EF4-FFF2-40B4-BE49-F238E27FC236}">
                <a16:creationId xmlns:a16="http://schemas.microsoft.com/office/drawing/2014/main" id="{21617290-5BA6-E043-927A-954A333996EA}"/>
              </a:ext>
            </a:extLst>
          </p:cNvPr>
          <p:cNvSpPr txBox="1">
            <a:spLocks noGrp="1"/>
          </p:cNvSpPr>
          <p:nvPr>
            <p:ph type="title"/>
          </p:nvPr>
        </p:nvSpPr>
        <p:spPr>
          <a:xfrm>
            <a:off x="1633734" y="162711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Tree>
    <p:extLst>
      <p:ext uri="{BB962C8B-B14F-4D97-AF65-F5344CB8AC3E}">
        <p14:creationId xmlns:p14="http://schemas.microsoft.com/office/powerpoint/2010/main" val="201688151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matchingName="Subsection Cover D" preserve="1" userDrawn="1">
  <p:cSld name="Subsection Cover D">
    <p:spTree>
      <p:nvGrpSpPr>
        <p:cNvPr id="1" name="Shape 209"/>
        <p:cNvGrpSpPr/>
        <p:nvPr/>
      </p:nvGrpSpPr>
      <p:grpSpPr>
        <a:xfrm>
          <a:off x="0" y="0"/>
          <a:ext cx="0" cy="0"/>
          <a:chOff x="0" y="0"/>
          <a:chExt cx="0" cy="0"/>
        </a:xfrm>
      </p:grpSpPr>
      <p:grpSp>
        <p:nvGrpSpPr>
          <p:cNvPr id="2" name="Group 1">
            <a:extLst>
              <a:ext uri="{FF2B5EF4-FFF2-40B4-BE49-F238E27FC236}">
                <a16:creationId xmlns:a16="http://schemas.microsoft.com/office/drawing/2014/main" id="{12FD604D-9926-8834-9CD8-C9BCCDD13420}"/>
              </a:ext>
              <a:ext uri="{C183D7F6-B498-43B3-948B-1728B52AA6E4}">
                <adec:decorative xmlns:adec="http://schemas.microsoft.com/office/drawing/2017/decorative" val="1"/>
              </a:ext>
            </a:extLst>
          </p:cNvPr>
          <p:cNvGrpSpPr/>
          <p:nvPr userDrawn="1"/>
        </p:nvGrpSpPr>
        <p:grpSpPr>
          <a:xfrm>
            <a:off x="-2846384" y="-840650"/>
            <a:ext cx="17075616" cy="11094993"/>
            <a:chOff x="-2134788" y="-630488"/>
            <a:chExt cx="12806712" cy="8321245"/>
          </a:xfrm>
        </p:grpSpPr>
        <p:sp>
          <p:nvSpPr>
            <p:cNvPr id="210" name="Google Shape;210;p23">
              <a:extLst>
                <a:ext uri="{C183D7F6-B498-43B3-948B-1728B52AA6E4}">
                  <adec:decorative xmlns:adec="http://schemas.microsoft.com/office/drawing/2017/decorative" val="1"/>
                </a:ext>
              </a:extLst>
            </p:cNvPr>
            <p:cNvSpPr/>
            <p:nvPr/>
          </p:nvSpPr>
          <p:spPr>
            <a:xfrm>
              <a:off x="-2134788" y="232333"/>
              <a:ext cx="6089700" cy="6080400"/>
            </a:xfrm>
            <a:prstGeom prst="ellipse">
              <a:avLst/>
            </a:prstGeom>
            <a:gradFill>
              <a:gsLst>
                <a:gs pos="0">
                  <a:srgbClr val="8661C5">
                    <a:alpha val="0"/>
                  </a:srgbClr>
                </a:gs>
                <a:gs pos="100000">
                  <a:srgbClr val="161828"/>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11" name="Google Shape;211;p23">
              <a:extLst>
                <a:ext uri="{C183D7F6-B498-43B3-948B-1728B52AA6E4}">
                  <adec:decorative xmlns:adec="http://schemas.microsoft.com/office/drawing/2017/decorative" val="1"/>
                </a:ext>
              </a:extLst>
            </p:cNvPr>
            <p:cNvSpPr/>
            <p:nvPr/>
          </p:nvSpPr>
          <p:spPr>
            <a:xfrm>
              <a:off x="-331227" y="-630488"/>
              <a:ext cx="6414300" cy="6404400"/>
            </a:xfrm>
            <a:prstGeom prst="ellipse">
              <a:avLst/>
            </a:prstGeom>
            <a:gradFill>
              <a:gsLst>
                <a:gs pos="0">
                  <a:schemeClr val="accent4"/>
                </a:gs>
                <a:gs pos="72000">
                  <a:srgbClr val="9477E2">
                    <a:alpha val="50196"/>
                  </a:srgbClr>
                </a:gs>
                <a:gs pos="100000">
                  <a:srgbClr val="9477E2">
                    <a:alpha val="50196"/>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212" name="Google Shape;212;p23">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6909555" y="1122319"/>
              <a:ext cx="3762369" cy="3762369"/>
            </a:xfrm>
            <a:prstGeom prst="rect">
              <a:avLst/>
            </a:prstGeom>
            <a:noFill/>
            <a:ln>
              <a:noFill/>
            </a:ln>
          </p:spPr>
        </p:pic>
        <p:sp>
          <p:nvSpPr>
            <p:cNvPr id="213" name="Google Shape;213;p23">
              <a:extLst>
                <a:ext uri="{C183D7F6-B498-43B3-948B-1728B52AA6E4}">
                  <adec:decorative xmlns:adec="http://schemas.microsoft.com/office/drawing/2017/decorative" val="1"/>
                </a:ext>
              </a:extLst>
            </p:cNvPr>
            <p:cNvSpPr/>
            <p:nvPr/>
          </p:nvSpPr>
          <p:spPr>
            <a:xfrm>
              <a:off x="4894296" y="370372"/>
              <a:ext cx="1612500" cy="1609800"/>
            </a:xfrm>
            <a:prstGeom prst="ellipse">
              <a:avLst/>
            </a:prstGeom>
            <a:gradFill>
              <a:gsLst>
                <a:gs pos="0">
                  <a:srgbClr val="8661C5">
                    <a:alpha val="0"/>
                  </a:srgbClr>
                </a:gs>
                <a:gs pos="100000">
                  <a:srgbClr val="161828"/>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214" name="Google Shape;214;p23">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1022198" y="3928388"/>
              <a:ext cx="3762369" cy="3762369"/>
            </a:xfrm>
            <a:prstGeom prst="rect">
              <a:avLst/>
            </a:prstGeom>
            <a:noFill/>
            <a:ln>
              <a:noFill/>
            </a:ln>
          </p:spPr>
        </p:pic>
        <p:sp>
          <p:nvSpPr>
            <p:cNvPr id="215" name="Google Shape;215;p23">
              <a:extLst>
                <a:ext uri="{C183D7F6-B498-43B3-948B-1728B52AA6E4}">
                  <adec:decorative xmlns:adec="http://schemas.microsoft.com/office/drawing/2017/decorative" val="1"/>
                </a:ext>
              </a:extLst>
            </p:cNvPr>
            <p:cNvSpPr/>
            <p:nvPr/>
          </p:nvSpPr>
          <p:spPr>
            <a:xfrm>
              <a:off x="4175884" y="292420"/>
              <a:ext cx="608700" cy="607800"/>
            </a:xfrm>
            <a:prstGeom prst="ellipse">
              <a:avLst/>
            </a:prstGeom>
            <a:gradFill>
              <a:gsLst>
                <a:gs pos="0">
                  <a:srgbClr val="007ACC">
                    <a:alpha val="14901"/>
                  </a:srgbClr>
                </a:gs>
                <a:gs pos="100000">
                  <a:srgbClr val="1F9CF0"/>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16" name="Google Shape;216;p23">
              <a:extLst>
                <a:ext uri="{C183D7F6-B498-43B3-948B-1728B52AA6E4}">
                  <adec:decorative xmlns:adec="http://schemas.microsoft.com/office/drawing/2017/decorative" val="1"/>
                </a:ext>
              </a:extLst>
            </p:cNvPr>
            <p:cNvSpPr/>
            <p:nvPr/>
          </p:nvSpPr>
          <p:spPr>
            <a:xfrm rot="10800000">
              <a:off x="998900" y="100"/>
              <a:ext cx="73200" cy="3409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217" name="Google Shape;217;p23">
              <a:extLst>
                <a:ext uri="{C183D7F6-B498-43B3-948B-1728B52AA6E4}">
                  <adec:decorative xmlns:adec="http://schemas.microsoft.com/office/drawing/2017/decorative" val="1"/>
                </a:ext>
              </a:extLst>
            </p:cNvPr>
            <p:cNvCxnSpPr/>
            <p:nvPr/>
          </p:nvCxnSpPr>
          <p:spPr>
            <a:xfrm>
              <a:off x="1264320" y="1478529"/>
              <a:ext cx="2070300" cy="0"/>
            </a:xfrm>
            <a:prstGeom prst="straightConnector1">
              <a:avLst/>
            </a:prstGeom>
            <a:noFill/>
            <a:ln w="12700" cap="flat" cmpd="sng">
              <a:solidFill>
                <a:schemeClr val="lt1"/>
              </a:solidFill>
              <a:prstDash val="solid"/>
              <a:miter lim="800000"/>
              <a:headEnd type="none" w="sm" len="sm"/>
              <a:tailEnd type="none" w="sm" len="sm"/>
            </a:ln>
          </p:spPr>
        </p:cxnSp>
      </p:grpSp>
      <p:sp>
        <p:nvSpPr>
          <p:cNvPr id="12" name="Google Shape;196;p21">
            <a:extLst>
              <a:ext uri="{FF2B5EF4-FFF2-40B4-BE49-F238E27FC236}">
                <a16:creationId xmlns:a16="http://schemas.microsoft.com/office/drawing/2014/main" id="{0D5A692D-5E2C-3545-9A63-90E5192CEDE4}"/>
              </a:ext>
            </a:extLst>
          </p:cNvPr>
          <p:cNvSpPr txBox="1">
            <a:spLocks noGrp="1"/>
          </p:cNvSpPr>
          <p:nvPr>
            <p:ph type="title"/>
          </p:nvPr>
        </p:nvSpPr>
        <p:spPr>
          <a:xfrm>
            <a:off x="1633734"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13" name="Google Shape;197;p21">
            <a:extLst>
              <a:ext uri="{FF2B5EF4-FFF2-40B4-BE49-F238E27FC236}">
                <a16:creationId xmlns:a16="http://schemas.microsoft.com/office/drawing/2014/main" id="{50A9DFC3-AEA3-C846-8DCB-4FA6A6FC54E9}"/>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5"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218334066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matchingName="Subsection Cover A" preserve="1" userDrawn="1">
  <p:cSld name="Subsection Cover A">
    <p:spTree>
      <p:nvGrpSpPr>
        <p:cNvPr id="1" name="Shape 220"/>
        <p:cNvGrpSpPr/>
        <p:nvPr/>
      </p:nvGrpSpPr>
      <p:grpSpPr>
        <a:xfrm>
          <a:off x="0" y="0"/>
          <a:ext cx="0" cy="0"/>
          <a:chOff x="0" y="0"/>
          <a:chExt cx="0" cy="0"/>
        </a:xfrm>
      </p:grpSpPr>
      <p:grpSp>
        <p:nvGrpSpPr>
          <p:cNvPr id="2" name="Group 1">
            <a:extLst>
              <a:ext uri="{FF2B5EF4-FFF2-40B4-BE49-F238E27FC236}">
                <a16:creationId xmlns:a16="http://schemas.microsoft.com/office/drawing/2014/main" id="{860C5A5C-CF9A-B033-D286-24B1068EA90E}"/>
              </a:ext>
              <a:ext uri="{C183D7F6-B498-43B3-948B-1728B52AA6E4}">
                <adec:decorative xmlns:adec="http://schemas.microsoft.com/office/drawing/2017/decorative" val="1"/>
              </a:ext>
            </a:extLst>
          </p:cNvPr>
          <p:cNvGrpSpPr/>
          <p:nvPr userDrawn="1"/>
        </p:nvGrpSpPr>
        <p:grpSpPr>
          <a:xfrm>
            <a:off x="-4218440" y="1"/>
            <a:ext cx="16410440" cy="6858001"/>
            <a:chOff x="-3163830" y="0"/>
            <a:chExt cx="12307830" cy="5143501"/>
          </a:xfrm>
        </p:grpSpPr>
        <p:cxnSp>
          <p:nvCxnSpPr>
            <p:cNvPr id="10" name="Google Shape;67;p15">
              <a:extLst>
                <a:ext uri="{FF2B5EF4-FFF2-40B4-BE49-F238E27FC236}">
                  <a16:creationId xmlns:a16="http://schemas.microsoft.com/office/drawing/2014/main" id="{D0C05BEA-A12F-824C-AF6C-CA9F6A8FC070}"/>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pic>
          <p:nvPicPr>
            <p:cNvPr id="221" name="Google Shape;221;p24">
              <a:extLs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2820700" y="0"/>
              <a:ext cx="6323300" cy="5143501"/>
            </a:xfrm>
            <a:prstGeom prst="rect">
              <a:avLst/>
            </a:prstGeom>
            <a:noFill/>
            <a:ln>
              <a:noFill/>
            </a:ln>
          </p:spPr>
        </p:pic>
        <p:pic>
          <p:nvPicPr>
            <p:cNvPr id="222" name="Google Shape;222;p24">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3163830" y="690565"/>
              <a:ext cx="3762369" cy="3762369"/>
            </a:xfrm>
            <a:prstGeom prst="rect">
              <a:avLst/>
            </a:prstGeom>
            <a:noFill/>
            <a:ln>
              <a:noFill/>
            </a:ln>
          </p:spPr>
        </p:pic>
        <p:cxnSp>
          <p:nvCxnSpPr>
            <p:cNvPr id="223" name="Google Shape;223;p24">
              <a:extLst>
                <a:ext uri="{C183D7F6-B498-43B3-948B-1728B52AA6E4}">
                  <adec:decorative xmlns:adec="http://schemas.microsoft.com/office/drawing/2017/decorative" val="1"/>
                </a:ext>
              </a:extLst>
            </p:cNvPr>
            <p:cNvCxnSpPr/>
            <p:nvPr/>
          </p:nvCxnSpPr>
          <p:spPr>
            <a:xfrm>
              <a:off x="1264320" y="1478529"/>
              <a:ext cx="2070300" cy="0"/>
            </a:xfrm>
            <a:prstGeom prst="straightConnector1">
              <a:avLst/>
            </a:prstGeom>
            <a:noFill/>
            <a:ln w="12700" cap="flat" cmpd="sng">
              <a:solidFill>
                <a:schemeClr val="lt1"/>
              </a:solidFill>
              <a:prstDash val="solid"/>
              <a:miter lim="800000"/>
              <a:headEnd type="none" w="sm" len="sm"/>
              <a:tailEnd type="none" w="sm" len="sm"/>
            </a:ln>
          </p:spPr>
        </p:cxnSp>
        <p:sp>
          <p:nvSpPr>
            <p:cNvPr id="224" name="Google Shape;224;p24">
              <a:extLst>
                <a:ext uri="{C183D7F6-B498-43B3-948B-1728B52AA6E4}">
                  <adec:decorative xmlns:adec="http://schemas.microsoft.com/office/drawing/2017/decorative" val="1"/>
                </a:ext>
              </a:extLst>
            </p:cNvPr>
            <p:cNvSpPr/>
            <p:nvPr/>
          </p:nvSpPr>
          <p:spPr>
            <a:xfrm rot="10800000">
              <a:off x="998900" y="50"/>
              <a:ext cx="73200" cy="33945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8" name="Google Shape;196;p21">
            <a:extLst>
              <a:ext uri="{FF2B5EF4-FFF2-40B4-BE49-F238E27FC236}">
                <a16:creationId xmlns:a16="http://schemas.microsoft.com/office/drawing/2014/main" id="{DD23A2E5-7DF9-3E42-8FF7-1F52FA94B039}"/>
              </a:ext>
            </a:extLst>
          </p:cNvPr>
          <p:cNvSpPr txBox="1">
            <a:spLocks noGrp="1"/>
          </p:cNvSpPr>
          <p:nvPr>
            <p:ph type="title"/>
          </p:nvPr>
        </p:nvSpPr>
        <p:spPr>
          <a:xfrm>
            <a:off x="1633734"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9" name="Google Shape;197;p21">
            <a:extLst>
              <a:ext uri="{FF2B5EF4-FFF2-40B4-BE49-F238E27FC236}">
                <a16:creationId xmlns:a16="http://schemas.microsoft.com/office/drawing/2014/main" id="{E86E1330-9ED2-2645-B516-145C6EB98F8A}"/>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5"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6" name="Google Shape;56;p14">
            <a:extLst>
              <a:ext uri="{FF2B5EF4-FFF2-40B4-BE49-F238E27FC236}">
                <a16:creationId xmlns:a16="http://schemas.microsoft.com/office/drawing/2014/main" id="{C4E37350-9F7D-7FE9-47FB-D3020A809669}"/>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69625370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matchingName="Subsection Cover C" preserve="1" userDrawn="1">
  <p:cSld name="Subsection Cover C">
    <p:spTree>
      <p:nvGrpSpPr>
        <p:cNvPr id="1" name="Shape 605"/>
        <p:cNvGrpSpPr/>
        <p:nvPr/>
      </p:nvGrpSpPr>
      <p:grpSpPr>
        <a:xfrm>
          <a:off x="0" y="0"/>
          <a:ext cx="0" cy="0"/>
          <a:chOff x="0" y="0"/>
          <a:chExt cx="0" cy="0"/>
        </a:xfrm>
      </p:grpSpPr>
      <p:grpSp>
        <p:nvGrpSpPr>
          <p:cNvPr id="2" name="Group 1">
            <a:extLst>
              <a:ext uri="{FF2B5EF4-FFF2-40B4-BE49-F238E27FC236}">
                <a16:creationId xmlns:a16="http://schemas.microsoft.com/office/drawing/2014/main" id="{6EDDDB32-C31D-CB0C-9C98-E26065D274CE}"/>
              </a:ext>
              <a:ext uri="{C183D7F6-B498-43B3-948B-1728B52AA6E4}">
                <adec:decorative xmlns:adec="http://schemas.microsoft.com/office/drawing/2017/decorative" val="1"/>
              </a:ext>
            </a:extLst>
          </p:cNvPr>
          <p:cNvGrpSpPr/>
          <p:nvPr userDrawn="1"/>
        </p:nvGrpSpPr>
        <p:grpSpPr>
          <a:xfrm>
            <a:off x="-4218439" y="0"/>
            <a:ext cx="16409510" cy="6858003"/>
            <a:chOff x="-3163830" y="0"/>
            <a:chExt cx="12307133" cy="5143502"/>
          </a:xfrm>
        </p:grpSpPr>
        <p:cxnSp>
          <p:nvCxnSpPr>
            <p:cNvPr id="13" name="Google Shape;67;p15">
              <a:extLst>
                <a:ext uri="{FF2B5EF4-FFF2-40B4-BE49-F238E27FC236}">
                  <a16:creationId xmlns:a16="http://schemas.microsoft.com/office/drawing/2014/main" id="{B3289E93-2F80-8F42-82CE-264F7C038480}"/>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sp>
          <p:nvSpPr>
            <p:cNvPr id="608" name="Google Shape;608;p40">
              <a:extLst>
                <a:ext uri="{C183D7F6-B498-43B3-948B-1728B52AA6E4}">
                  <adec:decorative xmlns:adec="http://schemas.microsoft.com/office/drawing/2017/decorative" val="1"/>
                </a:ext>
              </a:extLst>
            </p:cNvPr>
            <p:cNvSpPr/>
            <p:nvPr/>
          </p:nvSpPr>
          <p:spPr>
            <a:xfrm>
              <a:off x="5450166" y="4900823"/>
              <a:ext cx="3595800" cy="124800"/>
            </a:xfrm>
            <a:prstGeom prst="rect">
              <a:avLst/>
            </a:prstGeom>
            <a:noFill/>
            <a:ln>
              <a:noFill/>
            </a:ln>
          </p:spPr>
          <p:txBody>
            <a:bodyPr spcFirstLastPara="1" wrap="square" lIns="42900" tIns="21450" rIns="42900" bIns="21450"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cxnSp>
          <p:nvCxnSpPr>
            <p:cNvPr id="609" name="Google Shape;609;p40">
              <a:extLst>
                <a:ext uri="{C183D7F6-B498-43B3-948B-1728B52AA6E4}">
                  <adec:decorative xmlns:adec="http://schemas.microsoft.com/office/drawing/2017/decorative" val="1"/>
                </a:ext>
              </a:extLst>
            </p:cNvPr>
            <p:cNvCxnSpPr/>
            <p:nvPr/>
          </p:nvCxnSpPr>
          <p:spPr>
            <a:xfrm>
              <a:off x="1264320" y="1478529"/>
              <a:ext cx="2070300" cy="0"/>
            </a:xfrm>
            <a:prstGeom prst="straightConnector1">
              <a:avLst/>
            </a:prstGeom>
            <a:noFill/>
            <a:ln w="12700" cap="flat" cmpd="sng">
              <a:solidFill>
                <a:schemeClr val="lt1"/>
              </a:solidFill>
              <a:prstDash val="solid"/>
              <a:miter lim="800000"/>
              <a:headEnd type="none" w="sm" len="sm"/>
              <a:tailEnd type="none" w="sm" len="sm"/>
            </a:ln>
          </p:spPr>
        </p:cxnSp>
        <p:pic>
          <p:nvPicPr>
            <p:cNvPr id="610" name="Google Shape;610;p40">
              <a:extLst>
                <a:ext uri="{C183D7F6-B498-43B3-948B-1728B52AA6E4}">
                  <adec:decorative xmlns:adec="http://schemas.microsoft.com/office/drawing/2017/decorative" val="1"/>
                </a:ext>
              </a:extLst>
            </p:cNvPr>
            <p:cNvPicPr preferRelativeResize="0"/>
            <p:nvPr/>
          </p:nvPicPr>
          <p:blipFill rotWithShape="1">
            <a:blip r:embed="rId2">
              <a:alphaModFix/>
            </a:blip>
            <a:srcRect t="901" r="941"/>
            <a:stretch/>
          </p:blipFill>
          <p:spPr>
            <a:xfrm>
              <a:off x="2858495" y="0"/>
              <a:ext cx="6275788" cy="5143502"/>
            </a:xfrm>
            <a:prstGeom prst="rect">
              <a:avLst/>
            </a:prstGeom>
            <a:noFill/>
            <a:ln>
              <a:noFill/>
            </a:ln>
          </p:spPr>
        </p:pic>
        <p:pic>
          <p:nvPicPr>
            <p:cNvPr id="611" name="Google Shape;611;p40">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3163830" y="690565"/>
              <a:ext cx="3762369" cy="3762369"/>
            </a:xfrm>
            <a:prstGeom prst="rect">
              <a:avLst/>
            </a:prstGeom>
            <a:noFill/>
            <a:ln>
              <a:noFill/>
            </a:ln>
          </p:spPr>
        </p:pic>
        <p:sp>
          <p:nvSpPr>
            <p:cNvPr id="614" name="Google Shape;614;p40">
              <a:extLst>
                <a:ext uri="{C183D7F6-B498-43B3-948B-1728B52AA6E4}">
                  <adec:decorative xmlns:adec="http://schemas.microsoft.com/office/drawing/2017/decorative" val="1"/>
                </a:ext>
              </a:extLst>
            </p:cNvPr>
            <p:cNvSpPr/>
            <p:nvPr/>
          </p:nvSpPr>
          <p:spPr>
            <a:xfrm rot="10800000">
              <a:off x="998900" y="250"/>
              <a:ext cx="73200" cy="34017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11" name="Google Shape;196;p21">
            <a:extLst>
              <a:ext uri="{FF2B5EF4-FFF2-40B4-BE49-F238E27FC236}">
                <a16:creationId xmlns:a16="http://schemas.microsoft.com/office/drawing/2014/main" id="{6FAE51A8-BD8E-3E44-B52C-3D0D2FEA3A8F}"/>
              </a:ext>
            </a:extLst>
          </p:cNvPr>
          <p:cNvSpPr txBox="1">
            <a:spLocks noGrp="1"/>
          </p:cNvSpPr>
          <p:nvPr>
            <p:ph type="title"/>
          </p:nvPr>
        </p:nvSpPr>
        <p:spPr>
          <a:xfrm>
            <a:off x="1633734"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12" name="Google Shape;197;p21">
            <a:extLst>
              <a:ext uri="{FF2B5EF4-FFF2-40B4-BE49-F238E27FC236}">
                <a16:creationId xmlns:a16="http://schemas.microsoft.com/office/drawing/2014/main" id="{7547AEDB-C4CC-B049-8D2A-220A88AC2505}"/>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5"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lang="en-US"/>
          </a:p>
        </p:txBody>
      </p:sp>
      <p:sp>
        <p:nvSpPr>
          <p:cNvPr id="6" name="Google Shape;56;p14">
            <a:extLst>
              <a:ext uri="{FF2B5EF4-FFF2-40B4-BE49-F238E27FC236}">
                <a16:creationId xmlns:a16="http://schemas.microsoft.com/office/drawing/2014/main" id="{0F68B82D-60B2-DB33-D64E-F7E5E287B705}"/>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65494348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matchingName="People-LinkedIn (4)" preserve="1" userDrawn="1">
  <p:cSld name="People-LinkedIn (4)">
    <p:spTree>
      <p:nvGrpSpPr>
        <p:cNvPr id="1" name="Shape 227"/>
        <p:cNvGrpSpPr/>
        <p:nvPr/>
      </p:nvGrpSpPr>
      <p:grpSpPr>
        <a:xfrm>
          <a:off x="0" y="0"/>
          <a:ext cx="0" cy="0"/>
          <a:chOff x="0" y="0"/>
          <a:chExt cx="0" cy="0"/>
        </a:xfrm>
      </p:grpSpPr>
      <p:grpSp>
        <p:nvGrpSpPr>
          <p:cNvPr id="2" name="Group 1">
            <a:extLst>
              <a:ext uri="{FF2B5EF4-FFF2-40B4-BE49-F238E27FC236}">
                <a16:creationId xmlns:a16="http://schemas.microsoft.com/office/drawing/2014/main" id="{9BE78F2B-7ADC-0958-7AA6-24B6884E1F92}"/>
              </a:ext>
              <a:ext uri="{C183D7F6-B498-43B3-948B-1728B52AA6E4}">
                <adec:decorative xmlns:adec="http://schemas.microsoft.com/office/drawing/2017/decorative" val="1"/>
              </a:ext>
            </a:extLst>
          </p:cNvPr>
          <p:cNvGrpSpPr/>
          <p:nvPr userDrawn="1"/>
        </p:nvGrpSpPr>
        <p:grpSpPr>
          <a:xfrm>
            <a:off x="-4353397" y="1"/>
            <a:ext cx="16544468" cy="6858001"/>
            <a:chOff x="-3265048" y="0"/>
            <a:chExt cx="12408351" cy="5143501"/>
          </a:xfrm>
        </p:grpSpPr>
        <p:pic>
          <p:nvPicPr>
            <p:cNvPr id="228" name="Google Shape;228;p25">
              <a:extLst>
                <a:ext uri="{C183D7F6-B498-43B3-948B-1728B52AA6E4}">
                  <adec:decorative xmlns:adec="http://schemas.microsoft.com/office/drawing/2017/decorative" val="1"/>
                </a:ext>
              </a:extLst>
            </p:cNvPr>
            <p:cNvPicPr preferRelativeResize="0"/>
            <p:nvPr/>
          </p:nvPicPr>
          <p:blipFill rotWithShape="1">
            <a:blip r:embed="rId2">
              <a:alphaModFix amt="50000"/>
            </a:blip>
            <a:srcRect/>
            <a:stretch/>
          </p:blipFill>
          <p:spPr>
            <a:xfrm flipH="1">
              <a:off x="3257360" y="0"/>
              <a:ext cx="5885013" cy="5143501"/>
            </a:xfrm>
            <a:prstGeom prst="rect">
              <a:avLst/>
            </a:prstGeom>
            <a:noFill/>
            <a:ln>
              <a:noFill/>
            </a:ln>
          </p:spPr>
        </p:pic>
        <p:pic>
          <p:nvPicPr>
            <p:cNvPr id="229" name="Google Shape;229;p25">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3265048" y="1082633"/>
              <a:ext cx="3762369" cy="3762369"/>
            </a:xfrm>
            <a:prstGeom prst="rect">
              <a:avLst/>
            </a:prstGeom>
            <a:noFill/>
            <a:ln>
              <a:noFill/>
            </a:ln>
          </p:spPr>
        </p:pic>
        <p:sp>
          <p:nvSpPr>
            <p:cNvPr id="230" name="Google Shape;230;p25">
              <a:extLst>
                <a:ext uri="{C183D7F6-B498-43B3-948B-1728B52AA6E4}">
                  <adec:decorative xmlns:adec="http://schemas.microsoft.com/office/drawing/2017/decorative" val="1"/>
                </a:ext>
              </a:extLst>
            </p:cNvPr>
            <p:cNvSpPr/>
            <p:nvPr/>
          </p:nvSpPr>
          <p:spPr>
            <a:xfrm>
              <a:off x="6569512" y="2393959"/>
              <a:ext cx="1889100" cy="2172300"/>
            </a:xfrm>
            <a:prstGeom prst="rect">
              <a:avLst/>
            </a:prstGeom>
            <a:gradFill>
              <a:gsLst>
                <a:gs pos="0">
                  <a:srgbClr val="8661C5"/>
                </a:gs>
                <a:gs pos="100000">
                  <a:srgbClr val="9477E2">
                    <a:alpha val="50196"/>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1" name="Google Shape;231;p25">
              <a:extLst>
                <a:ext uri="{C183D7F6-B498-43B3-948B-1728B52AA6E4}">
                  <adec:decorative xmlns:adec="http://schemas.microsoft.com/office/drawing/2017/decorative" val="1"/>
                </a:ext>
              </a:extLst>
            </p:cNvPr>
            <p:cNvSpPr/>
            <p:nvPr/>
          </p:nvSpPr>
          <p:spPr>
            <a:xfrm>
              <a:off x="4615351" y="2393958"/>
              <a:ext cx="1889100" cy="2172300"/>
            </a:xfrm>
            <a:prstGeom prst="rect">
              <a:avLst/>
            </a:prstGeom>
            <a:gradFill>
              <a:gsLst>
                <a:gs pos="0">
                  <a:srgbClr val="D59DFF"/>
                </a:gs>
                <a:gs pos="100000">
                  <a:srgbClr val="9477E2">
                    <a:alpha val="50196"/>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2" name="Google Shape;232;p25">
              <a:extLst>
                <a:ext uri="{C183D7F6-B498-43B3-948B-1728B52AA6E4}">
                  <adec:decorative xmlns:adec="http://schemas.microsoft.com/office/drawing/2017/decorative" val="1"/>
                </a:ext>
              </a:extLst>
            </p:cNvPr>
            <p:cNvSpPr/>
            <p:nvPr/>
          </p:nvSpPr>
          <p:spPr>
            <a:xfrm>
              <a:off x="2649705" y="2393958"/>
              <a:ext cx="1889100" cy="2172300"/>
            </a:xfrm>
            <a:prstGeom prst="rect">
              <a:avLst/>
            </a:prstGeom>
            <a:gradFill>
              <a:gsLst>
                <a:gs pos="0">
                  <a:srgbClr val="1F9CF0"/>
                </a:gs>
                <a:gs pos="100000">
                  <a:srgbClr val="9477E2">
                    <a:alpha val="49803"/>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3" name="Google Shape;233;p25">
              <a:extLst>
                <a:ext uri="{C183D7F6-B498-43B3-948B-1728B52AA6E4}">
                  <adec:decorative xmlns:adec="http://schemas.microsoft.com/office/drawing/2017/decorative" val="1"/>
                </a:ext>
              </a:extLst>
            </p:cNvPr>
            <p:cNvSpPr/>
            <p:nvPr/>
          </p:nvSpPr>
          <p:spPr>
            <a:xfrm>
              <a:off x="685473" y="2393958"/>
              <a:ext cx="1889100" cy="2172300"/>
            </a:xfrm>
            <a:prstGeom prst="rect">
              <a:avLst/>
            </a:prstGeom>
            <a:gradFill>
              <a:gsLst>
                <a:gs pos="0">
                  <a:srgbClr val="28AFEA"/>
                </a:gs>
                <a:gs pos="100000">
                  <a:srgbClr val="9477E2">
                    <a:alpha val="49803"/>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4" name="Google Shape;234;p25">
              <a:extLst>
                <a:ext uri="{C183D7F6-B498-43B3-948B-1728B52AA6E4}">
                  <adec:decorative xmlns:adec="http://schemas.microsoft.com/office/drawing/2017/decorative" val="1"/>
                </a:ext>
              </a:extLst>
            </p:cNvPr>
            <p:cNvSpPr/>
            <p:nvPr/>
          </p:nvSpPr>
          <p:spPr>
            <a:xfrm>
              <a:off x="2649740" y="4182769"/>
              <a:ext cx="1889100" cy="385800"/>
            </a:xfrm>
            <a:prstGeom prst="roundRect">
              <a:avLst>
                <a:gd name="adj" fmla="val 371"/>
              </a:avLst>
            </a:prstGeom>
            <a:solidFill>
              <a:srgbClr val="161828">
                <a:alpha val="80000"/>
              </a:srgbClr>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6" name="Google Shape;236;p25">
              <a:extLst>
                <a:ext uri="{C183D7F6-B498-43B3-948B-1728B52AA6E4}">
                  <adec:decorative xmlns:adec="http://schemas.microsoft.com/office/drawing/2017/decorative" val="1"/>
                </a:ext>
              </a:extLst>
            </p:cNvPr>
            <p:cNvSpPr/>
            <p:nvPr/>
          </p:nvSpPr>
          <p:spPr>
            <a:xfrm>
              <a:off x="4615463" y="4184951"/>
              <a:ext cx="1889080" cy="381697"/>
            </a:xfrm>
            <a:prstGeom prst="roundRect">
              <a:avLst>
                <a:gd name="adj" fmla="val 371"/>
              </a:avLst>
            </a:prstGeom>
            <a:solidFill>
              <a:srgbClr val="161828">
                <a:alpha val="80000"/>
              </a:srgbClr>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38" name="Google Shape;238;p25">
              <a:extLst>
                <a:ext uri="{C183D7F6-B498-43B3-948B-1728B52AA6E4}">
                  <adec:decorative xmlns:adec="http://schemas.microsoft.com/office/drawing/2017/decorative" val="1"/>
                </a:ext>
              </a:extLst>
            </p:cNvPr>
            <p:cNvSpPr/>
            <p:nvPr/>
          </p:nvSpPr>
          <p:spPr>
            <a:xfrm>
              <a:off x="6569547" y="4186978"/>
              <a:ext cx="1889080" cy="379728"/>
            </a:xfrm>
            <a:prstGeom prst="roundRect">
              <a:avLst>
                <a:gd name="adj" fmla="val 371"/>
              </a:avLst>
            </a:prstGeom>
            <a:solidFill>
              <a:srgbClr val="161828">
                <a:alpha val="80000"/>
              </a:srgbClr>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46" name="Google Shape;246;p25"/>
            <p:cNvSpPr/>
            <p:nvPr/>
          </p:nvSpPr>
          <p:spPr>
            <a:xfrm>
              <a:off x="684095" y="4180741"/>
              <a:ext cx="1892461" cy="385916"/>
            </a:xfrm>
            <a:prstGeom prst="roundRect">
              <a:avLst>
                <a:gd name="adj" fmla="val 371"/>
              </a:avLst>
            </a:prstGeom>
            <a:solidFill>
              <a:srgbClr val="161828">
                <a:alpha val="80000"/>
              </a:srgbClr>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cxnSp>
          <p:nvCxnSpPr>
            <p:cNvPr id="35" name="Google Shape;67;p15">
              <a:extLst>
                <a:ext uri="{FF2B5EF4-FFF2-40B4-BE49-F238E27FC236}">
                  <a16:creationId xmlns:a16="http://schemas.microsoft.com/office/drawing/2014/main" id="{D3AEE409-2C09-0B44-9722-66FE7D0E0553}"/>
                </a:ext>
                <a:ext uri="{C183D7F6-B498-43B3-948B-1728B52AA6E4}">
                  <adec:decorative xmlns:adec="http://schemas.microsoft.com/office/drawing/2017/decorative" val="1"/>
                </a:ext>
              </a:extLst>
            </p:cNvPr>
            <p:cNvCxnSpPr/>
            <p:nvPr/>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sp>
          <p:nvSpPr>
            <p:cNvPr id="32" name="Google Shape;261;p26">
              <a:extLst>
                <a:ext uri="{FF2B5EF4-FFF2-40B4-BE49-F238E27FC236}">
                  <a16:creationId xmlns:a16="http://schemas.microsoft.com/office/drawing/2014/main" id="{F4ACC8A5-BEBF-CE52-5438-EF2C0F9B123E}"/>
                </a:ext>
                <a:ext uri="{C183D7F6-B498-43B3-948B-1728B52AA6E4}">
                  <adec:decorative xmlns:adec="http://schemas.microsoft.com/office/drawing/2017/decorative" val="1"/>
                </a:ext>
              </a:extLst>
            </p:cNvPr>
            <p:cNvSpPr/>
            <p:nvPr/>
          </p:nvSpPr>
          <p:spPr>
            <a:xfrm rot="10800000">
              <a:off x="998900" y="0"/>
              <a:ext cx="73200" cy="128016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33" name="Google Shape;262;p26">
            <a:extLst>
              <a:ext uri="{FF2B5EF4-FFF2-40B4-BE49-F238E27FC236}">
                <a16:creationId xmlns:a16="http://schemas.microsoft.com/office/drawing/2014/main" id="{4CD789D4-8522-B2D3-95F4-34B3B0D7B268}"/>
              </a:ext>
            </a:extLst>
          </p:cNvPr>
          <p:cNvSpPr txBox="1">
            <a:spLocks noGrp="1"/>
          </p:cNvSpPr>
          <p:nvPr>
            <p:ph type="title"/>
          </p:nvPr>
        </p:nvSpPr>
        <p:spPr>
          <a:xfrm>
            <a:off x="1633734" y="91966"/>
            <a:ext cx="5364400" cy="1706881"/>
          </a:xfrm>
          <a:prstGeom prst="rect">
            <a:avLst/>
          </a:prstGeom>
        </p:spPr>
        <p:txBody>
          <a:bodyPr spcFirstLastPara="1" wrap="square" lIns="45700" tIns="18275" rIns="45700" bIns="18275" anchor="b"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41" name="Google Shape;241;p25"/>
          <p:cNvSpPr>
            <a:spLocks noGrp="1"/>
          </p:cNvSpPr>
          <p:nvPr>
            <p:ph type="pic" idx="2"/>
          </p:nvPr>
        </p:nvSpPr>
        <p:spPr>
          <a:xfrm>
            <a:off x="1060704" y="2092191"/>
            <a:ext cx="2206800" cy="2206800"/>
          </a:xfrm>
          <a:prstGeom prst="ellipse">
            <a:avLst/>
          </a:prstGeom>
          <a:noFill/>
          <a:ln>
            <a:noFill/>
          </a:ln>
        </p:spPr>
        <p:txBody>
          <a:bodyPr anchor="ctr"/>
          <a:lstStyle>
            <a:lvl1pPr marL="0" indent="0" algn="ctr">
              <a:buNone/>
              <a:defRPr b="0" i="0">
                <a:latin typeface="Helvetica" pitchFamily="2" charset="0"/>
              </a:defRPr>
            </a:lvl1pPr>
          </a:lstStyle>
          <a:p>
            <a:endParaRPr lang="en-US" dirty="0"/>
          </a:p>
        </p:txBody>
      </p:sp>
      <p:sp>
        <p:nvSpPr>
          <p:cNvPr id="240" name="Google Shape;240;p25"/>
          <p:cNvSpPr txBox="1">
            <a:spLocks noGrp="1"/>
          </p:cNvSpPr>
          <p:nvPr>
            <p:ph type="body" idx="1"/>
          </p:nvPr>
        </p:nvSpPr>
        <p:spPr>
          <a:xfrm>
            <a:off x="914400" y="4530591"/>
            <a:ext cx="2523600" cy="756000"/>
          </a:xfrm>
          <a:prstGeom prst="rect">
            <a:avLst/>
          </a:prstGeom>
        </p:spPr>
        <p:txBody>
          <a:bodyPr spcFirstLastPara="1" wrap="square" lIns="82275" tIns="18275" rIns="45700" bIns="18275" anchor="t" anchorCtr="0">
            <a:noAutofit/>
          </a:bodyPr>
          <a:lstStyle>
            <a:lvl1pPr marL="0" lvl="0" indent="0" algn="ctr">
              <a:lnSpc>
                <a:spcPct val="100000"/>
              </a:lnSpc>
              <a:spcBef>
                <a:spcPts val="0"/>
              </a:spcBef>
              <a:spcAft>
                <a:spcPts val="0"/>
              </a:spcAft>
              <a:buClr>
                <a:schemeClr val="lt1"/>
              </a:buClr>
              <a:buSzPts val="1100"/>
              <a:buNone/>
              <a:defRPr sz="1464" b="0" i="0">
                <a:solidFill>
                  <a:schemeClr val="lt1"/>
                </a:solidFill>
                <a:latin typeface="Helvetica" pitchFamily="2" charset="0"/>
              </a:defRPr>
            </a:lvl1pPr>
            <a:lvl2pPr marL="1217295" lvl="1" indent="-397312">
              <a:lnSpc>
                <a:spcPct val="100000"/>
              </a:lnSpc>
              <a:spcBef>
                <a:spcPts val="0"/>
              </a:spcBef>
              <a:spcAft>
                <a:spcPts val="0"/>
              </a:spcAft>
              <a:buClr>
                <a:schemeClr val="lt1"/>
              </a:buClr>
              <a:buSzPts val="1100"/>
              <a:buChar char="○"/>
              <a:defRPr sz="1464">
                <a:solidFill>
                  <a:schemeClr val="lt1"/>
                </a:solidFill>
              </a:defRPr>
            </a:lvl2pPr>
            <a:lvl3pPr marL="1825943" lvl="2" indent="-397312">
              <a:lnSpc>
                <a:spcPct val="100000"/>
              </a:lnSpc>
              <a:spcBef>
                <a:spcPts val="0"/>
              </a:spcBef>
              <a:spcAft>
                <a:spcPts val="0"/>
              </a:spcAft>
              <a:buClr>
                <a:schemeClr val="lt1"/>
              </a:buClr>
              <a:buSzPts val="1100"/>
              <a:buChar char="■"/>
              <a:defRPr sz="1464">
                <a:solidFill>
                  <a:schemeClr val="lt1"/>
                </a:solidFill>
              </a:defRPr>
            </a:lvl3pPr>
            <a:lvl4pPr marL="2434590" lvl="3" indent="-397312">
              <a:lnSpc>
                <a:spcPct val="100000"/>
              </a:lnSpc>
              <a:spcBef>
                <a:spcPts val="0"/>
              </a:spcBef>
              <a:spcAft>
                <a:spcPts val="0"/>
              </a:spcAft>
              <a:buClr>
                <a:schemeClr val="lt1"/>
              </a:buClr>
              <a:buSzPts val="1100"/>
              <a:buChar char="●"/>
              <a:defRPr sz="1464">
                <a:solidFill>
                  <a:schemeClr val="lt1"/>
                </a:solidFill>
              </a:defRPr>
            </a:lvl4pPr>
            <a:lvl5pPr marL="3043238" lvl="4" indent="-397312">
              <a:lnSpc>
                <a:spcPct val="100000"/>
              </a:lnSpc>
              <a:spcBef>
                <a:spcPts val="0"/>
              </a:spcBef>
              <a:spcAft>
                <a:spcPts val="0"/>
              </a:spcAft>
              <a:buClr>
                <a:schemeClr val="lt1"/>
              </a:buClr>
              <a:buSzPts val="1100"/>
              <a:buChar char="○"/>
              <a:defRPr sz="1464">
                <a:solidFill>
                  <a:schemeClr val="lt1"/>
                </a:solidFill>
              </a:defRPr>
            </a:lvl5pPr>
            <a:lvl6pPr marL="3651885" lvl="5" indent="-397312">
              <a:lnSpc>
                <a:spcPct val="100000"/>
              </a:lnSpc>
              <a:spcBef>
                <a:spcPts val="0"/>
              </a:spcBef>
              <a:spcAft>
                <a:spcPts val="0"/>
              </a:spcAft>
              <a:buClr>
                <a:schemeClr val="lt1"/>
              </a:buClr>
              <a:buSzPts val="1100"/>
              <a:buChar char="■"/>
              <a:defRPr sz="1464">
                <a:solidFill>
                  <a:schemeClr val="lt1"/>
                </a:solidFill>
              </a:defRPr>
            </a:lvl6pPr>
            <a:lvl7pPr marL="4260533" lvl="6" indent="-397312">
              <a:lnSpc>
                <a:spcPct val="100000"/>
              </a:lnSpc>
              <a:spcBef>
                <a:spcPts val="0"/>
              </a:spcBef>
              <a:spcAft>
                <a:spcPts val="0"/>
              </a:spcAft>
              <a:buClr>
                <a:schemeClr val="lt1"/>
              </a:buClr>
              <a:buSzPts val="1100"/>
              <a:buChar char="●"/>
              <a:defRPr sz="1464">
                <a:solidFill>
                  <a:schemeClr val="lt1"/>
                </a:solidFill>
              </a:defRPr>
            </a:lvl7pPr>
            <a:lvl8pPr marL="4869180" lvl="7" indent="-397312">
              <a:lnSpc>
                <a:spcPct val="100000"/>
              </a:lnSpc>
              <a:spcBef>
                <a:spcPts val="0"/>
              </a:spcBef>
              <a:spcAft>
                <a:spcPts val="0"/>
              </a:spcAft>
              <a:buClr>
                <a:schemeClr val="lt1"/>
              </a:buClr>
              <a:buSzPts val="1100"/>
              <a:buChar char="○"/>
              <a:defRPr sz="1464">
                <a:solidFill>
                  <a:schemeClr val="lt1"/>
                </a:solidFill>
              </a:defRPr>
            </a:lvl8pPr>
            <a:lvl9pPr marL="5477828" lvl="8" indent="-397312">
              <a:lnSpc>
                <a:spcPct val="100000"/>
              </a:lnSpc>
              <a:spcBef>
                <a:spcPts val="0"/>
              </a:spcBef>
              <a:spcAft>
                <a:spcPts val="0"/>
              </a:spcAft>
              <a:buClr>
                <a:schemeClr val="lt1"/>
              </a:buClr>
              <a:buSzPts val="1100"/>
              <a:buChar char="■"/>
              <a:defRPr sz="1464">
                <a:solidFill>
                  <a:schemeClr val="lt1"/>
                </a:solidFill>
              </a:defRPr>
            </a:lvl9pPr>
          </a:lstStyle>
          <a:p>
            <a:endParaRPr dirty="0"/>
          </a:p>
        </p:txBody>
      </p:sp>
      <p:pic>
        <p:nvPicPr>
          <p:cNvPr id="247" name="Google Shape;247;p25" descr="LinkedIn logo"/>
          <p:cNvPicPr preferRelativeResize="0"/>
          <p:nvPr/>
        </p:nvPicPr>
        <p:blipFill rotWithShape="1">
          <a:blip r:embed="rId4">
            <a:alphaModFix/>
          </a:blip>
          <a:srcRect/>
          <a:stretch/>
        </p:blipFill>
        <p:spPr>
          <a:xfrm>
            <a:off x="1065437" y="5733397"/>
            <a:ext cx="202134" cy="201833"/>
          </a:xfrm>
          <a:prstGeom prst="rect">
            <a:avLst/>
          </a:prstGeom>
          <a:noFill/>
          <a:ln>
            <a:noFill/>
          </a:ln>
        </p:spPr>
      </p:pic>
      <p:sp>
        <p:nvSpPr>
          <p:cNvPr id="248" name="Google Shape;248;p25"/>
          <p:cNvSpPr txBox="1">
            <a:spLocks noGrp="1"/>
          </p:cNvSpPr>
          <p:nvPr>
            <p:ph type="body" idx="6"/>
          </p:nvPr>
        </p:nvSpPr>
        <p:spPr>
          <a:xfrm>
            <a:off x="1377696" y="5713214"/>
            <a:ext cx="19140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0" i="0">
                <a:solidFill>
                  <a:schemeClr val="lt1"/>
                </a:solidFill>
                <a:latin typeface="Helvetica" pitchFamily="2" charset="0"/>
              </a:defRPr>
            </a:lvl1pPr>
            <a:lvl2pPr marL="1217295" lvl="1" indent="-371951" rtl="0">
              <a:spcBef>
                <a:spcPts val="0"/>
              </a:spcBef>
              <a:spcAft>
                <a:spcPts val="0"/>
              </a:spcAft>
              <a:buClr>
                <a:schemeClr val="lt1"/>
              </a:buClr>
              <a:buSzPts val="800"/>
              <a:buChar char="○"/>
              <a:defRPr sz="1065">
                <a:solidFill>
                  <a:schemeClr val="lt1"/>
                </a:solidFill>
              </a:defRPr>
            </a:lvl2pPr>
            <a:lvl3pPr marL="1825943" lvl="2" indent="-371951" rtl="0">
              <a:spcBef>
                <a:spcPts val="0"/>
              </a:spcBef>
              <a:spcAft>
                <a:spcPts val="0"/>
              </a:spcAft>
              <a:buClr>
                <a:schemeClr val="lt1"/>
              </a:buClr>
              <a:buSzPts val="800"/>
              <a:buChar char="■"/>
              <a:defRPr sz="1065">
                <a:solidFill>
                  <a:schemeClr val="lt1"/>
                </a:solidFill>
              </a:defRPr>
            </a:lvl3pPr>
            <a:lvl4pPr marL="2434590" lvl="3" indent="-371951" rtl="0">
              <a:spcBef>
                <a:spcPts val="0"/>
              </a:spcBef>
              <a:spcAft>
                <a:spcPts val="0"/>
              </a:spcAft>
              <a:buClr>
                <a:schemeClr val="lt1"/>
              </a:buClr>
              <a:buSzPts val="800"/>
              <a:buChar char="●"/>
              <a:defRPr sz="1065">
                <a:solidFill>
                  <a:schemeClr val="lt1"/>
                </a:solidFill>
              </a:defRPr>
            </a:lvl4pPr>
            <a:lvl5pPr marL="3043238" lvl="4" indent="-371951" rtl="0">
              <a:spcBef>
                <a:spcPts val="0"/>
              </a:spcBef>
              <a:spcAft>
                <a:spcPts val="0"/>
              </a:spcAft>
              <a:buClr>
                <a:schemeClr val="lt1"/>
              </a:buClr>
              <a:buSzPts val="800"/>
              <a:buChar char="○"/>
              <a:defRPr sz="1065">
                <a:solidFill>
                  <a:schemeClr val="lt1"/>
                </a:solidFill>
              </a:defRPr>
            </a:lvl5pPr>
            <a:lvl6pPr marL="3651885" lvl="5" indent="-371951" rtl="0">
              <a:spcBef>
                <a:spcPts val="0"/>
              </a:spcBef>
              <a:spcAft>
                <a:spcPts val="0"/>
              </a:spcAft>
              <a:buClr>
                <a:schemeClr val="lt1"/>
              </a:buClr>
              <a:buSzPts val="800"/>
              <a:buChar char="■"/>
              <a:defRPr sz="1065">
                <a:solidFill>
                  <a:schemeClr val="lt1"/>
                </a:solidFill>
              </a:defRPr>
            </a:lvl6pPr>
            <a:lvl7pPr marL="4260533" lvl="6" indent="-371951" rtl="0">
              <a:spcBef>
                <a:spcPts val="0"/>
              </a:spcBef>
              <a:spcAft>
                <a:spcPts val="0"/>
              </a:spcAft>
              <a:buClr>
                <a:schemeClr val="lt1"/>
              </a:buClr>
              <a:buSzPts val="800"/>
              <a:buChar char="●"/>
              <a:defRPr sz="1065">
                <a:solidFill>
                  <a:schemeClr val="lt1"/>
                </a:solidFill>
              </a:defRPr>
            </a:lvl7pPr>
            <a:lvl8pPr marL="4869180" lvl="7" indent="-371951" rtl="0">
              <a:spcBef>
                <a:spcPts val="0"/>
              </a:spcBef>
              <a:spcAft>
                <a:spcPts val="0"/>
              </a:spcAft>
              <a:buClr>
                <a:schemeClr val="lt1"/>
              </a:buClr>
              <a:buSzPts val="800"/>
              <a:buChar char="○"/>
              <a:defRPr sz="1065">
                <a:solidFill>
                  <a:schemeClr val="lt1"/>
                </a:solidFill>
              </a:defRPr>
            </a:lvl8pPr>
            <a:lvl9pPr marL="5477828" lvl="8" indent="-371951" rtl="0">
              <a:spcBef>
                <a:spcPts val="0"/>
              </a:spcBef>
              <a:spcAft>
                <a:spcPts val="0"/>
              </a:spcAft>
              <a:buClr>
                <a:schemeClr val="lt1"/>
              </a:buClr>
              <a:buSzPts val="800"/>
              <a:buChar char="■"/>
              <a:defRPr sz="1065">
                <a:solidFill>
                  <a:schemeClr val="lt1"/>
                </a:solidFill>
              </a:defRPr>
            </a:lvl9pPr>
          </a:lstStyle>
          <a:p>
            <a:endParaRPr dirty="0"/>
          </a:p>
        </p:txBody>
      </p:sp>
      <p:sp>
        <p:nvSpPr>
          <p:cNvPr id="29" name="Google Shape;241;p25">
            <a:extLst>
              <a:ext uri="{FF2B5EF4-FFF2-40B4-BE49-F238E27FC236}">
                <a16:creationId xmlns:a16="http://schemas.microsoft.com/office/drawing/2014/main" id="{142531D6-B640-1B4A-ACA4-7F77C49FF2CB}"/>
              </a:ext>
            </a:extLst>
          </p:cNvPr>
          <p:cNvSpPr>
            <a:spLocks noGrp="1"/>
          </p:cNvSpPr>
          <p:nvPr>
            <p:ph type="pic" idx="16"/>
          </p:nvPr>
        </p:nvSpPr>
        <p:spPr>
          <a:xfrm>
            <a:off x="3688941" y="2092191"/>
            <a:ext cx="2206800" cy="2206800"/>
          </a:xfrm>
          <a:prstGeom prst="ellipse">
            <a:avLst/>
          </a:prstGeom>
          <a:noFill/>
          <a:ln>
            <a:noFill/>
          </a:ln>
        </p:spPr>
        <p:txBody>
          <a:bodyPr anchor="ctr"/>
          <a:lstStyle>
            <a:lvl1pPr marL="0" indent="0" algn="ctr">
              <a:buNone/>
              <a:defRPr b="0" i="0">
                <a:latin typeface="Helvetica" pitchFamily="2" charset="0"/>
              </a:defRPr>
            </a:lvl1pPr>
          </a:lstStyle>
          <a:p>
            <a:endParaRPr lang="en-US" dirty="0"/>
          </a:p>
        </p:txBody>
      </p:sp>
      <p:sp>
        <p:nvSpPr>
          <p:cNvPr id="252" name="Google Shape;252;p25"/>
          <p:cNvSpPr txBox="1">
            <a:spLocks noGrp="1"/>
          </p:cNvSpPr>
          <p:nvPr>
            <p:ph type="body" idx="13"/>
          </p:nvPr>
        </p:nvSpPr>
        <p:spPr>
          <a:xfrm>
            <a:off x="3535680" y="4530591"/>
            <a:ext cx="2523600" cy="756000"/>
          </a:xfrm>
          <a:prstGeom prst="rect">
            <a:avLst/>
          </a:prstGeom>
        </p:spPr>
        <p:txBody>
          <a:bodyPr spcFirstLastPara="1" wrap="square" lIns="82275" tIns="18275" rIns="45700" bIns="18275" anchor="t" anchorCtr="0">
            <a:noAutofit/>
          </a:bodyPr>
          <a:lstStyle>
            <a:lvl1pPr marL="0" lvl="0" indent="0" algn="ctr" rtl="0">
              <a:lnSpc>
                <a:spcPct val="100000"/>
              </a:lnSpc>
              <a:spcBef>
                <a:spcPts val="0"/>
              </a:spcBef>
              <a:spcAft>
                <a:spcPts val="0"/>
              </a:spcAft>
              <a:buClr>
                <a:schemeClr val="lt1"/>
              </a:buClr>
              <a:buSzPts val="1100"/>
              <a:buNone/>
              <a:defRPr sz="1464" b="0" i="0">
                <a:solidFill>
                  <a:schemeClr val="lt1"/>
                </a:solidFill>
                <a:latin typeface="Helvetica" pitchFamily="2" charset="0"/>
              </a:defRPr>
            </a:lvl1pPr>
            <a:lvl2pPr marL="1217295" lvl="1" indent="-397312" rtl="0">
              <a:lnSpc>
                <a:spcPct val="100000"/>
              </a:lnSpc>
              <a:spcBef>
                <a:spcPts val="0"/>
              </a:spcBef>
              <a:spcAft>
                <a:spcPts val="0"/>
              </a:spcAft>
              <a:buClr>
                <a:schemeClr val="lt1"/>
              </a:buClr>
              <a:buSzPts val="1100"/>
              <a:buChar char="○"/>
              <a:defRPr sz="1464">
                <a:solidFill>
                  <a:schemeClr val="lt1"/>
                </a:solidFill>
              </a:defRPr>
            </a:lvl2pPr>
            <a:lvl3pPr marL="1825943" lvl="2" indent="-397312" rtl="0">
              <a:lnSpc>
                <a:spcPct val="100000"/>
              </a:lnSpc>
              <a:spcBef>
                <a:spcPts val="0"/>
              </a:spcBef>
              <a:spcAft>
                <a:spcPts val="0"/>
              </a:spcAft>
              <a:buClr>
                <a:schemeClr val="lt1"/>
              </a:buClr>
              <a:buSzPts val="1100"/>
              <a:buChar char="■"/>
              <a:defRPr sz="1464">
                <a:solidFill>
                  <a:schemeClr val="lt1"/>
                </a:solidFill>
              </a:defRPr>
            </a:lvl3pPr>
            <a:lvl4pPr marL="2434590" lvl="3" indent="-397312" rtl="0">
              <a:lnSpc>
                <a:spcPct val="100000"/>
              </a:lnSpc>
              <a:spcBef>
                <a:spcPts val="0"/>
              </a:spcBef>
              <a:spcAft>
                <a:spcPts val="0"/>
              </a:spcAft>
              <a:buClr>
                <a:schemeClr val="lt1"/>
              </a:buClr>
              <a:buSzPts val="1100"/>
              <a:buChar char="●"/>
              <a:defRPr sz="1464">
                <a:solidFill>
                  <a:schemeClr val="lt1"/>
                </a:solidFill>
              </a:defRPr>
            </a:lvl4pPr>
            <a:lvl5pPr marL="3043238" lvl="4" indent="-397312" rtl="0">
              <a:lnSpc>
                <a:spcPct val="100000"/>
              </a:lnSpc>
              <a:spcBef>
                <a:spcPts val="0"/>
              </a:spcBef>
              <a:spcAft>
                <a:spcPts val="0"/>
              </a:spcAft>
              <a:buClr>
                <a:schemeClr val="lt1"/>
              </a:buClr>
              <a:buSzPts val="1100"/>
              <a:buChar char="○"/>
              <a:defRPr sz="1464">
                <a:solidFill>
                  <a:schemeClr val="lt1"/>
                </a:solidFill>
              </a:defRPr>
            </a:lvl5pPr>
            <a:lvl6pPr marL="3651885" lvl="5" indent="-397312" rtl="0">
              <a:lnSpc>
                <a:spcPct val="100000"/>
              </a:lnSpc>
              <a:spcBef>
                <a:spcPts val="0"/>
              </a:spcBef>
              <a:spcAft>
                <a:spcPts val="0"/>
              </a:spcAft>
              <a:buClr>
                <a:schemeClr val="lt1"/>
              </a:buClr>
              <a:buSzPts val="1100"/>
              <a:buChar char="■"/>
              <a:defRPr sz="1464">
                <a:solidFill>
                  <a:schemeClr val="lt1"/>
                </a:solidFill>
              </a:defRPr>
            </a:lvl6pPr>
            <a:lvl7pPr marL="4260533" lvl="6" indent="-397312" rtl="0">
              <a:lnSpc>
                <a:spcPct val="100000"/>
              </a:lnSpc>
              <a:spcBef>
                <a:spcPts val="0"/>
              </a:spcBef>
              <a:spcAft>
                <a:spcPts val="0"/>
              </a:spcAft>
              <a:buClr>
                <a:schemeClr val="lt1"/>
              </a:buClr>
              <a:buSzPts val="1100"/>
              <a:buChar char="●"/>
              <a:defRPr sz="1464">
                <a:solidFill>
                  <a:schemeClr val="lt1"/>
                </a:solidFill>
              </a:defRPr>
            </a:lvl7pPr>
            <a:lvl8pPr marL="4869180" lvl="7" indent="-397312" rtl="0">
              <a:lnSpc>
                <a:spcPct val="100000"/>
              </a:lnSpc>
              <a:spcBef>
                <a:spcPts val="0"/>
              </a:spcBef>
              <a:spcAft>
                <a:spcPts val="0"/>
              </a:spcAft>
              <a:buClr>
                <a:schemeClr val="lt1"/>
              </a:buClr>
              <a:buSzPts val="1100"/>
              <a:buChar char="○"/>
              <a:defRPr sz="1464">
                <a:solidFill>
                  <a:schemeClr val="lt1"/>
                </a:solidFill>
              </a:defRPr>
            </a:lvl8pPr>
            <a:lvl9pPr marL="5477828" lvl="8" indent="-397312" rtl="0">
              <a:lnSpc>
                <a:spcPct val="100000"/>
              </a:lnSpc>
              <a:spcBef>
                <a:spcPts val="0"/>
              </a:spcBef>
              <a:spcAft>
                <a:spcPts val="0"/>
              </a:spcAft>
              <a:buClr>
                <a:schemeClr val="lt1"/>
              </a:buClr>
              <a:buSzPts val="1100"/>
              <a:buChar char="■"/>
              <a:defRPr sz="1464">
                <a:solidFill>
                  <a:schemeClr val="lt1"/>
                </a:solidFill>
              </a:defRPr>
            </a:lvl9pPr>
          </a:lstStyle>
          <a:p>
            <a:endParaRPr dirty="0"/>
          </a:p>
        </p:txBody>
      </p:sp>
      <p:pic>
        <p:nvPicPr>
          <p:cNvPr id="235" name="Google Shape;235;p25" descr="LinkedIn logo"/>
          <p:cNvPicPr preferRelativeResize="0"/>
          <p:nvPr/>
        </p:nvPicPr>
        <p:blipFill rotWithShape="1">
          <a:blip r:embed="rId4">
            <a:alphaModFix/>
          </a:blip>
          <a:srcRect/>
          <a:stretch/>
        </p:blipFill>
        <p:spPr>
          <a:xfrm>
            <a:off x="3671795" y="5736100"/>
            <a:ext cx="202134" cy="201833"/>
          </a:xfrm>
          <a:prstGeom prst="rect">
            <a:avLst/>
          </a:prstGeom>
          <a:noFill/>
          <a:ln>
            <a:noFill/>
          </a:ln>
        </p:spPr>
      </p:pic>
      <p:sp>
        <p:nvSpPr>
          <p:cNvPr id="249" name="Google Shape;249;p25"/>
          <p:cNvSpPr txBox="1">
            <a:spLocks noGrp="1"/>
          </p:cNvSpPr>
          <p:nvPr>
            <p:ph type="body" idx="7"/>
          </p:nvPr>
        </p:nvSpPr>
        <p:spPr>
          <a:xfrm>
            <a:off x="3986784" y="5713214"/>
            <a:ext cx="19140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0" i="0">
                <a:solidFill>
                  <a:schemeClr val="lt1"/>
                </a:solidFill>
                <a:latin typeface="Helvetica" pitchFamily="2" charset="0"/>
              </a:defRPr>
            </a:lvl1pPr>
            <a:lvl2pPr marL="1217295" lvl="1" indent="-371951" rtl="0">
              <a:spcBef>
                <a:spcPts val="0"/>
              </a:spcBef>
              <a:spcAft>
                <a:spcPts val="0"/>
              </a:spcAft>
              <a:buClr>
                <a:schemeClr val="lt1"/>
              </a:buClr>
              <a:buSzPts val="800"/>
              <a:buChar char="○"/>
              <a:defRPr sz="1065">
                <a:solidFill>
                  <a:schemeClr val="lt1"/>
                </a:solidFill>
              </a:defRPr>
            </a:lvl2pPr>
            <a:lvl3pPr marL="1825943" lvl="2" indent="-371951" rtl="0">
              <a:spcBef>
                <a:spcPts val="0"/>
              </a:spcBef>
              <a:spcAft>
                <a:spcPts val="0"/>
              </a:spcAft>
              <a:buClr>
                <a:schemeClr val="lt1"/>
              </a:buClr>
              <a:buSzPts val="800"/>
              <a:buChar char="■"/>
              <a:defRPr sz="1065">
                <a:solidFill>
                  <a:schemeClr val="lt1"/>
                </a:solidFill>
              </a:defRPr>
            </a:lvl3pPr>
            <a:lvl4pPr marL="2434590" lvl="3" indent="-371951" rtl="0">
              <a:spcBef>
                <a:spcPts val="0"/>
              </a:spcBef>
              <a:spcAft>
                <a:spcPts val="0"/>
              </a:spcAft>
              <a:buClr>
                <a:schemeClr val="lt1"/>
              </a:buClr>
              <a:buSzPts val="800"/>
              <a:buChar char="●"/>
              <a:defRPr sz="1065">
                <a:solidFill>
                  <a:schemeClr val="lt1"/>
                </a:solidFill>
              </a:defRPr>
            </a:lvl4pPr>
            <a:lvl5pPr marL="3043238" lvl="4" indent="-371951" rtl="0">
              <a:spcBef>
                <a:spcPts val="0"/>
              </a:spcBef>
              <a:spcAft>
                <a:spcPts val="0"/>
              </a:spcAft>
              <a:buClr>
                <a:schemeClr val="lt1"/>
              </a:buClr>
              <a:buSzPts val="800"/>
              <a:buChar char="○"/>
              <a:defRPr sz="1065">
                <a:solidFill>
                  <a:schemeClr val="lt1"/>
                </a:solidFill>
              </a:defRPr>
            </a:lvl5pPr>
            <a:lvl6pPr marL="3651885" lvl="5" indent="-371951" rtl="0">
              <a:spcBef>
                <a:spcPts val="0"/>
              </a:spcBef>
              <a:spcAft>
                <a:spcPts val="0"/>
              </a:spcAft>
              <a:buClr>
                <a:schemeClr val="lt1"/>
              </a:buClr>
              <a:buSzPts val="800"/>
              <a:buChar char="■"/>
              <a:defRPr sz="1065">
                <a:solidFill>
                  <a:schemeClr val="lt1"/>
                </a:solidFill>
              </a:defRPr>
            </a:lvl6pPr>
            <a:lvl7pPr marL="4260533" lvl="6" indent="-371951" rtl="0">
              <a:spcBef>
                <a:spcPts val="0"/>
              </a:spcBef>
              <a:spcAft>
                <a:spcPts val="0"/>
              </a:spcAft>
              <a:buClr>
                <a:schemeClr val="lt1"/>
              </a:buClr>
              <a:buSzPts val="800"/>
              <a:buChar char="●"/>
              <a:defRPr sz="1065">
                <a:solidFill>
                  <a:schemeClr val="lt1"/>
                </a:solidFill>
              </a:defRPr>
            </a:lvl7pPr>
            <a:lvl8pPr marL="4869180" lvl="7" indent="-371951" rtl="0">
              <a:spcBef>
                <a:spcPts val="0"/>
              </a:spcBef>
              <a:spcAft>
                <a:spcPts val="0"/>
              </a:spcAft>
              <a:buClr>
                <a:schemeClr val="lt1"/>
              </a:buClr>
              <a:buSzPts val="800"/>
              <a:buChar char="○"/>
              <a:defRPr sz="1065">
                <a:solidFill>
                  <a:schemeClr val="lt1"/>
                </a:solidFill>
              </a:defRPr>
            </a:lvl8pPr>
            <a:lvl9pPr marL="5477828" lvl="8" indent="-371951" rtl="0">
              <a:spcBef>
                <a:spcPts val="0"/>
              </a:spcBef>
              <a:spcAft>
                <a:spcPts val="0"/>
              </a:spcAft>
              <a:buClr>
                <a:schemeClr val="lt1"/>
              </a:buClr>
              <a:buSzPts val="800"/>
              <a:buChar char="■"/>
              <a:defRPr sz="1065">
                <a:solidFill>
                  <a:schemeClr val="lt1"/>
                </a:solidFill>
              </a:defRPr>
            </a:lvl9pPr>
          </a:lstStyle>
          <a:p>
            <a:endParaRPr dirty="0"/>
          </a:p>
        </p:txBody>
      </p:sp>
      <p:sp>
        <p:nvSpPr>
          <p:cNvPr id="30" name="Google Shape;241;p25">
            <a:extLst>
              <a:ext uri="{FF2B5EF4-FFF2-40B4-BE49-F238E27FC236}">
                <a16:creationId xmlns:a16="http://schemas.microsoft.com/office/drawing/2014/main" id="{2C173A1D-BB63-5640-BB62-7AD820030C48}"/>
              </a:ext>
            </a:extLst>
          </p:cNvPr>
          <p:cNvSpPr>
            <a:spLocks noGrp="1"/>
          </p:cNvSpPr>
          <p:nvPr>
            <p:ph type="pic" idx="17"/>
          </p:nvPr>
        </p:nvSpPr>
        <p:spPr>
          <a:xfrm>
            <a:off x="6309802" y="2092191"/>
            <a:ext cx="2206800" cy="2206800"/>
          </a:xfrm>
          <a:prstGeom prst="ellipse">
            <a:avLst/>
          </a:prstGeom>
          <a:noFill/>
          <a:ln>
            <a:noFill/>
          </a:ln>
        </p:spPr>
        <p:txBody>
          <a:bodyPr anchor="ctr"/>
          <a:lstStyle>
            <a:lvl1pPr marL="0" indent="0" algn="ctr">
              <a:buNone/>
              <a:defRPr b="0" i="0">
                <a:latin typeface="Helvetica" pitchFamily="2" charset="0"/>
              </a:defRPr>
            </a:lvl1pPr>
          </a:lstStyle>
          <a:p>
            <a:endParaRPr lang="en-US" dirty="0"/>
          </a:p>
        </p:txBody>
      </p:sp>
      <p:sp>
        <p:nvSpPr>
          <p:cNvPr id="253" name="Google Shape;253;p25"/>
          <p:cNvSpPr txBox="1">
            <a:spLocks noGrp="1"/>
          </p:cNvSpPr>
          <p:nvPr>
            <p:ph type="body" idx="14"/>
          </p:nvPr>
        </p:nvSpPr>
        <p:spPr>
          <a:xfrm>
            <a:off x="6156960" y="4530591"/>
            <a:ext cx="2523600" cy="756000"/>
          </a:xfrm>
          <a:prstGeom prst="rect">
            <a:avLst/>
          </a:prstGeom>
        </p:spPr>
        <p:txBody>
          <a:bodyPr spcFirstLastPara="1" wrap="square" lIns="82275" tIns="18275" rIns="45700" bIns="18275" anchor="t" anchorCtr="0">
            <a:noAutofit/>
          </a:bodyPr>
          <a:lstStyle>
            <a:lvl1pPr marL="0" lvl="0" indent="0" algn="ctr" rtl="0">
              <a:lnSpc>
                <a:spcPct val="100000"/>
              </a:lnSpc>
              <a:spcBef>
                <a:spcPts val="0"/>
              </a:spcBef>
              <a:spcAft>
                <a:spcPts val="0"/>
              </a:spcAft>
              <a:buClr>
                <a:schemeClr val="lt1"/>
              </a:buClr>
              <a:buSzPts val="1100"/>
              <a:buNone/>
              <a:defRPr sz="1464" b="0" i="0">
                <a:solidFill>
                  <a:schemeClr val="lt1"/>
                </a:solidFill>
                <a:latin typeface="Helvetica" pitchFamily="2" charset="0"/>
              </a:defRPr>
            </a:lvl1pPr>
            <a:lvl2pPr marL="1217295" lvl="1" indent="-397312" rtl="0">
              <a:lnSpc>
                <a:spcPct val="100000"/>
              </a:lnSpc>
              <a:spcBef>
                <a:spcPts val="0"/>
              </a:spcBef>
              <a:spcAft>
                <a:spcPts val="0"/>
              </a:spcAft>
              <a:buClr>
                <a:schemeClr val="lt1"/>
              </a:buClr>
              <a:buSzPts val="1100"/>
              <a:buChar char="○"/>
              <a:defRPr sz="1464">
                <a:solidFill>
                  <a:schemeClr val="lt1"/>
                </a:solidFill>
              </a:defRPr>
            </a:lvl2pPr>
            <a:lvl3pPr marL="1825943" lvl="2" indent="-397312" rtl="0">
              <a:lnSpc>
                <a:spcPct val="100000"/>
              </a:lnSpc>
              <a:spcBef>
                <a:spcPts val="0"/>
              </a:spcBef>
              <a:spcAft>
                <a:spcPts val="0"/>
              </a:spcAft>
              <a:buClr>
                <a:schemeClr val="lt1"/>
              </a:buClr>
              <a:buSzPts val="1100"/>
              <a:buChar char="■"/>
              <a:defRPr sz="1464">
                <a:solidFill>
                  <a:schemeClr val="lt1"/>
                </a:solidFill>
              </a:defRPr>
            </a:lvl3pPr>
            <a:lvl4pPr marL="2434590" lvl="3" indent="-397312" rtl="0">
              <a:lnSpc>
                <a:spcPct val="100000"/>
              </a:lnSpc>
              <a:spcBef>
                <a:spcPts val="0"/>
              </a:spcBef>
              <a:spcAft>
                <a:spcPts val="0"/>
              </a:spcAft>
              <a:buClr>
                <a:schemeClr val="lt1"/>
              </a:buClr>
              <a:buSzPts val="1100"/>
              <a:buChar char="●"/>
              <a:defRPr sz="1464">
                <a:solidFill>
                  <a:schemeClr val="lt1"/>
                </a:solidFill>
              </a:defRPr>
            </a:lvl4pPr>
            <a:lvl5pPr marL="3043238" lvl="4" indent="-397312" rtl="0">
              <a:lnSpc>
                <a:spcPct val="100000"/>
              </a:lnSpc>
              <a:spcBef>
                <a:spcPts val="0"/>
              </a:spcBef>
              <a:spcAft>
                <a:spcPts val="0"/>
              </a:spcAft>
              <a:buClr>
                <a:schemeClr val="lt1"/>
              </a:buClr>
              <a:buSzPts val="1100"/>
              <a:buChar char="○"/>
              <a:defRPr sz="1464">
                <a:solidFill>
                  <a:schemeClr val="lt1"/>
                </a:solidFill>
              </a:defRPr>
            </a:lvl5pPr>
            <a:lvl6pPr marL="3651885" lvl="5" indent="-397312" rtl="0">
              <a:lnSpc>
                <a:spcPct val="100000"/>
              </a:lnSpc>
              <a:spcBef>
                <a:spcPts val="0"/>
              </a:spcBef>
              <a:spcAft>
                <a:spcPts val="0"/>
              </a:spcAft>
              <a:buClr>
                <a:schemeClr val="lt1"/>
              </a:buClr>
              <a:buSzPts val="1100"/>
              <a:buChar char="■"/>
              <a:defRPr sz="1464">
                <a:solidFill>
                  <a:schemeClr val="lt1"/>
                </a:solidFill>
              </a:defRPr>
            </a:lvl6pPr>
            <a:lvl7pPr marL="4260533" lvl="6" indent="-397312" rtl="0">
              <a:lnSpc>
                <a:spcPct val="100000"/>
              </a:lnSpc>
              <a:spcBef>
                <a:spcPts val="0"/>
              </a:spcBef>
              <a:spcAft>
                <a:spcPts val="0"/>
              </a:spcAft>
              <a:buClr>
                <a:schemeClr val="lt1"/>
              </a:buClr>
              <a:buSzPts val="1100"/>
              <a:buChar char="●"/>
              <a:defRPr sz="1464">
                <a:solidFill>
                  <a:schemeClr val="lt1"/>
                </a:solidFill>
              </a:defRPr>
            </a:lvl7pPr>
            <a:lvl8pPr marL="4869180" lvl="7" indent="-397312" rtl="0">
              <a:lnSpc>
                <a:spcPct val="100000"/>
              </a:lnSpc>
              <a:spcBef>
                <a:spcPts val="0"/>
              </a:spcBef>
              <a:spcAft>
                <a:spcPts val="0"/>
              </a:spcAft>
              <a:buClr>
                <a:schemeClr val="lt1"/>
              </a:buClr>
              <a:buSzPts val="1100"/>
              <a:buChar char="○"/>
              <a:defRPr sz="1464">
                <a:solidFill>
                  <a:schemeClr val="lt1"/>
                </a:solidFill>
              </a:defRPr>
            </a:lvl8pPr>
            <a:lvl9pPr marL="5477828" lvl="8" indent="-397312" rtl="0">
              <a:lnSpc>
                <a:spcPct val="100000"/>
              </a:lnSpc>
              <a:spcBef>
                <a:spcPts val="0"/>
              </a:spcBef>
              <a:spcAft>
                <a:spcPts val="0"/>
              </a:spcAft>
              <a:buClr>
                <a:schemeClr val="lt1"/>
              </a:buClr>
              <a:buSzPts val="1100"/>
              <a:buChar char="■"/>
              <a:defRPr sz="1464">
                <a:solidFill>
                  <a:schemeClr val="lt1"/>
                </a:solidFill>
              </a:defRPr>
            </a:lvl9pPr>
          </a:lstStyle>
          <a:p>
            <a:endParaRPr dirty="0"/>
          </a:p>
        </p:txBody>
      </p:sp>
      <p:pic>
        <p:nvPicPr>
          <p:cNvPr id="237" name="Google Shape;237;p25" descr="LinkedIn logo"/>
          <p:cNvPicPr preferRelativeResize="0"/>
          <p:nvPr/>
        </p:nvPicPr>
        <p:blipFill rotWithShape="1">
          <a:blip r:embed="rId4">
            <a:alphaModFix/>
          </a:blip>
          <a:srcRect/>
          <a:stretch/>
        </p:blipFill>
        <p:spPr>
          <a:xfrm>
            <a:off x="6291610" y="5739009"/>
            <a:ext cx="202134" cy="201833"/>
          </a:xfrm>
          <a:prstGeom prst="rect">
            <a:avLst/>
          </a:prstGeom>
          <a:noFill/>
          <a:ln>
            <a:noFill/>
          </a:ln>
        </p:spPr>
      </p:pic>
      <p:sp>
        <p:nvSpPr>
          <p:cNvPr id="250" name="Google Shape;250;p25"/>
          <p:cNvSpPr txBox="1">
            <a:spLocks noGrp="1"/>
          </p:cNvSpPr>
          <p:nvPr>
            <p:ph type="body" idx="8"/>
          </p:nvPr>
        </p:nvSpPr>
        <p:spPr>
          <a:xfrm>
            <a:off x="6608065" y="5713214"/>
            <a:ext cx="19140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0" i="0">
                <a:solidFill>
                  <a:schemeClr val="lt1"/>
                </a:solidFill>
                <a:latin typeface="Helvetica" pitchFamily="2" charset="0"/>
              </a:defRPr>
            </a:lvl1pPr>
            <a:lvl2pPr marL="1217295" lvl="1" indent="-371951" rtl="0">
              <a:spcBef>
                <a:spcPts val="0"/>
              </a:spcBef>
              <a:spcAft>
                <a:spcPts val="0"/>
              </a:spcAft>
              <a:buClr>
                <a:schemeClr val="lt1"/>
              </a:buClr>
              <a:buSzPts val="800"/>
              <a:buChar char="○"/>
              <a:defRPr sz="1065">
                <a:solidFill>
                  <a:schemeClr val="lt1"/>
                </a:solidFill>
              </a:defRPr>
            </a:lvl2pPr>
            <a:lvl3pPr marL="1825943" lvl="2" indent="-371951" rtl="0">
              <a:spcBef>
                <a:spcPts val="0"/>
              </a:spcBef>
              <a:spcAft>
                <a:spcPts val="0"/>
              </a:spcAft>
              <a:buClr>
                <a:schemeClr val="lt1"/>
              </a:buClr>
              <a:buSzPts val="800"/>
              <a:buChar char="■"/>
              <a:defRPr sz="1065">
                <a:solidFill>
                  <a:schemeClr val="lt1"/>
                </a:solidFill>
              </a:defRPr>
            </a:lvl3pPr>
            <a:lvl4pPr marL="2434590" lvl="3" indent="-371951" rtl="0">
              <a:spcBef>
                <a:spcPts val="0"/>
              </a:spcBef>
              <a:spcAft>
                <a:spcPts val="0"/>
              </a:spcAft>
              <a:buClr>
                <a:schemeClr val="lt1"/>
              </a:buClr>
              <a:buSzPts val="800"/>
              <a:buChar char="●"/>
              <a:defRPr sz="1065">
                <a:solidFill>
                  <a:schemeClr val="lt1"/>
                </a:solidFill>
              </a:defRPr>
            </a:lvl4pPr>
            <a:lvl5pPr marL="3043238" lvl="4" indent="-371951" rtl="0">
              <a:spcBef>
                <a:spcPts val="0"/>
              </a:spcBef>
              <a:spcAft>
                <a:spcPts val="0"/>
              </a:spcAft>
              <a:buClr>
                <a:schemeClr val="lt1"/>
              </a:buClr>
              <a:buSzPts val="800"/>
              <a:buChar char="○"/>
              <a:defRPr sz="1065">
                <a:solidFill>
                  <a:schemeClr val="lt1"/>
                </a:solidFill>
              </a:defRPr>
            </a:lvl5pPr>
            <a:lvl6pPr marL="3651885" lvl="5" indent="-371951" rtl="0">
              <a:spcBef>
                <a:spcPts val="0"/>
              </a:spcBef>
              <a:spcAft>
                <a:spcPts val="0"/>
              </a:spcAft>
              <a:buClr>
                <a:schemeClr val="lt1"/>
              </a:buClr>
              <a:buSzPts val="800"/>
              <a:buChar char="■"/>
              <a:defRPr sz="1065">
                <a:solidFill>
                  <a:schemeClr val="lt1"/>
                </a:solidFill>
              </a:defRPr>
            </a:lvl6pPr>
            <a:lvl7pPr marL="4260533" lvl="6" indent="-371951" rtl="0">
              <a:spcBef>
                <a:spcPts val="0"/>
              </a:spcBef>
              <a:spcAft>
                <a:spcPts val="0"/>
              </a:spcAft>
              <a:buClr>
                <a:schemeClr val="lt1"/>
              </a:buClr>
              <a:buSzPts val="800"/>
              <a:buChar char="●"/>
              <a:defRPr sz="1065">
                <a:solidFill>
                  <a:schemeClr val="lt1"/>
                </a:solidFill>
              </a:defRPr>
            </a:lvl7pPr>
            <a:lvl8pPr marL="4869180" lvl="7" indent="-371951" rtl="0">
              <a:spcBef>
                <a:spcPts val="0"/>
              </a:spcBef>
              <a:spcAft>
                <a:spcPts val="0"/>
              </a:spcAft>
              <a:buClr>
                <a:schemeClr val="lt1"/>
              </a:buClr>
              <a:buSzPts val="800"/>
              <a:buChar char="○"/>
              <a:defRPr sz="1065">
                <a:solidFill>
                  <a:schemeClr val="lt1"/>
                </a:solidFill>
              </a:defRPr>
            </a:lvl8pPr>
            <a:lvl9pPr marL="5477828" lvl="8" indent="-371951" rtl="0">
              <a:spcBef>
                <a:spcPts val="0"/>
              </a:spcBef>
              <a:spcAft>
                <a:spcPts val="0"/>
              </a:spcAft>
              <a:buClr>
                <a:schemeClr val="lt1"/>
              </a:buClr>
              <a:buSzPts val="800"/>
              <a:buChar char="■"/>
              <a:defRPr sz="1065">
                <a:solidFill>
                  <a:schemeClr val="lt1"/>
                </a:solidFill>
              </a:defRPr>
            </a:lvl9pPr>
          </a:lstStyle>
          <a:p>
            <a:endParaRPr dirty="0"/>
          </a:p>
        </p:txBody>
      </p:sp>
      <p:sp>
        <p:nvSpPr>
          <p:cNvPr id="31" name="Google Shape;241;p25">
            <a:extLst>
              <a:ext uri="{FF2B5EF4-FFF2-40B4-BE49-F238E27FC236}">
                <a16:creationId xmlns:a16="http://schemas.microsoft.com/office/drawing/2014/main" id="{A8662F1C-F639-0647-953E-6AF9B3C4E108}"/>
              </a:ext>
            </a:extLst>
          </p:cNvPr>
          <p:cNvSpPr>
            <a:spLocks noGrp="1"/>
          </p:cNvSpPr>
          <p:nvPr>
            <p:ph type="pic" idx="18"/>
          </p:nvPr>
        </p:nvSpPr>
        <p:spPr>
          <a:xfrm>
            <a:off x="8915350" y="2092191"/>
            <a:ext cx="2206800" cy="2206800"/>
          </a:xfrm>
          <a:prstGeom prst="ellipse">
            <a:avLst/>
          </a:prstGeom>
          <a:noFill/>
          <a:ln>
            <a:noFill/>
          </a:ln>
        </p:spPr>
        <p:txBody>
          <a:bodyPr anchor="ctr"/>
          <a:lstStyle>
            <a:lvl1pPr marL="0" indent="0" algn="ctr">
              <a:buNone/>
              <a:defRPr b="0" i="0">
                <a:latin typeface="Helvetica" pitchFamily="2" charset="0"/>
              </a:defRPr>
            </a:lvl1pPr>
          </a:lstStyle>
          <a:p>
            <a:endParaRPr lang="en-US" dirty="0"/>
          </a:p>
        </p:txBody>
      </p:sp>
      <p:sp>
        <p:nvSpPr>
          <p:cNvPr id="254" name="Google Shape;254;p25"/>
          <p:cNvSpPr txBox="1">
            <a:spLocks noGrp="1"/>
          </p:cNvSpPr>
          <p:nvPr>
            <p:ph type="body" idx="15"/>
          </p:nvPr>
        </p:nvSpPr>
        <p:spPr>
          <a:xfrm>
            <a:off x="8778240" y="4530591"/>
            <a:ext cx="2523600" cy="756000"/>
          </a:xfrm>
          <a:prstGeom prst="rect">
            <a:avLst/>
          </a:prstGeom>
        </p:spPr>
        <p:txBody>
          <a:bodyPr spcFirstLastPara="1" wrap="square" lIns="82275" tIns="18275" rIns="45700" bIns="18275" anchor="t" anchorCtr="0">
            <a:noAutofit/>
          </a:bodyPr>
          <a:lstStyle>
            <a:lvl1pPr marL="0" lvl="0" indent="0" algn="ctr" rtl="0">
              <a:lnSpc>
                <a:spcPct val="100000"/>
              </a:lnSpc>
              <a:spcBef>
                <a:spcPts val="0"/>
              </a:spcBef>
              <a:spcAft>
                <a:spcPts val="0"/>
              </a:spcAft>
              <a:buClr>
                <a:schemeClr val="lt1"/>
              </a:buClr>
              <a:buSzPts val="1100"/>
              <a:buNone/>
              <a:defRPr sz="1464" b="0" i="0">
                <a:solidFill>
                  <a:schemeClr val="lt1"/>
                </a:solidFill>
                <a:latin typeface="Helvetica" pitchFamily="2" charset="0"/>
              </a:defRPr>
            </a:lvl1pPr>
            <a:lvl2pPr marL="1217295" lvl="1" indent="-397312" rtl="0">
              <a:lnSpc>
                <a:spcPct val="100000"/>
              </a:lnSpc>
              <a:spcBef>
                <a:spcPts val="0"/>
              </a:spcBef>
              <a:spcAft>
                <a:spcPts val="0"/>
              </a:spcAft>
              <a:buClr>
                <a:schemeClr val="lt1"/>
              </a:buClr>
              <a:buSzPts val="1100"/>
              <a:buChar char="○"/>
              <a:defRPr sz="1464">
                <a:solidFill>
                  <a:schemeClr val="lt1"/>
                </a:solidFill>
              </a:defRPr>
            </a:lvl2pPr>
            <a:lvl3pPr marL="1825943" lvl="2" indent="-397312" rtl="0">
              <a:lnSpc>
                <a:spcPct val="100000"/>
              </a:lnSpc>
              <a:spcBef>
                <a:spcPts val="0"/>
              </a:spcBef>
              <a:spcAft>
                <a:spcPts val="0"/>
              </a:spcAft>
              <a:buClr>
                <a:schemeClr val="lt1"/>
              </a:buClr>
              <a:buSzPts val="1100"/>
              <a:buChar char="■"/>
              <a:defRPr sz="1464">
                <a:solidFill>
                  <a:schemeClr val="lt1"/>
                </a:solidFill>
              </a:defRPr>
            </a:lvl3pPr>
            <a:lvl4pPr marL="2434590" lvl="3" indent="-397312" rtl="0">
              <a:lnSpc>
                <a:spcPct val="100000"/>
              </a:lnSpc>
              <a:spcBef>
                <a:spcPts val="0"/>
              </a:spcBef>
              <a:spcAft>
                <a:spcPts val="0"/>
              </a:spcAft>
              <a:buClr>
                <a:schemeClr val="lt1"/>
              </a:buClr>
              <a:buSzPts val="1100"/>
              <a:buChar char="●"/>
              <a:defRPr sz="1464">
                <a:solidFill>
                  <a:schemeClr val="lt1"/>
                </a:solidFill>
              </a:defRPr>
            </a:lvl4pPr>
            <a:lvl5pPr marL="3043238" lvl="4" indent="-397312" rtl="0">
              <a:lnSpc>
                <a:spcPct val="100000"/>
              </a:lnSpc>
              <a:spcBef>
                <a:spcPts val="0"/>
              </a:spcBef>
              <a:spcAft>
                <a:spcPts val="0"/>
              </a:spcAft>
              <a:buClr>
                <a:schemeClr val="lt1"/>
              </a:buClr>
              <a:buSzPts val="1100"/>
              <a:buChar char="○"/>
              <a:defRPr sz="1464">
                <a:solidFill>
                  <a:schemeClr val="lt1"/>
                </a:solidFill>
              </a:defRPr>
            </a:lvl5pPr>
            <a:lvl6pPr marL="3651885" lvl="5" indent="-397312" rtl="0">
              <a:lnSpc>
                <a:spcPct val="100000"/>
              </a:lnSpc>
              <a:spcBef>
                <a:spcPts val="0"/>
              </a:spcBef>
              <a:spcAft>
                <a:spcPts val="0"/>
              </a:spcAft>
              <a:buClr>
                <a:schemeClr val="lt1"/>
              </a:buClr>
              <a:buSzPts val="1100"/>
              <a:buChar char="■"/>
              <a:defRPr sz="1464">
                <a:solidFill>
                  <a:schemeClr val="lt1"/>
                </a:solidFill>
              </a:defRPr>
            </a:lvl6pPr>
            <a:lvl7pPr marL="4260533" lvl="6" indent="-397312" rtl="0">
              <a:lnSpc>
                <a:spcPct val="100000"/>
              </a:lnSpc>
              <a:spcBef>
                <a:spcPts val="0"/>
              </a:spcBef>
              <a:spcAft>
                <a:spcPts val="0"/>
              </a:spcAft>
              <a:buClr>
                <a:schemeClr val="lt1"/>
              </a:buClr>
              <a:buSzPts val="1100"/>
              <a:buChar char="●"/>
              <a:defRPr sz="1464">
                <a:solidFill>
                  <a:schemeClr val="lt1"/>
                </a:solidFill>
              </a:defRPr>
            </a:lvl7pPr>
            <a:lvl8pPr marL="4869180" lvl="7" indent="-397312" rtl="0">
              <a:lnSpc>
                <a:spcPct val="100000"/>
              </a:lnSpc>
              <a:spcBef>
                <a:spcPts val="0"/>
              </a:spcBef>
              <a:spcAft>
                <a:spcPts val="0"/>
              </a:spcAft>
              <a:buClr>
                <a:schemeClr val="lt1"/>
              </a:buClr>
              <a:buSzPts val="1100"/>
              <a:buChar char="○"/>
              <a:defRPr sz="1464">
                <a:solidFill>
                  <a:schemeClr val="lt1"/>
                </a:solidFill>
              </a:defRPr>
            </a:lvl8pPr>
            <a:lvl9pPr marL="5477828" lvl="8" indent="-397312" rtl="0">
              <a:lnSpc>
                <a:spcPct val="100000"/>
              </a:lnSpc>
              <a:spcBef>
                <a:spcPts val="0"/>
              </a:spcBef>
              <a:spcAft>
                <a:spcPts val="0"/>
              </a:spcAft>
              <a:buClr>
                <a:schemeClr val="lt1"/>
              </a:buClr>
              <a:buSzPts val="1100"/>
              <a:buChar char="■"/>
              <a:defRPr sz="1464">
                <a:solidFill>
                  <a:schemeClr val="lt1"/>
                </a:solidFill>
              </a:defRPr>
            </a:lvl9pPr>
          </a:lstStyle>
          <a:p>
            <a:endParaRPr dirty="0"/>
          </a:p>
        </p:txBody>
      </p:sp>
      <p:pic>
        <p:nvPicPr>
          <p:cNvPr id="239" name="Google Shape;239;p25" descr="LinkedIn logo"/>
          <p:cNvPicPr preferRelativeResize="0"/>
          <p:nvPr/>
        </p:nvPicPr>
        <p:blipFill rotWithShape="1">
          <a:blip r:embed="rId4">
            <a:alphaModFix/>
          </a:blip>
          <a:srcRect/>
          <a:stretch/>
        </p:blipFill>
        <p:spPr>
          <a:xfrm>
            <a:off x="8902015" y="5741713"/>
            <a:ext cx="202134" cy="201833"/>
          </a:xfrm>
          <a:prstGeom prst="rect">
            <a:avLst/>
          </a:prstGeom>
          <a:noFill/>
          <a:ln>
            <a:noFill/>
          </a:ln>
        </p:spPr>
      </p:pic>
      <p:sp>
        <p:nvSpPr>
          <p:cNvPr id="251" name="Google Shape;251;p25"/>
          <p:cNvSpPr txBox="1">
            <a:spLocks noGrp="1"/>
          </p:cNvSpPr>
          <p:nvPr>
            <p:ph type="body" idx="9"/>
          </p:nvPr>
        </p:nvSpPr>
        <p:spPr>
          <a:xfrm>
            <a:off x="9217153" y="5713214"/>
            <a:ext cx="19140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0" i="0">
                <a:solidFill>
                  <a:schemeClr val="lt1"/>
                </a:solidFill>
                <a:latin typeface="Helvetica" pitchFamily="2" charset="0"/>
              </a:defRPr>
            </a:lvl1pPr>
            <a:lvl2pPr marL="1217295" lvl="1" indent="-371951" rtl="0">
              <a:spcBef>
                <a:spcPts val="0"/>
              </a:spcBef>
              <a:spcAft>
                <a:spcPts val="0"/>
              </a:spcAft>
              <a:buClr>
                <a:schemeClr val="lt1"/>
              </a:buClr>
              <a:buSzPts val="800"/>
              <a:buChar char="○"/>
              <a:defRPr sz="1065">
                <a:solidFill>
                  <a:schemeClr val="lt1"/>
                </a:solidFill>
              </a:defRPr>
            </a:lvl2pPr>
            <a:lvl3pPr marL="1825943" lvl="2" indent="-371951" rtl="0">
              <a:spcBef>
                <a:spcPts val="0"/>
              </a:spcBef>
              <a:spcAft>
                <a:spcPts val="0"/>
              </a:spcAft>
              <a:buClr>
                <a:schemeClr val="lt1"/>
              </a:buClr>
              <a:buSzPts val="800"/>
              <a:buChar char="■"/>
              <a:defRPr sz="1065">
                <a:solidFill>
                  <a:schemeClr val="lt1"/>
                </a:solidFill>
              </a:defRPr>
            </a:lvl3pPr>
            <a:lvl4pPr marL="2434590" lvl="3" indent="-371951" rtl="0">
              <a:spcBef>
                <a:spcPts val="0"/>
              </a:spcBef>
              <a:spcAft>
                <a:spcPts val="0"/>
              </a:spcAft>
              <a:buClr>
                <a:schemeClr val="lt1"/>
              </a:buClr>
              <a:buSzPts val="800"/>
              <a:buChar char="●"/>
              <a:defRPr sz="1065">
                <a:solidFill>
                  <a:schemeClr val="lt1"/>
                </a:solidFill>
              </a:defRPr>
            </a:lvl4pPr>
            <a:lvl5pPr marL="3043238" lvl="4" indent="-371951" rtl="0">
              <a:spcBef>
                <a:spcPts val="0"/>
              </a:spcBef>
              <a:spcAft>
                <a:spcPts val="0"/>
              </a:spcAft>
              <a:buClr>
                <a:schemeClr val="lt1"/>
              </a:buClr>
              <a:buSzPts val="800"/>
              <a:buChar char="○"/>
              <a:defRPr sz="1065">
                <a:solidFill>
                  <a:schemeClr val="lt1"/>
                </a:solidFill>
              </a:defRPr>
            </a:lvl5pPr>
            <a:lvl6pPr marL="3651885" lvl="5" indent="-371951" rtl="0">
              <a:spcBef>
                <a:spcPts val="0"/>
              </a:spcBef>
              <a:spcAft>
                <a:spcPts val="0"/>
              </a:spcAft>
              <a:buClr>
                <a:schemeClr val="lt1"/>
              </a:buClr>
              <a:buSzPts val="800"/>
              <a:buChar char="■"/>
              <a:defRPr sz="1065">
                <a:solidFill>
                  <a:schemeClr val="lt1"/>
                </a:solidFill>
              </a:defRPr>
            </a:lvl6pPr>
            <a:lvl7pPr marL="4260533" lvl="6" indent="-371951" rtl="0">
              <a:spcBef>
                <a:spcPts val="0"/>
              </a:spcBef>
              <a:spcAft>
                <a:spcPts val="0"/>
              </a:spcAft>
              <a:buClr>
                <a:schemeClr val="lt1"/>
              </a:buClr>
              <a:buSzPts val="800"/>
              <a:buChar char="●"/>
              <a:defRPr sz="1065">
                <a:solidFill>
                  <a:schemeClr val="lt1"/>
                </a:solidFill>
              </a:defRPr>
            </a:lvl7pPr>
            <a:lvl8pPr marL="4869180" lvl="7" indent="-371951" rtl="0">
              <a:spcBef>
                <a:spcPts val="0"/>
              </a:spcBef>
              <a:spcAft>
                <a:spcPts val="0"/>
              </a:spcAft>
              <a:buClr>
                <a:schemeClr val="lt1"/>
              </a:buClr>
              <a:buSzPts val="800"/>
              <a:buChar char="○"/>
              <a:defRPr sz="1065">
                <a:solidFill>
                  <a:schemeClr val="lt1"/>
                </a:solidFill>
              </a:defRPr>
            </a:lvl8pPr>
            <a:lvl9pPr marL="5477828" lvl="8" indent="-371951" rtl="0">
              <a:spcBef>
                <a:spcPts val="0"/>
              </a:spcBef>
              <a:spcAft>
                <a:spcPts val="0"/>
              </a:spcAft>
              <a:buClr>
                <a:schemeClr val="lt1"/>
              </a:buClr>
              <a:buSzPts val="800"/>
              <a:buChar char="■"/>
              <a:defRPr sz="1065">
                <a:solidFill>
                  <a:schemeClr val="lt1"/>
                </a:solidFill>
              </a:defRPr>
            </a:lvl9pPr>
          </a:lstStyle>
          <a:p>
            <a:endParaRPr dirty="0"/>
          </a:p>
        </p:txBody>
      </p:sp>
      <p:sp>
        <p:nvSpPr>
          <p:cNvPr id="34" name="Google Shape;268;p27">
            <a:extLst>
              <a:ext uri="{FF2B5EF4-FFF2-40B4-BE49-F238E27FC236}">
                <a16:creationId xmlns:a16="http://schemas.microsoft.com/office/drawing/2014/main" id="{5F31D209-DE2E-1B4B-B119-6820B2255B10}"/>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B5060DAC-EC5D-F051-89A1-C006C6C05517}"/>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301396561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matchingName="Speaker Intro" preserve="1">
  <p:cSld name="Speaker Intro">
    <p:spTree>
      <p:nvGrpSpPr>
        <p:cNvPr id="1" name="Shape 255"/>
        <p:cNvGrpSpPr/>
        <p:nvPr/>
      </p:nvGrpSpPr>
      <p:grpSpPr>
        <a:xfrm>
          <a:off x="0" y="0"/>
          <a:ext cx="0" cy="0"/>
          <a:chOff x="0" y="0"/>
          <a:chExt cx="0" cy="0"/>
        </a:xfrm>
      </p:grpSpPr>
      <p:grpSp>
        <p:nvGrpSpPr>
          <p:cNvPr id="2" name="Group 1">
            <a:extLst>
              <a:ext uri="{FF2B5EF4-FFF2-40B4-BE49-F238E27FC236}">
                <a16:creationId xmlns:a16="http://schemas.microsoft.com/office/drawing/2014/main" id="{018A83E5-E863-3A66-1EC3-C2183322C3CD}"/>
              </a:ext>
              <a:ext uri="{C183D7F6-B498-43B3-948B-1728B52AA6E4}">
                <adec:decorative xmlns:adec="http://schemas.microsoft.com/office/drawing/2017/decorative" val="1"/>
              </a:ext>
            </a:extLst>
          </p:cNvPr>
          <p:cNvGrpSpPr/>
          <p:nvPr userDrawn="1"/>
        </p:nvGrpSpPr>
        <p:grpSpPr>
          <a:xfrm>
            <a:off x="-4218439" y="-3437"/>
            <a:ext cx="16409510" cy="6858001"/>
            <a:chOff x="-3163830" y="-2578"/>
            <a:chExt cx="12307133" cy="5143501"/>
          </a:xfrm>
        </p:grpSpPr>
        <p:cxnSp>
          <p:nvCxnSpPr>
            <p:cNvPr id="11" name="Google Shape;67;p15">
              <a:extLst>
                <a:ext uri="{FF2B5EF4-FFF2-40B4-BE49-F238E27FC236}">
                  <a16:creationId xmlns:a16="http://schemas.microsoft.com/office/drawing/2014/main" id="{C7784FB6-741B-9D49-B3F9-9C37B009343C}"/>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pic>
          <p:nvPicPr>
            <p:cNvPr id="256" name="Google Shape;256;p26">
              <a:extLs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flipH="1">
              <a:off x="3247837" y="-2578"/>
              <a:ext cx="5885013" cy="5143501"/>
            </a:xfrm>
            <a:prstGeom prst="rect">
              <a:avLst/>
            </a:prstGeom>
            <a:noFill/>
            <a:ln>
              <a:noFill/>
            </a:ln>
          </p:spPr>
        </p:pic>
        <p:sp>
          <p:nvSpPr>
            <p:cNvPr id="257" name="Google Shape;257;p26">
              <a:extLst>
                <a:ext uri="{C183D7F6-B498-43B3-948B-1728B52AA6E4}">
                  <adec:decorative xmlns:adec="http://schemas.microsoft.com/office/drawing/2017/decorative" val="1"/>
                </a:ext>
              </a:extLst>
            </p:cNvPr>
            <p:cNvSpPr/>
            <p:nvPr/>
          </p:nvSpPr>
          <p:spPr>
            <a:xfrm>
              <a:off x="1265478" y="2963817"/>
              <a:ext cx="3991200" cy="562800"/>
            </a:xfrm>
            <a:prstGeom prst="roundRect">
              <a:avLst>
                <a:gd name="adj" fmla="val 371"/>
              </a:avLst>
            </a:prstGeom>
            <a:solidFill>
              <a:srgbClr val="161828"/>
            </a:solidFill>
            <a:ln>
              <a:noFill/>
            </a:ln>
            <a:effectLst>
              <a:outerShdw blurRad="1270000" dist="2540000" dir="78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u="none" strike="noStrike" cap="none">
                <a:solidFill>
                  <a:schemeClr val="lt1"/>
                </a:solidFill>
                <a:latin typeface="Helvetica" pitchFamily="2" charset="0"/>
                <a:ea typeface="Calibri"/>
                <a:cs typeface="Calibri"/>
                <a:sym typeface="Calibri"/>
              </a:endParaRPr>
            </a:p>
          </p:txBody>
        </p:sp>
        <p:sp>
          <p:nvSpPr>
            <p:cNvPr id="258" name="Google Shape;258;p26">
              <a:extLst>
                <a:ext uri="{C183D7F6-B498-43B3-948B-1728B52AA6E4}">
                  <adec:decorative xmlns:adec="http://schemas.microsoft.com/office/drawing/2017/decorative" val="1"/>
                </a:ext>
              </a:extLst>
            </p:cNvPr>
            <p:cNvSpPr/>
            <p:nvPr/>
          </p:nvSpPr>
          <p:spPr>
            <a:xfrm>
              <a:off x="1265478" y="1857388"/>
              <a:ext cx="3991200" cy="1106400"/>
            </a:xfrm>
            <a:prstGeom prst="roundRect">
              <a:avLst>
                <a:gd name="adj" fmla="val 371"/>
              </a:avLst>
            </a:prstGeom>
            <a:gradFill>
              <a:gsLst>
                <a:gs pos="0">
                  <a:srgbClr val="1F9CF0"/>
                </a:gs>
                <a:gs pos="2000">
                  <a:srgbClr val="1F9CF0"/>
                </a:gs>
                <a:gs pos="100000">
                  <a:srgbClr val="9477E2"/>
                </a:gs>
              </a:gsLst>
              <a:path path="circle">
                <a:fillToRect l="50000" t="50000" r="50000" b="50000"/>
              </a:path>
              <a:tileRect/>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pic>
          <p:nvPicPr>
            <p:cNvPr id="259" name="Google Shape;259;p26"/>
            <p:cNvPicPr preferRelativeResize="0"/>
            <p:nvPr/>
          </p:nvPicPr>
          <p:blipFill rotWithShape="1">
            <a:blip r:embed="rId3">
              <a:alphaModFix amt="30000"/>
            </a:blip>
            <a:srcRect/>
            <a:stretch/>
          </p:blipFill>
          <p:spPr>
            <a:xfrm>
              <a:off x="-3163830" y="1082633"/>
              <a:ext cx="3762369" cy="3762369"/>
            </a:xfrm>
            <a:prstGeom prst="rect">
              <a:avLst/>
            </a:prstGeom>
            <a:noFill/>
            <a:ln>
              <a:noFill/>
            </a:ln>
          </p:spPr>
        </p:pic>
        <p:sp>
          <p:nvSpPr>
            <p:cNvPr id="261" name="Google Shape;261;p26">
              <a:extLst>
                <a:ext uri="{C183D7F6-B498-43B3-948B-1728B52AA6E4}">
                  <adec:decorative xmlns:adec="http://schemas.microsoft.com/office/drawing/2017/decorative" val="1"/>
                </a:ext>
              </a:extLst>
            </p:cNvPr>
            <p:cNvSpPr/>
            <p:nvPr/>
          </p:nvSpPr>
          <p:spPr>
            <a:xfrm rot="10800000">
              <a:off x="998900" y="125"/>
              <a:ext cx="73200" cy="16086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262" name="Google Shape;262;p26"/>
          <p:cNvSpPr txBox="1">
            <a:spLocks noGrp="1"/>
          </p:cNvSpPr>
          <p:nvPr>
            <p:ph type="title"/>
          </p:nvPr>
        </p:nvSpPr>
        <p:spPr>
          <a:xfrm>
            <a:off x="1633734" y="1187133"/>
            <a:ext cx="5364400" cy="1121600"/>
          </a:xfrm>
          <a:prstGeom prst="rect">
            <a:avLst/>
          </a:prstGeom>
        </p:spPr>
        <p:txBody>
          <a:bodyPr spcFirstLastPara="1" wrap="square" lIns="45700" tIns="18275" rIns="45700" bIns="18275" anchor="b"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3" name="Google Shape;263;p26"/>
          <p:cNvSpPr txBox="1">
            <a:spLocks noGrp="1"/>
          </p:cNvSpPr>
          <p:nvPr>
            <p:ph type="body" idx="1"/>
          </p:nvPr>
        </p:nvSpPr>
        <p:spPr>
          <a:xfrm>
            <a:off x="1914144" y="2682233"/>
            <a:ext cx="4864800" cy="10972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Clr>
                <a:schemeClr val="lt1"/>
              </a:buClr>
              <a:buSzPts val="1700"/>
              <a:buNone/>
              <a:defRPr sz="2263" b="0" i="0">
                <a:solidFill>
                  <a:schemeClr val="lt1"/>
                </a:solidFill>
                <a:latin typeface="Helvetica" pitchFamily="2" charset="0"/>
              </a:defRPr>
            </a:lvl1pPr>
            <a:lvl2pPr marL="1217295" lvl="1" indent="-448033">
              <a:lnSpc>
                <a:spcPct val="100000"/>
              </a:lnSpc>
              <a:spcBef>
                <a:spcPts val="0"/>
              </a:spcBef>
              <a:spcAft>
                <a:spcPts val="0"/>
              </a:spcAft>
              <a:buClr>
                <a:schemeClr val="lt1"/>
              </a:buClr>
              <a:buSzPts val="1700"/>
              <a:buChar char="○"/>
              <a:defRPr sz="2263">
                <a:solidFill>
                  <a:schemeClr val="lt1"/>
                </a:solidFill>
              </a:defRPr>
            </a:lvl2pPr>
            <a:lvl3pPr marL="1825943" lvl="2" indent="-448033">
              <a:lnSpc>
                <a:spcPct val="100000"/>
              </a:lnSpc>
              <a:spcBef>
                <a:spcPts val="0"/>
              </a:spcBef>
              <a:spcAft>
                <a:spcPts val="0"/>
              </a:spcAft>
              <a:buClr>
                <a:schemeClr val="lt1"/>
              </a:buClr>
              <a:buSzPts val="1700"/>
              <a:buChar char="■"/>
              <a:defRPr sz="2263">
                <a:solidFill>
                  <a:schemeClr val="lt1"/>
                </a:solidFill>
              </a:defRPr>
            </a:lvl3pPr>
            <a:lvl4pPr marL="2434590" lvl="3" indent="-448033">
              <a:lnSpc>
                <a:spcPct val="100000"/>
              </a:lnSpc>
              <a:spcBef>
                <a:spcPts val="0"/>
              </a:spcBef>
              <a:spcAft>
                <a:spcPts val="0"/>
              </a:spcAft>
              <a:buClr>
                <a:schemeClr val="lt1"/>
              </a:buClr>
              <a:buSzPts val="1700"/>
              <a:buChar char="●"/>
              <a:defRPr sz="2263">
                <a:solidFill>
                  <a:schemeClr val="lt1"/>
                </a:solidFill>
              </a:defRPr>
            </a:lvl4pPr>
            <a:lvl5pPr marL="3043238" lvl="4" indent="-448033">
              <a:lnSpc>
                <a:spcPct val="100000"/>
              </a:lnSpc>
              <a:spcBef>
                <a:spcPts val="0"/>
              </a:spcBef>
              <a:spcAft>
                <a:spcPts val="0"/>
              </a:spcAft>
              <a:buClr>
                <a:schemeClr val="lt1"/>
              </a:buClr>
              <a:buSzPts val="1700"/>
              <a:buChar char="○"/>
              <a:defRPr sz="2263">
                <a:solidFill>
                  <a:schemeClr val="lt1"/>
                </a:solidFill>
              </a:defRPr>
            </a:lvl5pPr>
            <a:lvl6pPr marL="3651885" lvl="5" indent="-448033">
              <a:lnSpc>
                <a:spcPct val="100000"/>
              </a:lnSpc>
              <a:spcBef>
                <a:spcPts val="0"/>
              </a:spcBef>
              <a:spcAft>
                <a:spcPts val="0"/>
              </a:spcAft>
              <a:buClr>
                <a:schemeClr val="lt1"/>
              </a:buClr>
              <a:buSzPts val="1700"/>
              <a:buChar char="■"/>
              <a:defRPr sz="2263">
                <a:solidFill>
                  <a:schemeClr val="lt1"/>
                </a:solidFill>
              </a:defRPr>
            </a:lvl6pPr>
            <a:lvl7pPr marL="4260533" lvl="6" indent="-448033">
              <a:lnSpc>
                <a:spcPct val="100000"/>
              </a:lnSpc>
              <a:spcBef>
                <a:spcPts val="0"/>
              </a:spcBef>
              <a:spcAft>
                <a:spcPts val="0"/>
              </a:spcAft>
              <a:buClr>
                <a:schemeClr val="lt1"/>
              </a:buClr>
              <a:buSzPts val="1700"/>
              <a:buChar char="●"/>
              <a:defRPr sz="2263">
                <a:solidFill>
                  <a:schemeClr val="lt1"/>
                </a:solidFill>
              </a:defRPr>
            </a:lvl7pPr>
            <a:lvl8pPr marL="4869180" lvl="7" indent="-448033">
              <a:lnSpc>
                <a:spcPct val="100000"/>
              </a:lnSpc>
              <a:spcBef>
                <a:spcPts val="0"/>
              </a:spcBef>
              <a:spcAft>
                <a:spcPts val="0"/>
              </a:spcAft>
              <a:buClr>
                <a:schemeClr val="lt1"/>
              </a:buClr>
              <a:buSzPts val="1700"/>
              <a:buChar char="○"/>
              <a:defRPr sz="2263">
                <a:solidFill>
                  <a:schemeClr val="lt1"/>
                </a:solidFill>
              </a:defRPr>
            </a:lvl8pPr>
            <a:lvl9pPr marL="5477828" lvl="8" indent="-448033">
              <a:lnSpc>
                <a:spcPct val="100000"/>
              </a:lnSpc>
              <a:spcBef>
                <a:spcPts val="0"/>
              </a:spcBef>
              <a:spcAft>
                <a:spcPts val="0"/>
              </a:spcAft>
              <a:buClr>
                <a:schemeClr val="lt1"/>
              </a:buClr>
              <a:buSzPts val="1700"/>
              <a:buChar char="■"/>
              <a:defRPr sz="2263">
                <a:solidFill>
                  <a:schemeClr val="lt1"/>
                </a:solidFill>
              </a:defRPr>
            </a:lvl9pPr>
          </a:lstStyle>
          <a:p>
            <a:endParaRPr dirty="0"/>
          </a:p>
        </p:txBody>
      </p:sp>
      <p:pic>
        <p:nvPicPr>
          <p:cNvPr id="260" name="Google Shape;260;p26" descr="LinkedIn logo"/>
          <p:cNvPicPr preferRelativeResize="0"/>
          <p:nvPr/>
        </p:nvPicPr>
        <p:blipFill rotWithShape="1">
          <a:blip r:embed="rId4">
            <a:alphaModFix/>
          </a:blip>
          <a:srcRect/>
          <a:stretch/>
        </p:blipFill>
        <p:spPr>
          <a:xfrm>
            <a:off x="2026729" y="4199734"/>
            <a:ext cx="254410" cy="254409"/>
          </a:xfrm>
          <a:prstGeom prst="rect">
            <a:avLst/>
          </a:prstGeom>
          <a:noFill/>
          <a:ln>
            <a:noFill/>
          </a:ln>
        </p:spPr>
      </p:pic>
      <p:sp>
        <p:nvSpPr>
          <p:cNvPr id="264" name="Google Shape;264;p26"/>
          <p:cNvSpPr txBox="1">
            <a:spLocks noGrp="1"/>
          </p:cNvSpPr>
          <p:nvPr>
            <p:ph type="body" idx="2"/>
          </p:nvPr>
        </p:nvSpPr>
        <p:spPr>
          <a:xfrm>
            <a:off x="2497686" y="4063514"/>
            <a:ext cx="3938000" cy="526848"/>
          </a:xfrm>
          <a:prstGeom prst="rect">
            <a:avLst/>
          </a:prstGeom>
        </p:spPr>
        <p:txBody>
          <a:bodyPr spcFirstLastPara="1" wrap="square" lIns="45700" tIns="18275" rIns="45700" bIns="18275" anchor="ctr" anchorCtr="0">
            <a:noAutofit/>
          </a:bodyPr>
          <a:lstStyle>
            <a:lvl1pPr marL="0" lvl="0" indent="0">
              <a:spcBef>
                <a:spcPts val="0"/>
              </a:spcBef>
              <a:spcAft>
                <a:spcPts val="0"/>
              </a:spcAft>
              <a:buClr>
                <a:schemeClr val="lt1"/>
              </a:buClr>
              <a:buSzPts val="1700"/>
              <a:buNone/>
              <a:defRPr sz="1864" b="0" i="0">
                <a:solidFill>
                  <a:schemeClr val="lt1"/>
                </a:solidFill>
                <a:latin typeface="Helvetica" pitchFamily="2" charset="0"/>
              </a:defRPr>
            </a:lvl1pPr>
            <a:lvl2pPr marL="1217295" lvl="1" indent="-448033">
              <a:spcBef>
                <a:spcPts val="0"/>
              </a:spcBef>
              <a:spcAft>
                <a:spcPts val="0"/>
              </a:spcAft>
              <a:buClr>
                <a:schemeClr val="lt1"/>
              </a:buClr>
              <a:buSzPts val="1700"/>
              <a:buChar char="○"/>
              <a:defRPr sz="2263">
                <a:solidFill>
                  <a:schemeClr val="lt1"/>
                </a:solidFill>
              </a:defRPr>
            </a:lvl2pPr>
            <a:lvl3pPr marL="1825943" lvl="2" indent="-448033">
              <a:spcBef>
                <a:spcPts val="0"/>
              </a:spcBef>
              <a:spcAft>
                <a:spcPts val="0"/>
              </a:spcAft>
              <a:buClr>
                <a:schemeClr val="lt1"/>
              </a:buClr>
              <a:buSzPts val="1700"/>
              <a:buChar char="■"/>
              <a:defRPr sz="2263">
                <a:solidFill>
                  <a:schemeClr val="lt1"/>
                </a:solidFill>
              </a:defRPr>
            </a:lvl3pPr>
            <a:lvl4pPr marL="2434590" lvl="3" indent="-448033">
              <a:spcBef>
                <a:spcPts val="0"/>
              </a:spcBef>
              <a:spcAft>
                <a:spcPts val="0"/>
              </a:spcAft>
              <a:buClr>
                <a:schemeClr val="lt1"/>
              </a:buClr>
              <a:buSzPts val="1700"/>
              <a:buChar char="●"/>
              <a:defRPr sz="2263">
                <a:solidFill>
                  <a:schemeClr val="lt1"/>
                </a:solidFill>
              </a:defRPr>
            </a:lvl4pPr>
            <a:lvl5pPr marL="3043238" lvl="4" indent="-448033">
              <a:spcBef>
                <a:spcPts val="0"/>
              </a:spcBef>
              <a:spcAft>
                <a:spcPts val="0"/>
              </a:spcAft>
              <a:buClr>
                <a:schemeClr val="lt1"/>
              </a:buClr>
              <a:buSzPts val="1700"/>
              <a:buChar char="○"/>
              <a:defRPr sz="2263">
                <a:solidFill>
                  <a:schemeClr val="lt1"/>
                </a:solidFill>
              </a:defRPr>
            </a:lvl5pPr>
            <a:lvl6pPr marL="3651885" lvl="5" indent="-448033">
              <a:spcBef>
                <a:spcPts val="0"/>
              </a:spcBef>
              <a:spcAft>
                <a:spcPts val="0"/>
              </a:spcAft>
              <a:buClr>
                <a:schemeClr val="lt1"/>
              </a:buClr>
              <a:buSzPts val="1700"/>
              <a:buChar char="■"/>
              <a:defRPr sz="2263">
                <a:solidFill>
                  <a:schemeClr val="lt1"/>
                </a:solidFill>
              </a:defRPr>
            </a:lvl6pPr>
            <a:lvl7pPr marL="4260533" lvl="6" indent="-448033">
              <a:spcBef>
                <a:spcPts val="0"/>
              </a:spcBef>
              <a:spcAft>
                <a:spcPts val="0"/>
              </a:spcAft>
              <a:buClr>
                <a:schemeClr val="lt1"/>
              </a:buClr>
              <a:buSzPts val="1700"/>
              <a:buChar char="●"/>
              <a:defRPr sz="2263">
                <a:solidFill>
                  <a:schemeClr val="lt1"/>
                </a:solidFill>
              </a:defRPr>
            </a:lvl7pPr>
            <a:lvl8pPr marL="4869180" lvl="7" indent="-448033">
              <a:spcBef>
                <a:spcPts val="0"/>
              </a:spcBef>
              <a:spcAft>
                <a:spcPts val="0"/>
              </a:spcAft>
              <a:buClr>
                <a:schemeClr val="lt1"/>
              </a:buClr>
              <a:buSzPts val="1700"/>
              <a:buChar char="○"/>
              <a:defRPr sz="2263">
                <a:solidFill>
                  <a:schemeClr val="lt1"/>
                </a:solidFill>
              </a:defRPr>
            </a:lvl8pPr>
            <a:lvl9pPr marL="5477828" lvl="8" indent="-448033">
              <a:spcBef>
                <a:spcPts val="0"/>
              </a:spcBef>
              <a:spcAft>
                <a:spcPts val="0"/>
              </a:spcAft>
              <a:buClr>
                <a:schemeClr val="lt1"/>
              </a:buClr>
              <a:buSzPts val="1700"/>
              <a:buChar char="■"/>
              <a:defRPr sz="2263">
                <a:solidFill>
                  <a:schemeClr val="lt1"/>
                </a:solidFill>
              </a:defRPr>
            </a:lvl9pPr>
          </a:lstStyle>
          <a:p>
            <a:endParaRPr dirty="0"/>
          </a:p>
        </p:txBody>
      </p:sp>
      <p:sp>
        <p:nvSpPr>
          <p:cNvPr id="6" name="Google Shape;56;p14">
            <a:extLst>
              <a:ext uri="{FF2B5EF4-FFF2-40B4-BE49-F238E27FC236}">
                <a16:creationId xmlns:a16="http://schemas.microsoft.com/office/drawing/2014/main" id="{EFF1BA08-15D6-FC01-043C-DFAA8894E07B}"/>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380617002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matchingName="Right Two Column" preserve="1">
  <p:cSld name="Right Two Column">
    <p:spTree>
      <p:nvGrpSpPr>
        <p:cNvPr id="1" name="Shape 265"/>
        <p:cNvGrpSpPr/>
        <p:nvPr/>
      </p:nvGrpSpPr>
      <p:grpSpPr>
        <a:xfrm>
          <a:off x="0" y="0"/>
          <a:ext cx="0" cy="0"/>
          <a:chOff x="0" y="0"/>
          <a:chExt cx="0" cy="0"/>
        </a:xfrm>
      </p:grpSpPr>
      <p:grpSp>
        <p:nvGrpSpPr>
          <p:cNvPr id="4" name="Group 3">
            <a:extLst>
              <a:ext uri="{FF2B5EF4-FFF2-40B4-BE49-F238E27FC236}">
                <a16:creationId xmlns:a16="http://schemas.microsoft.com/office/drawing/2014/main" id="{82E5456C-52E8-CE44-611E-94E2DB890FF7}"/>
              </a:ext>
              <a:ext uri="{C183D7F6-B498-43B3-948B-1728B52AA6E4}">
                <adec:decorative xmlns:adec="http://schemas.microsoft.com/office/drawing/2017/decorative" val="1"/>
              </a:ext>
            </a:extLst>
          </p:cNvPr>
          <p:cNvGrpSpPr/>
          <p:nvPr userDrawn="1"/>
        </p:nvGrpSpPr>
        <p:grpSpPr>
          <a:xfrm>
            <a:off x="-3799193" y="-757667"/>
            <a:ext cx="19969288" cy="8539200"/>
            <a:chOff x="-2849395" y="-568250"/>
            <a:chExt cx="14976966" cy="6404400"/>
          </a:xfrm>
        </p:grpSpPr>
        <p:grpSp>
          <p:nvGrpSpPr>
            <p:cNvPr id="3" name="Group 2">
              <a:extLst>
                <a:ext uri="{FF2B5EF4-FFF2-40B4-BE49-F238E27FC236}">
                  <a16:creationId xmlns:a16="http://schemas.microsoft.com/office/drawing/2014/main" id="{17F02D53-3842-E92D-041A-4A100EAA250A}"/>
                </a:ext>
              </a:extLst>
            </p:cNvPr>
            <p:cNvGrpSpPr/>
            <p:nvPr userDrawn="1"/>
          </p:nvGrpSpPr>
          <p:grpSpPr>
            <a:xfrm>
              <a:off x="-2849395" y="-568250"/>
              <a:ext cx="14976966" cy="6404400"/>
              <a:chOff x="-2849395" y="-568250"/>
              <a:chExt cx="14976966" cy="6404400"/>
            </a:xfrm>
          </p:grpSpPr>
          <p:sp>
            <p:nvSpPr>
              <p:cNvPr id="269" name="Google Shape;269;p27">
                <a:extLst>
                  <a:ext uri="{C183D7F6-B498-43B3-948B-1728B52AA6E4}">
                    <adec:decorative xmlns:adec="http://schemas.microsoft.com/office/drawing/2017/decorative" val="1"/>
                  </a:ext>
                </a:extLst>
              </p:cNvPr>
              <p:cNvSpPr/>
              <p:nvPr/>
            </p:nvSpPr>
            <p:spPr>
              <a:xfrm>
                <a:off x="-2849395" y="-568250"/>
                <a:ext cx="6414300" cy="6404400"/>
              </a:xfrm>
              <a:prstGeom prst="ellipse">
                <a:avLst/>
              </a:prstGeom>
              <a:gradFill>
                <a:gsLst>
                  <a:gs pos="0">
                    <a:srgbClr val="007ACC"/>
                  </a:gs>
                  <a:gs pos="72000">
                    <a:srgbClr val="D59DFF">
                      <a:alpha val="0"/>
                    </a:srgbClr>
                  </a:gs>
                  <a:gs pos="100000">
                    <a:srgbClr val="D59DFF">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270" name="Google Shape;270;p27">
                <a:extLst>
                  <a:ext uri="{C183D7F6-B498-43B3-948B-1728B52AA6E4}">
                    <adec:decorative xmlns:adec="http://schemas.microsoft.com/office/drawing/2017/decorative" val="1"/>
                  </a:ext>
                </a:extLst>
              </p:cNvPr>
              <p:cNvSpPr/>
              <p:nvPr/>
            </p:nvSpPr>
            <p:spPr>
              <a:xfrm>
                <a:off x="719212" y="986442"/>
                <a:ext cx="1349700" cy="1347600"/>
              </a:xfrm>
              <a:prstGeom prst="ellipse">
                <a:avLst/>
              </a:prstGeom>
              <a:gradFill>
                <a:gsLst>
                  <a:gs pos="0">
                    <a:srgbClr val="8661C5"/>
                  </a:gs>
                  <a:gs pos="100000">
                    <a:srgbClr val="161828">
                      <a:alpha val="0"/>
                    </a:srgbClr>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272" name="Google Shape;272;p27">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365202" y="621803"/>
                <a:ext cx="3762369" cy="3762369"/>
              </a:xfrm>
              <a:prstGeom prst="rect">
                <a:avLst/>
              </a:prstGeom>
              <a:noFill/>
              <a:ln>
                <a:noFill/>
              </a:ln>
            </p:spPr>
          </p:pic>
          <p:cxnSp>
            <p:nvCxnSpPr>
              <p:cNvPr id="17" name="Google Shape;67;p15">
                <a:extLst>
                  <a:ext uri="{FF2B5EF4-FFF2-40B4-BE49-F238E27FC236}">
                    <a16:creationId xmlns:a16="http://schemas.microsoft.com/office/drawing/2014/main" id="{77D23077-C636-7041-8945-BC542592AEE5}"/>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cxnSp>
          <p:nvCxnSpPr>
            <p:cNvPr id="271" name="Google Shape;271;p27">
              <a:extLst>
                <a:ext uri="{C183D7F6-B498-43B3-948B-1728B52AA6E4}">
                  <adec:decorative xmlns:adec="http://schemas.microsoft.com/office/drawing/2017/decorative" val="1"/>
                </a:ext>
              </a:extLst>
            </p:cNvPr>
            <p:cNvCxnSpPr/>
            <p:nvPr/>
          </p:nvCxnSpPr>
          <p:spPr>
            <a:xfrm>
              <a:off x="3536833" y="613302"/>
              <a:ext cx="2070300" cy="0"/>
            </a:xfrm>
            <a:prstGeom prst="straightConnector1">
              <a:avLst/>
            </a:prstGeom>
            <a:noFill/>
            <a:ln w="12700" cap="flat" cmpd="sng">
              <a:solidFill>
                <a:srgbClr val="627597"/>
              </a:solidFill>
              <a:prstDash val="solid"/>
              <a:miter lim="800000"/>
              <a:headEnd type="none" w="sm" len="sm"/>
              <a:tailEnd type="none" w="sm" len="sm"/>
            </a:ln>
          </p:spPr>
        </p:cxnSp>
      </p:grpSp>
      <p:sp>
        <p:nvSpPr>
          <p:cNvPr id="274" name="Google Shape;274;p27"/>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73" name="Google Shape;273;p27"/>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algn="ctr">
              <a:lnSpc>
                <a:spcPct val="100000"/>
              </a:lnSpc>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dirty="0"/>
          </a:p>
        </p:txBody>
      </p:sp>
      <p:sp>
        <p:nvSpPr>
          <p:cNvPr id="275" name="Google Shape;275;p27"/>
          <p:cNvSpPr txBox="1">
            <a:spLocks noGrp="1"/>
          </p:cNvSpPr>
          <p:nvPr>
            <p:ph type="title" idx="2"/>
          </p:nvPr>
        </p:nvSpPr>
        <p:spPr>
          <a:xfrm>
            <a:off x="6705600" y="2828544"/>
            <a:ext cx="1402000" cy="536400"/>
          </a:xfrm>
          <a:prstGeom prst="rect">
            <a:avLst/>
          </a:prstGeom>
        </p:spPr>
        <p:txBody>
          <a:bodyPr spcFirstLastPara="1" wrap="square" lIns="45700" tIns="18275" rIns="45700" bIns="18275" anchor="t" anchorCtr="0">
            <a:noAutofit/>
          </a:bodyPr>
          <a:lstStyle>
            <a:lvl1pPr lvl="0" algn="ctr">
              <a:lnSpc>
                <a:spcPct val="100000"/>
              </a:lnSpc>
              <a:spcBef>
                <a:spcPts val="0"/>
              </a:spcBef>
              <a:spcAft>
                <a:spcPts val="0"/>
              </a:spcAft>
              <a:buSzPts val="2300"/>
              <a:buNone/>
              <a:defRPr sz="3062" b="1" i="0">
                <a:latin typeface="Helvetica" pitchFamily="2" charset="0"/>
              </a:defRPr>
            </a:lvl1pPr>
            <a:lvl2pPr lvl="1" algn="ctr">
              <a:spcBef>
                <a:spcPts val="0"/>
              </a:spcBef>
              <a:spcAft>
                <a:spcPts val="0"/>
              </a:spcAft>
              <a:buSzPts val="2300"/>
              <a:buNone/>
              <a:defRPr sz="3062"/>
            </a:lvl2pPr>
            <a:lvl3pPr lvl="2" algn="ctr">
              <a:spcBef>
                <a:spcPts val="0"/>
              </a:spcBef>
              <a:spcAft>
                <a:spcPts val="0"/>
              </a:spcAft>
              <a:buSzPts val="2300"/>
              <a:buNone/>
              <a:defRPr sz="3062"/>
            </a:lvl3pPr>
            <a:lvl4pPr lvl="3" algn="ctr">
              <a:spcBef>
                <a:spcPts val="0"/>
              </a:spcBef>
              <a:spcAft>
                <a:spcPts val="0"/>
              </a:spcAft>
              <a:buSzPts val="2300"/>
              <a:buNone/>
              <a:defRPr sz="3062"/>
            </a:lvl4pPr>
            <a:lvl5pPr lvl="4" algn="ctr">
              <a:spcBef>
                <a:spcPts val="0"/>
              </a:spcBef>
              <a:spcAft>
                <a:spcPts val="0"/>
              </a:spcAft>
              <a:buSzPts val="2300"/>
              <a:buNone/>
              <a:defRPr sz="3062"/>
            </a:lvl5pPr>
            <a:lvl6pPr lvl="5" algn="ctr">
              <a:spcBef>
                <a:spcPts val="0"/>
              </a:spcBef>
              <a:spcAft>
                <a:spcPts val="0"/>
              </a:spcAft>
              <a:buSzPts val="2300"/>
              <a:buNone/>
              <a:defRPr sz="3062"/>
            </a:lvl6pPr>
            <a:lvl7pPr lvl="6" algn="ctr">
              <a:spcBef>
                <a:spcPts val="0"/>
              </a:spcBef>
              <a:spcAft>
                <a:spcPts val="0"/>
              </a:spcAft>
              <a:buSzPts val="2300"/>
              <a:buNone/>
              <a:defRPr sz="3062"/>
            </a:lvl7pPr>
            <a:lvl8pPr lvl="7" algn="ctr">
              <a:spcBef>
                <a:spcPts val="0"/>
              </a:spcBef>
              <a:spcAft>
                <a:spcPts val="0"/>
              </a:spcAft>
              <a:buSzPts val="2300"/>
              <a:buNone/>
              <a:defRPr sz="3062"/>
            </a:lvl8pPr>
            <a:lvl9pPr lvl="8" algn="ctr">
              <a:spcBef>
                <a:spcPts val="0"/>
              </a:spcBef>
              <a:spcAft>
                <a:spcPts val="0"/>
              </a:spcAft>
              <a:buSzPts val="2300"/>
              <a:buNone/>
              <a:defRPr sz="3062"/>
            </a:lvl9pPr>
          </a:lstStyle>
          <a:p>
            <a:endParaRPr dirty="0"/>
          </a:p>
        </p:txBody>
      </p:sp>
      <p:sp>
        <p:nvSpPr>
          <p:cNvPr id="277" name="Google Shape;277;p27"/>
          <p:cNvSpPr txBox="1">
            <a:spLocks noGrp="1"/>
          </p:cNvSpPr>
          <p:nvPr>
            <p:ph type="body" idx="4"/>
          </p:nvPr>
        </p:nvSpPr>
        <p:spPr>
          <a:xfrm>
            <a:off x="6559296" y="4230624"/>
            <a:ext cx="1924000" cy="463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900"/>
              <a:buNone/>
              <a:defRPr sz="1464" b="0" i="0">
                <a:solidFill>
                  <a:schemeClr val="bg1"/>
                </a:solidFill>
                <a:latin typeface="Helvetica" pitchFamily="2" charset="0"/>
              </a:defRPr>
            </a:lvl1pPr>
            <a:lvl2pPr marL="1217295" lvl="1" indent="-380405">
              <a:spcBef>
                <a:spcPts val="0"/>
              </a:spcBef>
              <a:spcAft>
                <a:spcPts val="0"/>
              </a:spcAft>
              <a:buSzPts val="900"/>
              <a:buChar char="○"/>
              <a:defRPr sz="1198"/>
            </a:lvl2pPr>
            <a:lvl3pPr marL="1825943" lvl="2" indent="-380405">
              <a:spcBef>
                <a:spcPts val="0"/>
              </a:spcBef>
              <a:spcAft>
                <a:spcPts val="0"/>
              </a:spcAft>
              <a:buSzPts val="900"/>
              <a:buChar char="■"/>
              <a:defRPr sz="1198"/>
            </a:lvl3pPr>
            <a:lvl4pPr marL="2434590" lvl="3" indent="-380405">
              <a:spcBef>
                <a:spcPts val="0"/>
              </a:spcBef>
              <a:spcAft>
                <a:spcPts val="0"/>
              </a:spcAft>
              <a:buSzPts val="900"/>
              <a:buChar char="●"/>
              <a:defRPr sz="1198"/>
            </a:lvl4pPr>
            <a:lvl5pPr marL="3043238" lvl="4" indent="-380405">
              <a:spcBef>
                <a:spcPts val="0"/>
              </a:spcBef>
              <a:spcAft>
                <a:spcPts val="0"/>
              </a:spcAft>
              <a:buSzPts val="900"/>
              <a:buChar char="○"/>
              <a:defRPr sz="1198"/>
            </a:lvl5pPr>
            <a:lvl6pPr marL="3651885" lvl="5" indent="-380405">
              <a:spcBef>
                <a:spcPts val="0"/>
              </a:spcBef>
              <a:spcAft>
                <a:spcPts val="0"/>
              </a:spcAft>
              <a:buSzPts val="900"/>
              <a:buChar char="■"/>
              <a:defRPr sz="1198"/>
            </a:lvl6pPr>
            <a:lvl7pPr marL="4260533" lvl="6" indent="-380405">
              <a:spcBef>
                <a:spcPts val="0"/>
              </a:spcBef>
              <a:spcAft>
                <a:spcPts val="0"/>
              </a:spcAft>
              <a:buSzPts val="900"/>
              <a:buChar char="●"/>
              <a:defRPr sz="1198"/>
            </a:lvl7pPr>
            <a:lvl8pPr marL="4869180" lvl="7" indent="-380405">
              <a:spcBef>
                <a:spcPts val="0"/>
              </a:spcBef>
              <a:spcAft>
                <a:spcPts val="0"/>
              </a:spcAft>
              <a:buSzPts val="900"/>
              <a:buChar char="○"/>
              <a:defRPr sz="1198"/>
            </a:lvl8pPr>
            <a:lvl9pPr marL="5477828" lvl="8" indent="-380405">
              <a:spcBef>
                <a:spcPts val="0"/>
              </a:spcBef>
              <a:spcAft>
                <a:spcPts val="0"/>
              </a:spcAft>
              <a:buSzPts val="900"/>
              <a:buChar char="■"/>
              <a:defRPr sz="1198"/>
            </a:lvl9pPr>
          </a:lstStyle>
          <a:p>
            <a:endParaRPr dirty="0"/>
          </a:p>
        </p:txBody>
      </p:sp>
      <p:sp>
        <p:nvSpPr>
          <p:cNvPr id="278" name="Google Shape;278;p27"/>
          <p:cNvSpPr txBox="1">
            <a:spLocks noGrp="1"/>
          </p:cNvSpPr>
          <p:nvPr>
            <p:ph type="body" idx="5"/>
          </p:nvPr>
        </p:nvSpPr>
        <p:spPr>
          <a:xfrm>
            <a:off x="6559297" y="4767072"/>
            <a:ext cx="1731200" cy="97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276" name="Google Shape;276;p27"/>
          <p:cNvSpPr txBox="1">
            <a:spLocks noGrp="1"/>
          </p:cNvSpPr>
          <p:nvPr>
            <p:ph type="title" idx="3"/>
          </p:nvPr>
        </p:nvSpPr>
        <p:spPr>
          <a:xfrm>
            <a:off x="9131808" y="2828544"/>
            <a:ext cx="1402000" cy="536400"/>
          </a:xfrm>
          <a:prstGeom prst="rect">
            <a:avLst/>
          </a:prstGeom>
        </p:spPr>
        <p:txBody>
          <a:bodyPr spcFirstLastPara="1" wrap="square" lIns="45700" tIns="18275" rIns="45700" bIns="18275" anchor="t" anchorCtr="0">
            <a:noAutofit/>
          </a:bodyPr>
          <a:lstStyle>
            <a:lvl1pPr lvl="0" algn="ctr" rtl="0">
              <a:lnSpc>
                <a:spcPct val="100000"/>
              </a:lnSpc>
              <a:spcBef>
                <a:spcPts val="0"/>
              </a:spcBef>
              <a:spcAft>
                <a:spcPts val="0"/>
              </a:spcAft>
              <a:buSzPts val="2300"/>
              <a:buNone/>
              <a:defRPr sz="3062" b="1" i="0">
                <a:latin typeface="Helvetica" pitchFamily="2" charset="0"/>
              </a:defRPr>
            </a:lvl1pPr>
            <a:lvl2pPr lvl="1" algn="ctr" rtl="0">
              <a:spcBef>
                <a:spcPts val="0"/>
              </a:spcBef>
              <a:spcAft>
                <a:spcPts val="0"/>
              </a:spcAft>
              <a:buSzPts val="2300"/>
              <a:buNone/>
              <a:defRPr sz="3062"/>
            </a:lvl2pPr>
            <a:lvl3pPr lvl="2" algn="ctr" rtl="0">
              <a:spcBef>
                <a:spcPts val="0"/>
              </a:spcBef>
              <a:spcAft>
                <a:spcPts val="0"/>
              </a:spcAft>
              <a:buSzPts val="2300"/>
              <a:buNone/>
              <a:defRPr sz="3062"/>
            </a:lvl3pPr>
            <a:lvl4pPr lvl="3" algn="ctr" rtl="0">
              <a:spcBef>
                <a:spcPts val="0"/>
              </a:spcBef>
              <a:spcAft>
                <a:spcPts val="0"/>
              </a:spcAft>
              <a:buSzPts val="2300"/>
              <a:buNone/>
              <a:defRPr sz="3062"/>
            </a:lvl4pPr>
            <a:lvl5pPr lvl="4" algn="ctr" rtl="0">
              <a:spcBef>
                <a:spcPts val="0"/>
              </a:spcBef>
              <a:spcAft>
                <a:spcPts val="0"/>
              </a:spcAft>
              <a:buSzPts val="2300"/>
              <a:buNone/>
              <a:defRPr sz="3062"/>
            </a:lvl5pPr>
            <a:lvl6pPr lvl="5" algn="ctr" rtl="0">
              <a:spcBef>
                <a:spcPts val="0"/>
              </a:spcBef>
              <a:spcAft>
                <a:spcPts val="0"/>
              </a:spcAft>
              <a:buSzPts val="2300"/>
              <a:buNone/>
              <a:defRPr sz="3062"/>
            </a:lvl6pPr>
            <a:lvl7pPr lvl="6" algn="ctr" rtl="0">
              <a:spcBef>
                <a:spcPts val="0"/>
              </a:spcBef>
              <a:spcAft>
                <a:spcPts val="0"/>
              </a:spcAft>
              <a:buSzPts val="2300"/>
              <a:buNone/>
              <a:defRPr sz="3062"/>
            </a:lvl7pPr>
            <a:lvl8pPr lvl="7" algn="ctr" rtl="0">
              <a:spcBef>
                <a:spcPts val="0"/>
              </a:spcBef>
              <a:spcAft>
                <a:spcPts val="0"/>
              </a:spcAft>
              <a:buSzPts val="2300"/>
              <a:buNone/>
              <a:defRPr sz="3062"/>
            </a:lvl8pPr>
            <a:lvl9pPr lvl="8" algn="ctr" rtl="0">
              <a:spcBef>
                <a:spcPts val="0"/>
              </a:spcBef>
              <a:spcAft>
                <a:spcPts val="0"/>
              </a:spcAft>
              <a:buSzPts val="2300"/>
              <a:buNone/>
              <a:defRPr sz="3062"/>
            </a:lvl9pPr>
          </a:lstStyle>
          <a:p>
            <a:endParaRPr dirty="0"/>
          </a:p>
        </p:txBody>
      </p:sp>
      <p:sp>
        <p:nvSpPr>
          <p:cNvPr id="279" name="Google Shape;279;p27"/>
          <p:cNvSpPr txBox="1">
            <a:spLocks noGrp="1"/>
          </p:cNvSpPr>
          <p:nvPr>
            <p:ph type="body" idx="6"/>
          </p:nvPr>
        </p:nvSpPr>
        <p:spPr>
          <a:xfrm>
            <a:off x="8924544" y="4230624"/>
            <a:ext cx="1924000" cy="463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900"/>
              <a:buNone/>
              <a:defRPr sz="1464" b="0" i="0">
                <a:solidFill>
                  <a:schemeClr val="bg1"/>
                </a:solidFill>
                <a:latin typeface="Helvetica" pitchFamily="2" charset="0"/>
              </a:defRPr>
            </a:lvl1pPr>
            <a:lvl2pPr marL="1217295" lvl="1" indent="-380405" rtl="0">
              <a:spcBef>
                <a:spcPts val="0"/>
              </a:spcBef>
              <a:spcAft>
                <a:spcPts val="0"/>
              </a:spcAft>
              <a:buSzPts val="900"/>
              <a:buChar char="○"/>
              <a:defRPr sz="1198"/>
            </a:lvl2pPr>
            <a:lvl3pPr marL="1825943" lvl="2" indent="-380405" rtl="0">
              <a:spcBef>
                <a:spcPts val="0"/>
              </a:spcBef>
              <a:spcAft>
                <a:spcPts val="0"/>
              </a:spcAft>
              <a:buSzPts val="900"/>
              <a:buChar char="■"/>
              <a:defRPr sz="1198"/>
            </a:lvl3pPr>
            <a:lvl4pPr marL="2434590" lvl="3" indent="-380405" rtl="0">
              <a:spcBef>
                <a:spcPts val="0"/>
              </a:spcBef>
              <a:spcAft>
                <a:spcPts val="0"/>
              </a:spcAft>
              <a:buSzPts val="900"/>
              <a:buChar char="●"/>
              <a:defRPr sz="1198"/>
            </a:lvl4pPr>
            <a:lvl5pPr marL="3043238" lvl="4" indent="-380405" rtl="0">
              <a:spcBef>
                <a:spcPts val="0"/>
              </a:spcBef>
              <a:spcAft>
                <a:spcPts val="0"/>
              </a:spcAft>
              <a:buSzPts val="900"/>
              <a:buChar char="○"/>
              <a:defRPr sz="1198"/>
            </a:lvl5pPr>
            <a:lvl6pPr marL="3651885" lvl="5" indent="-380405" rtl="0">
              <a:spcBef>
                <a:spcPts val="0"/>
              </a:spcBef>
              <a:spcAft>
                <a:spcPts val="0"/>
              </a:spcAft>
              <a:buSzPts val="900"/>
              <a:buChar char="■"/>
              <a:defRPr sz="1198"/>
            </a:lvl6pPr>
            <a:lvl7pPr marL="4260533" lvl="6" indent="-380405" rtl="0">
              <a:spcBef>
                <a:spcPts val="0"/>
              </a:spcBef>
              <a:spcAft>
                <a:spcPts val="0"/>
              </a:spcAft>
              <a:buSzPts val="900"/>
              <a:buChar char="●"/>
              <a:defRPr sz="1198"/>
            </a:lvl7pPr>
            <a:lvl8pPr marL="4869180" lvl="7" indent="-380405" rtl="0">
              <a:spcBef>
                <a:spcPts val="0"/>
              </a:spcBef>
              <a:spcAft>
                <a:spcPts val="0"/>
              </a:spcAft>
              <a:buSzPts val="900"/>
              <a:buChar char="○"/>
              <a:defRPr sz="1198"/>
            </a:lvl8pPr>
            <a:lvl9pPr marL="5477828" lvl="8" indent="-380405" rtl="0">
              <a:spcBef>
                <a:spcPts val="0"/>
              </a:spcBef>
              <a:spcAft>
                <a:spcPts val="0"/>
              </a:spcAft>
              <a:buSzPts val="900"/>
              <a:buChar char="■"/>
              <a:defRPr sz="1198"/>
            </a:lvl9pPr>
          </a:lstStyle>
          <a:p>
            <a:endParaRPr dirty="0"/>
          </a:p>
        </p:txBody>
      </p:sp>
      <p:sp>
        <p:nvSpPr>
          <p:cNvPr id="280" name="Google Shape;280;p27"/>
          <p:cNvSpPr txBox="1">
            <a:spLocks noGrp="1"/>
          </p:cNvSpPr>
          <p:nvPr>
            <p:ph type="body" idx="7"/>
          </p:nvPr>
        </p:nvSpPr>
        <p:spPr>
          <a:xfrm>
            <a:off x="8924544" y="4767072"/>
            <a:ext cx="1731200" cy="9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268" name="Google Shape;268;p27"/>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7" name="Google Shape;56;p14">
            <a:extLst>
              <a:ext uri="{FF2B5EF4-FFF2-40B4-BE49-F238E27FC236}">
                <a16:creationId xmlns:a16="http://schemas.microsoft.com/office/drawing/2014/main" id="{C9C49052-67C9-6166-E3DB-2999C7C114E7}"/>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414526680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matchingName="Quote" preserve="1">
  <p:cSld name="Quote">
    <p:spTree>
      <p:nvGrpSpPr>
        <p:cNvPr id="1" name="Shape 281"/>
        <p:cNvGrpSpPr/>
        <p:nvPr/>
      </p:nvGrpSpPr>
      <p:grpSpPr>
        <a:xfrm>
          <a:off x="0" y="0"/>
          <a:ext cx="0" cy="0"/>
          <a:chOff x="0" y="0"/>
          <a:chExt cx="0" cy="0"/>
        </a:xfrm>
      </p:grpSpPr>
      <p:grpSp>
        <p:nvGrpSpPr>
          <p:cNvPr id="4" name="Group 3">
            <a:extLst>
              <a:ext uri="{FF2B5EF4-FFF2-40B4-BE49-F238E27FC236}">
                <a16:creationId xmlns:a16="http://schemas.microsoft.com/office/drawing/2014/main" id="{16929EEF-EB45-38DD-B459-54368DB9CE16}"/>
              </a:ext>
              <a:ext uri="{C183D7F6-B498-43B3-948B-1728B52AA6E4}">
                <adec:decorative xmlns:adec="http://schemas.microsoft.com/office/drawing/2017/decorative" val="1"/>
              </a:ext>
            </a:extLst>
          </p:cNvPr>
          <p:cNvGrpSpPr/>
          <p:nvPr userDrawn="1"/>
        </p:nvGrpSpPr>
        <p:grpSpPr>
          <a:xfrm>
            <a:off x="0" y="1"/>
            <a:ext cx="16373204" cy="6858001"/>
            <a:chOff x="0" y="0"/>
            <a:chExt cx="12279903" cy="5143501"/>
          </a:xfrm>
        </p:grpSpPr>
        <p:grpSp>
          <p:nvGrpSpPr>
            <p:cNvPr id="2" name="Group 1">
              <a:extLst>
                <a:ext uri="{FF2B5EF4-FFF2-40B4-BE49-F238E27FC236}">
                  <a16:creationId xmlns:a16="http://schemas.microsoft.com/office/drawing/2014/main" id="{E5BD7957-EE50-F7E1-5EC4-A00B8C29F742}"/>
                </a:ext>
                <a:ext uri="{C183D7F6-B498-43B3-948B-1728B52AA6E4}">
                  <adec:decorative xmlns:adec="http://schemas.microsoft.com/office/drawing/2017/decorative" val="1"/>
                </a:ext>
              </a:extLst>
            </p:cNvPr>
            <p:cNvGrpSpPr/>
            <p:nvPr userDrawn="1"/>
          </p:nvGrpSpPr>
          <p:grpSpPr>
            <a:xfrm>
              <a:off x="0" y="0"/>
              <a:ext cx="12279903" cy="5143501"/>
              <a:chOff x="0" y="0"/>
              <a:chExt cx="12279903" cy="5143501"/>
            </a:xfrm>
          </p:grpSpPr>
          <p:cxnSp>
            <p:nvCxnSpPr>
              <p:cNvPr id="282" name="Google Shape;282;p28">
                <a:extLst>
                  <a:ext uri="{C183D7F6-B498-43B3-948B-1728B52AA6E4}">
                    <adec:decorative xmlns:adec="http://schemas.microsoft.com/office/drawing/2017/decorative" val="1"/>
                  </a:ext>
                </a:extLst>
              </p:cNvPr>
              <p:cNvCxnSpPr/>
              <p:nvPr/>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pic>
            <p:nvPicPr>
              <p:cNvPr id="285" name="Google Shape;285;p28">
                <a:extLst>
                  <a:ext uri="{C183D7F6-B498-43B3-948B-1728B52AA6E4}">
                    <adec:decorative xmlns:adec="http://schemas.microsoft.com/office/drawing/2017/decorative" val="1"/>
                  </a:ext>
                </a:extLst>
              </p:cNvPr>
              <p:cNvPicPr preferRelativeResize="0"/>
              <p:nvPr/>
            </p:nvPicPr>
            <p:blipFill rotWithShape="1">
              <a:blip r:embed="rId2">
                <a:alphaModFix amt="50000"/>
              </a:blip>
              <a:srcRect/>
              <a:stretch/>
            </p:blipFill>
            <p:spPr>
              <a:xfrm>
                <a:off x="0" y="0"/>
                <a:ext cx="5885013" cy="5143501"/>
              </a:xfrm>
              <a:prstGeom prst="rect">
                <a:avLst/>
              </a:prstGeom>
              <a:noFill/>
              <a:ln>
                <a:noFill/>
              </a:ln>
            </p:spPr>
          </p:pic>
          <p:grpSp>
            <p:nvGrpSpPr>
              <p:cNvPr id="3" name="Group 2">
                <a:extLst>
                  <a:ext uri="{FF2B5EF4-FFF2-40B4-BE49-F238E27FC236}">
                    <a16:creationId xmlns:a16="http://schemas.microsoft.com/office/drawing/2014/main" id="{6E286D62-03BB-174A-B73A-AEAD28239285}"/>
                  </a:ext>
                  <a:ext uri="{C183D7F6-B498-43B3-948B-1728B52AA6E4}">
                    <adec:decorative xmlns:adec="http://schemas.microsoft.com/office/drawing/2017/decorative" val="1"/>
                  </a:ext>
                </a:extLst>
              </p:cNvPr>
              <p:cNvGrpSpPr/>
              <p:nvPr userDrawn="1"/>
            </p:nvGrpSpPr>
            <p:grpSpPr>
              <a:xfrm>
                <a:off x="1250641" y="647264"/>
                <a:ext cx="3350876" cy="3896544"/>
                <a:chOff x="1250641" y="647264"/>
                <a:chExt cx="3350876" cy="3896544"/>
              </a:xfrm>
              <a:gradFill>
                <a:gsLst>
                  <a:gs pos="0">
                    <a:srgbClr val="1F9CF0"/>
                  </a:gs>
                  <a:gs pos="100000">
                    <a:srgbClr val="9477E2"/>
                  </a:gs>
                </a:gsLst>
                <a:lin ang="2700006" scaled="0"/>
              </a:gradFill>
            </p:grpSpPr>
            <p:sp>
              <p:nvSpPr>
                <p:cNvPr id="287" name="Google Shape;287;p28"/>
                <p:cNvSpPr/>
                <p:nvPr/>
              </p:nvSpPr>
              <p:spPr>
                <a:xfrm>
                  <a:off x="1250641" y="1140105"/>
                  <a:ext cx="3350876" cy="2910862"/>
                </a:xfrm>
                <a:prstGeom prst="roundRect">
                  <a:avLst>
                    <a:gd name="adj" fmla="val 0"/>
                  </a:avLst>
                </a:pr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2796" b="0" i="0">
                    <a:solidFill>
                      <a:schemeClr val="lt1"/>
                    </a:solidFill>
                    <a:latin typeface="Helvetica" pitchFamily="2" charset="0"/>
                    <a:ea typeface="Calibri"/>
                    <a:cs typeface="Calibri"/>
                    <a:sym typeface="Calibri"/>
                  </a:endParaRPr>
                </a:p>
              </p:txBody>
            </p:sp>
            <p:sp>
              <p:nvSpPr>
                <p:cNvPr id="288" name="Google Shape;288;p28"/>
                <p:cNvSpPr/>
                <p:nvPr/>
              </p:nvSpPr>
              <p:spPr>
                <a:xfrm rot="10800000" flipH="1">
                  <a:off x="1250641" y="647264"/>
                  <a:ext cx="990493" cy="492841"/>
                </a:xfrm>
                <a:custGeom>
                  <a:avLst/>
                  <a:gdLst/>
                  <a:ahLst/>
                  <a:cxnLst/>
                  <a:rect l="l" t="t" r="r" b="b"/>
                  <a:pathLst>
                    <a:path w="1525539" h="760240" extrusionOk="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2796" b="0" i="0">
                    <a:solidFill>
                      <a:schemeClr val="lt1"/>
                    </a:solidFill>
                    <a:latin typeface="Helvetica" pitchFamily="2" charset="0"/>
                    <a:ea typeface="Calibri"/>
                    <a:cs typeface="Calibri"/>
                    <a:sym typeface="Calibri"/>
                  </a:endParaRPr>
                </a:p>
              </p:txBody>
            </p:sp>
            <p:sp>
              <p:nvSpPr>
                <p:cNvPr id="289" name="Google Shape;289;p28"/>
                <p:cNvSpPr/>
                <p:nvPr/>
              </p:nvSpPr>
              <p:spPr>
                <a:xfrm>
                  <a:off x="3611024" y="4050967"/>
                  <a:ext cx="990493" cy="492841"/>
                </a:xfrm>
                <a:custGeom>
                  <a:avLst/>
                  <a:gdLst/>
                  <a:ahLst/>
                  <a:cxnLst/>
                  <a:rect l="l" t="t" r="r" b="b"/>
                  <a:pathLst>
                    <a:path w="1525539" h="760240" extrusionOk="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2796" kern="0" spc="0" normalizeH="0" baseline="0">
                    <a:ln>
                      <a:noFill/>
                    </a:ln>
                    <a:solidFill>
                      <a:srgbClr val="FFFFFF"/>
                    </a:solidFill>
                    <a:effectLst/>
                    <a:uLnTx/>
                    <a:uFillTx/>
                    <a:latin typeface="Helvetica" pitchFamily="2" charset="0"/>
                    <a:ea typeface="Calibri"/>
                    <a:cs typeface="Calibri"/>
                    <a:sym typeface="Calibri"/>
                  </a:endParaRPr>
                </a:p>
              </p:txBody>
            </p:sp>
          </p:grpSp>
          <p:pic>
            <p:nvPicPr>
              <p:cNvPr id="292" name="Google Shape;292;p28">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8517534" y="714379"/>
                <a:ext cx="3762369" cy="3762369"/>
              </a:xfrm>
              <a:prstGeom prst="rect">
                <a:avLst/>
              </a:prstGeom>
              <a:noFill/>
              <a:ln>
                <a:noFill/>
              </a:ln>
            </p:spPr>
          </p:pic>
        </p:grpSp>
        <p:cxnSp>
          <p:nvCxnSpPr>
            <p:cNvPr id="291" name="Google Shape;291;p28">
              <a:extLst>
                <a:ext uri="{C183D7F6-B498-43B3-948B-1728B52AA6E4}">
                  <adec:decorative xmlns:adec="http://schemas.microsoft.com/office/drawing/2017/decorative" val="1"/>
                </a:ext>
              </a:extLst>
            </p:cNvPr>
            <p:cNvCxnSpPr/>
            <p:nvPr/>
          </p:nvCxnSpPr>
          <p:spPr>
            <a:xfrm>
              <a:off x="5283356" y="1079083"/>
              <a:ext cx="2070300" cy="0"/>
            </a:xfrm>
            <a:prstGeom prst="straightConnector1">
              <a:avLst/>
            </a:prstGeom>
            <a:noFill/>
            <a:ln w="12700" cap="flat" cmpd="sng">
              <a:solidFill>
                <a:srgbClr val="627597"/>
              </a:solidFill>
              <a:prstDash val="solid"/>
              <a:miter lim="800000"/>
              <a:headEnd type="none" w="sm" len="sm"/>
              <a:tailEnd type="none" w="sm" len="sm"/>
            </a:ln>
          </p:spPr>
        </p:cxnSp>
      </p:grpSp>
      <p:sp>
        <p:nvSpPr>
          <p:cNvPr id="296" name="Google Shape;296;p28"/>
          <p:cNvSpPr txBox="1">
            <a:spLocks noGrp="1"/>
          </p:cNvSpPr>
          <p:nvPr>
            <p:ph type="title"/>
          </p:nvPr>
        </p:nvSpPr>
        <p:spPr>
          <a:xfrm>
            <a:off x="6998208" y="1828800"/>
            <a:ext cx="39744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90" name="Google Shape;290;p28">
            <a:extLst>
              <a:ext uri="{C183D7F6-B498-43B3-948B-1728B52AA6E4}">
                <adec:decorative xmlns:adec="http://schemas.microsoft.com/office/drawing/2017/decorative" val="1"/>
              </a:ext>
            </a:extLst>
          </p:cNvPr>
          <p:cNvSpPr/>
          <p:nvPr/>
        </p:nvSpPr>
        <p:spPr>
          <a:xfrm>
            <a:off x="2087125" y="1125200"/>
            <a:ext cx="405180" cy="265266"/>
          </a:xfrm>
          <a:custGeom>
            <a:avLst/>
            <a:gdLst/>
            <a:ahLst/>
            <a:cxnLst/>
            <a:rect l="l" t="t" r="r" b="b"/>
            <a:pathLst>
              <a:path w="173154" h="113523" extrusionOk="0">
                <a:moveTo>
                  <a:pt x="124690" y="0"/>
                </a:moveTo>
                <a:lnTo>
                  <a:pt x="173154" y="0"/>
                </a:lnTo>
                <a:lnTo>
                  <a:pt x="148922" y="113523"/>
                </a:lnTo>
                <a:lnTo>
                  <a:pt x="85314" y="113523"/>
                </a:lnTo>
                <a:close/>
                <a:moveTo>
                  <a:pt x="39376" y="0"/>
                </a:moveTo>
                <a:lnTo>
                  <a:pt x="87839" y="0"/>
                </a:lnTo>
                <a:lnTo>
                  <a:pt x="63607" y="113523"/>
                </a:lnTo>
                <a:lnTo>
                  <a:pt x="0" y="113523"/>
                </a:lnTo>
                <a:close/>
              </a:path>
            </a:pathLst>
          </a:custGeom>
          <a:solidFill>
            <a:schemeClr val="lt1"/>
          </a:solidFill>
          <a:ln>
            <a:noFill/>
          </a:ln>
        </p:spPr>
        <p:txBody>
          <a:bodyPr spcFirstLastPara="1" wrap="square" lIns="57111" tIns="28556" rIns="57111" bIns="28556" anchor="ctr" anchorCtr="0">
            <a:noAutofit/>
          </a:bodyPr>
          <a:lstStyle/>
          <a:p>
            <a:pPr marL="0" marR="0" lvl="0" indent="0" algn="ctr" rtl="0">
              <a:spcBef>
                <a:spcPts val="0"/>
              </a:spcBef>
              <a:spcAft>
                <a:spcPts val="0"/>
              </a:spcAft>
              <a:buNone/>
            </a:pPr>
            <a:endParaRPr sz="2796" b="0" i="0">
              <a:solidFill>
                <a:schemeClr val="lt1"/>
              </a:solidFill>
              <a:latin typeface="Helvetica" pitchFamily="2" charset="0"/>
              <a:ea typeface="Calibri"/>
              <a:cs typeface="Calibri"/>
              <a:sym typeface="Calibri"/>
            </a:endParaRPr>
          </a:p>
        </p:txBody>
      </p:sp>
      <p:sp>
        <p:nvSpPr>
          <p:cNvPr id="293" name="Google Shape;293;p28"/>
          <p:cNvSpPr txBox="1">
            <a:spLocks noGrp="1"/>
          </p:cNvSpPr>
          <p:nvPr>
            <p:ph type="body" idx="1"/>
          </p:nvPr>
        </p:nvSpPr>
        <p:spPr>
          <a:xfrm>
            <a:off x="2036064" y="2243328"/>
            <a:ext cx="3718400" cy="17068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1100"/>
              <a:buNone/>
              <a:defRPr sz="1464" b="0" i="0">
                <a:latin typeface="Helvetica" pitchFamily="2" charset="0"/>
              </a:defRPr>
            </a:lvl1pPr>
            <a:lvl2pPr marL="1217295" lvl="1" indent="-397312" algn="ctr">
              <a:spcBef>
                <a:spcPts val="0"/>
              </a:spcBef>
              <a:spcAft>
                <a:spcPts val="0"/>
              </a:spcAft>
              <a:buSzPts val="1100"/>
              <a:buChar char="○"/>
              <a:defRPr sz="1464" i="1"/>
            </a:lvl2pPr>
            <a:lvl3pPr marL="1825943" lvl="2" indent="-397312" algn="ctr">
              <a:spcBef>
                <a:spcPts val="0"/>
              </a:spcBef>
              <a:spcAft>
                <a:spcPts val="0"/>
              </a:spcAft>
              <a:buSzPts val="1100"/>
              <a:buChar char="■"/>
              <a:defRPr sz="1464" i="1"/>
            </a:lvl3pPr>
            <a:lvl4pPr marL="2434590" lvl="3" indent="-397312" algn="ctr">
              <a:spcBef>
                <a:spcPts val="0"/>
              </a:spcBef>
              <a:spcAft>
                <a:spcPts val="0"/>
              </a:spcAft>
              <a:buSzPts val="1100"/>
              <a:buChar char="●"/>
              <a:defRPr sz="1464" i="1"/>
            </a:lvl4pPr>
            <a:lvl5pPr marL="3043238" lvl="4" indent="-397312" algn="ctr">
              <a:spcBef>
                <a:spcPts val="0"/>
              </a:spcBef>
              <a:spcAft>
                <a:spcPts val="0"/>
              </a:spcAft>
              <a:buSzPts val="1100"/>
              <a:buChar char="○"/>
              <a:defRPr sz="1464" i="1"/>
            </a:lvl5pPr>
            <a:lvl6pPr marL="3651885" lvl="5" indent="-397312" algn="ctr">
              <a:spcBef>
                <a:spcPts val="0"/>
              </a:spcBef>
              <a:spcAft>
                <a:spcPts val="0"/>
              </a:spcAft>
              <a:buSzPts val="1100"/>
              <a:buChar char="■"/>
              <a:defRPr sz="1464" i="1"/>
            </a:lvl6pPr>
            <a:lvl7pPr marL="4260533" lvl="6" indent="-397312" algn="ctr">
              <a:spcBef>
                <a:spcPts val="0"/>
              </a:spcBef>
              <a:spcAft>
                <a:spcPts val="0"/>
              </a:spcAft>
              <a:buSzPts val="1100"/>
              <a:buChar char="●"/>
              <a:defRPr sz="1464" i="1"/>
            </a:lvl7pPr>
            <a:lvl8pPr marL="4869180" lvl="7" indent="-397312" algn="ctr">
              <a:spcBef>
                <a:spcPts val="0"/>
              </a:spcBef>
              <a:spcAft>
                <a:spcPts val="0"/>
              </a:spcAft>
              <a:buSzPts val="1100"/>
              <a:buChar char="○"/>
              <a:defRPr sz="1464" i="1"/>
            </a:lvl8pPr>
            <a:lvl9pPr marL="5477828" lvl="8" indent="-397312" algn="ctr">
              <a:spcBef>
                <a:spcPts val="0"/>
              </a:spcBef>
              <a:spcAft>
                <a:spcPts val="0"/>
              </a:spcAft>
              <a:buSzPts val="1100"/>
              <a:buChar char="■"/>
              <a:defRPr sz="1464" i="1"/>
            </a:lvl9pPr>
          </a:lstStyle>
          <a:p>
            <a:endParaRPr dirty="0"/>
          </a:p>
        </p:txBody>
      </p:sp>
      <p:sp>
        <p:nvSpPr>
          <p:cNvPr id="294" name="Google Shape;294;p28"/>
          <p:cNvSpPr txBox="1">
            <a:spLocks noGrp="1"/>
          </p:cNvSpPr>
          <p:nvPr>
            <p:ph type="body" idx="2"/>
          </p:nvPr>
        </p:nvSpPr>
        <p:spPr>
          <a:xfrm>
            <a:off x="2535936" y="4255008"/>
            <a:ext cx="2760400" cy="8940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1500"/>
              <a:buNone/>
              <a:defRPr sz="1997" b="0" i="0">
                <a:latin typeface="Helvetica" pitchFamily="2" charset="0"/>
              </a:defRPr>
            </a:lvl1pPr>
            <a:lvl2pPr marL="1217295" lvl="1" indent="-397312" algn="ctr">
              <a:lnSpc>
                <a:spcPct val="100000"/>
              </a:lnSpc>
              <a:spcBef>
                <a:spcPts val="0"/>
              </a:spcBef>
              <a:spcAft>
                <a:spcPts val="0"/>
              </a:spcAft>
              <a:buSzPts val="1100"/>
              <a:buChar char="○"/>
              <a:defRPr sz="1464" i="1"/>
            </a:lvl2pPr>
            <a:lvl3pPr marL="1825943" lvl="2" indent="-397312" algn="ctr">
              <a:lnSpc>
                <a:spcPct val="100000"/>
              </a:lnSpc>
              <a:spcBef>
                <a:spcPts val="0"/>
              </a:spcBef>
              <a:spcAft>
                <a:spcPts val="0"/>
              </a:spcAft>
              <a:buSzPts val="1100"/>
              <a:buChar char="■"/>
              <a:defRPr sz="1464" i="1"/>
            </a:lvl3pPr>
            <a:lvl4pPr marL="2434590" lvl="3" indent="-388858" algn="ctr">
              <a:lnSpc>
                <a:spcPct val="100000"/>
              </a:lnSpc>
              <a:spcBef>
                <a:spcPts val="0"/>
              </a:spcBef>
              <a:spcAft>
                <a:spcPts val="0"/>
              </a:spcAft>
              <a:buSzPts val="1000"/>
              <a:buChar char="●"/>
              <a:defRPr/>
            </a:lvl4pPr>
            <a:lvl5pPr marL="3043238" lvl="4" indent="-388858" algn="ctr">
              <a:lnSpc>
                <a:spcPct val="100000"/>
              </a:lnSpc>
              <a:spcBef>
                <a:spcPts val="0"/>
              </a:spcBef>
              <a:spcAft>
                <a:spcPts val="0"/>
              </a:spcAft>
              <a:buSzPts val="1000"/>
              <a:buChar char="○"/>
              <a:defRPr/>
            </a:lvl5pPr>
            <a:lvl6pPr marL="3651885" lvl="5" indent="-388858" algn="ctr">
              <a:lnSpc>
                <a:spcPct val="100000"/>
              </a:lnSpc>
              <a:spcBef>
                <a:spcPts val="0"/>
              </a:spcBef>
              <a:spcAft>
                <a:spcPts val="0"/>
              </a:spcAft>
              <a:buSzPts val="1000"/>
              <a:buChar char="■"/>
              <a:defRPr/>
            </a:lvl6pPr>
            <a:lvl7pPr marL="4260533" lvl="6" indent="-388858" algn="ctr">
              <a:lnSpc>
                <a:spcPct val="100000"/>
              </a:lnSpc>
              <a:spcBef>
                <a:spcPts val="0"/>
              </a:spcBef>
              <a:spcAft>
                <a:spcPts val="0"/>
              </a:spcAft>
              <a:buSzPts val="1000"/>
              <a:buChar char="●"/>
              <a:defRPr/>
            </a:lvl7pPr>
            <a:lvl8pPr marL="4869180" lvl="7" indent="-388858" algn="ctr">
              <a:lnSpc>
                <a:spcPct val="100000"/>
              </a:lnSpc>
              <a:spcBef>
                <a:spcPts val="0"/>
              </a:spcBef>
              <a:spcAft>
                <a:spcPts val="0"/>
              </a:spcAft>
              <a:buSzPts val="1000"/>
              <a:buChar char="○"/>
              <a:defRPr/>
            </a:lvl8pPr>
            <a:lvl9pPr marL="5477828" lvl="8" indent="-388858" algn="ctr">
              <a:lnSpc>
                <a:spcPct val="100000"/>
              </a:lnSpc>
              <a:spcBef>
                <a:spcPts val="0"/>
              </a:spcBef>
              <a:spcAft>
                <a:spcPts val="0"/>
              </a:spcAft>
              <a:buSzPts val="1000"/>
              <a:buChar char="■"/>
              <a:defRPr/>
            </a:lvl9pPr>
          </a:lstStyle>
          <a:p>
            <a:endParaRPr dirty="0"/>
          </a:p>
        </p:txBody>
      </p:sp>
      <p:sp>
        <p:nvSpPr>
          <p:cNvPr id="298" name="Google Shape;298;p28"/>
          <p:cNvSpPr>
            <a:spLocks noGrp="1"/>
          </p:cNvSpPr>
          <p:nvPr>
            <p:ph type="pic" idx="5"/>
          </p:nvPr>
        </p:nvSpPr>
        <p:spPr>
          <a:xfrm>
            <a:off x="4959866" y="4852852"/>
            <a:ext cx="1036400" cy="1036400"/>
          </a:xfrm>
          <a:prstGeom prst="ellipse">
            <a:avLst/>
          </a:prstGeom>
          <a:noFill/>
          <a:ln>
            <a:noFill/>
          </a:ln>
        </p:spPr>
        <p:txBody>
          <a:bodyPr anchor="ctr"/>
          <a:lstStyle>
            <a:lvl1pPr marL="0" indent="0" algn="ctr">
              <a:buNone/>
              <a:defRPr sz="1065" b="0" i="0">
                <a:latin typeface="Helvetica" pitchFamily="2" charset="0"/>
              </a:defRPr>
            </a:lvl1pPr>
          </a:lstStyle>
          <a:p>
            <a:endParaRPr lang="en-US" dirty="0"/>
          </a:p>
        </p:txBody>
      </p:sp>
      <p:sp>
        <p:nvSpPr>
          <p:cNvPr id="295" name="Google Shape;295;p28"/>
          <p:cNvSpPr txBox="1">
            <a:spLocks noGrp="1"/>
          </p:cNvSpPr>
          <p:nvPr>
            <p:ph type="subTitle" idx="3"/>
          </p:nvPr>
        </p:nvSpPr>
        <p:spPr>
          <a:xfrm>
            <a:off x="6998208" y="1182624"/>
            <a:ext cx="4035600" cy="233564"/>
          </a:xfrm>
          <a:prstGeom prst="rect">
            <a:avLst/>
          </a:prstGeom>
        </p:spPr>
        <p:txBody>
          <a:bodyPr spcFirstLastPara="1" wrap="square" lIns="45700" tIns="18275" rIns="45700" bIns="18275" anchor="t" anchorCtr="0">
            <a:spAutoFit/>
          </a:bodyPr>
          <a:lstStyle>
            <a:lvl1pPr marL="0" lvl="0">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dirty="0"/>
          </a:p>
        </p:txBody>
      </p:sp>
      <p:sp>
        <p:nvSpPr>
          <p:cNvPr id="297" name="Google Shape;297;p28"/>
          <p:cNvSpPr txBox="1">
            <a:spLocks noGrp="1"/>
          </p:cNvSpPr>
          <p:nvPr>
            <p:ph type="body" idx="4"/>
          </p:nvPr>
        </p:nvSpPr>
        <p:spPr>
          <a:xfrm>
            <a:off x="6998208" y="3413760"/>
            <a:ext cx="3974400" cy="1706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284" name="Google Shape;284;p28"/>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8" name="Google Shape;56;p14">
            <a:extLst>
              <a:ext uri="{FF2B5EF4-FFF2-40B4-BE49-F238E27FC236}">
                <a16:creationId xmlns:a16="http://schemas.microsoft.com/office/drawing/2014/main" id="{E4F8E568-C533-52CC-CC72-510F4CD005A2}"/>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22494764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matchingName="Three Blocks" preserve="1">
  <p:cSld name="Three Blocks">
    <p:spTree>
      <p:nvGrpSpPr>
        <p:cNvPr id="1" name="Shape 299"/>
        <p:cNvGrpSpPr/>
        <p:nvPr/>
      </p:nvGrpSpPr>
      <p:grpSpPr>
        <a:xfrm>
          <a:off x="0" y="0"/>
          <a:ext cx="0" cy="0"/>
          <a:chOff x="0" y="0"/>
          <a:chExt cx="0" cy="0"/>
        </a:xfrm>
      </p:grpSpPr>
      <p:grpSp>
        <p:nvGrpSpPr>
          <p:cNvPr id="2" name="Group 1">
            <a:extLst>
              <a:ext uri="{FF2B5EF4-FFF2-40B4-BE49-F238E27FC236}">
                <a16:creationId xmlns:a16="http://schemas.microsoft.com/office/drawing/2014/main" id="{BE437089-810F-7F01-BE5D-CA2E0D7567FE}"/>
              </a:ext>
              <a:ext uri="{C183D7F6-B498-43B3-948B-1728B52AA6E4}">
                <adec:decorative xmlns:adec="http://schemas.microsoft.com/office/drawing/2017/decorative" val="1"/>
              </a:ext>
            </a:extLst>
          </p:cNvPr>
          <p:cNvGrpSpPr/>
          <p:nvPr userDrawn="1"/>
        </p:nvGrpSpPr>
        <p:grpSpPr>
          <a:xfrm>
            <a:off x="-4456557" y="400"/>
            <a:ext cx="20940072" cy="8214819"/>
            <a:chOff x="-3342418" y="300"/>
            <a:chExt cx="15705054" cy="6161114"/>
          </a:xfrm>
        </p:grpSpPr>
        <p:cxnSp>
          <p:nvCxnSpPr>
            <p:cNvPr id="300" name="Google Shape;300;p29">
              <a:extLst>
                <a:ext uri="{C183D7F6-B498-43B3-948B-1728B52AA6E4}">
                  <adec:decorative xmlns:adec="http://schemas.microsoft.com/office/drawing/2017/decorative" val="1"/>
                </a:ext>
              </a:extLst>
            </p:cNvPr>
            <p:cNvCxnSpPr/>
            <p:nvPr/>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sp>
          <p:nvSpPr>
            <p:cNvPr id="303" name="Google Shape;303;p29">
              <a:extLst>
                <a:ext uri="{C183D7F6-B498-43B3-948B-1728B52AA6E4}">
                  <adec:decorative xmlns:adec="http://schemas.microsoft.com/office/drawing/2017/decorative" val="1"/>
                </a:ext>
              </a:extLst>
            </p:cNvPr>
            <p:cNvSpPr/>
            <p:nvPr/>
          </p:nvSpPr>
          <p:spPr>
            <a:xfrm>
              <a:off x="836471" y="3334572"/>
              <a:ext cx="2177400" cy="1071502"/>
            </a:xfrm>
            <a:prstGeom prst="rect">
              <a:avLst/>
            </a:prstGeom>
            <a:gradFill>
              <a:gsLst>
                <a:gs pos="0">
                  <a:srgbClr val="1F9CF0"/>
                </a:gs>
                <a:gs pos="200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04" name="Google Shape;304;p29">
              <a:extLst>
                <a:ext uri="{C183D7F6-B498-43B3-948B-1728B52AA6E4}">
                  <adec:decorative xmlns:adec="http://schemas.microsoft.com/office/drawing/2017/decorative" val="1"/>
                </a:ext>
              </a:extLst>
            </p:cNvPr>
            <p:cNvSpPr/>
            <p:nvPr/>
          </p:nvSpPr>
          <p:spPr>
            <a:xfrm>
              <a:off x="3424403" y="3332929"/>
              <a:ext cx="2177400" cy="1071502"/>
            </a:xfrm>
            <a:prstGeom prst="rect">
              <a:avLst/>
            </a:prstGeom>
            <a:gradFill>
              <a:gsLst>
                <a:gs pos="0">
                  <a:srgbClr val="D59DFF"/>
                </a:gs>
                <a:gs pos="100000">
                  <a:srgbClr val="D59DFF">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05" name="Google Shape;305;p29">
              <a:extLst>
                <a:ext uri="{C183D7F6-B498-43B3-948B-1728B52AA6E4}">
                  <adec:decorative xmlns:adec="http://schemas.microsoft.com/office/drawing/2017/decorative" val="1"/>
                </a:ext>
              </a:extLst>
            </p:cNvPr>
            <p:cNvSpPr/>
            <p:nvPr/>
          </p:nvSpPr>
          <p:spPr>
            <a:xfrm>
              <a:off x="6012335" y="3332929"/>
              <a:ext cx="2177400" cy="1071502"/>
            </a:xfrm>
            <a:prstGeom prst="rect">
              <a:avLst/>
            </a:prstGeom>
            <a:gradFill>
              <a:gsLst>
                <a:gs pos="0">
                  <a:srgbClr val="9477E2"/>
                </a:gs>
                <a:gs pos="2000">
                  <a:srgbClr val="9477E2"/>
                </a:gs>
                <a:gs pos="100000">
                  <a:srgbClr val="8661C5">
                    <a:alpha val="0"/>
                  </a:srgbClr>
                </a:gs>
              </a:gsLst>
              <a:lin ang="2700006" scaled="0"/>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cxnSp>
          <p:nvCxnSpPr>
            <p:cNvPr id="306" name="Google Shape;306;p29">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pic>
          <p:nvPicPr>
            <p:cNvPr id="307" name="Google Shape;307;p29">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600267" y="500036"/>
              <a:ext cx="3762369" cy="3762369"/>
            </a:xfrm>
            <a:prstGeom prst="rect">
              <a:avLst/>
            </a:prstGeom>
            <a:noFill/>
            <a:ln>
              <a:noFill/>
            </a:ln>
          </p:spPr>
        </p:pic>
        <p:pic>
          <p:nvPicPr>
            <p:cNvPr id="308" name="Google Shape;308;p29">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3342418" y="2399045"/>
              <a:ext cx="3762369" cy="3762369"/>
            </a:xfrm>
            <a:prstGeom prst="rect">
              <a:avLst/>
            </a:prstGeom>
            <a:noFill/>
            <a:ln>
              <a:noFill/>
            </a:ln>
          </p:spPr>
        </p:pic>
        <p:sp>
          <p:nvSpPr>
            <p:cNvPr id="309" name="Google Shape;309;p29">
              <a:extLst>
                <a:ext uri="{C183D7F6-B498-43B3-948B-1728B52AA6E4}">
                  <adec:decorative xmlns:adec="http://schemas.microsoft.com/office/drawing/2017/decorative" val="1"/>
                </a:ext>
              </a:extLst>
            </p:cNvPr>
            <p:cNvSpPr/>
            <p:nvPr/>
          </p:nvSpPr>
          <p:spPr>
            <a:xfrm rot="10800000">
              <a:off x="407925" y="300"/>
              <a:ext cx="73200" cy="16896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311" name="Google Shape;311;p29"/>
          <p:cNvSpPr txBox="1">
            <a:spLocks noGrp="1"/>
          </p:cNvSpPr>
          <p:nvPr>
            <p:ph type="title"/>
          </p:nvPr>
        </p:nvSpPr>
        <p:spPr>
          <a:xfrm>
            <a:off x="1072896" y="1377696"/>
            <a:ext cx="3889200" cy="1036400"/>
          </a:xfrm>
          <a:prstGeom prst="rect">
            <a:avLst/>
          </a:prstGeom>
        </p:spPr>
        <p:txBody>
          <a:bodyPr spcFirstLastPara="1" wrap="square" lIns="45700" tIns="18275" rIns="45700" bIns="18275" anchor="t" anchorCtr="0">
            <a:noAutofit/>
          </a:bodyPr>
          <a:lstStyle>
            <a:lvl1pPr lvl="0" rtl="0">
              <a:spcBef>
                <a:spcPts val="0"/>
              </a:spcBef>
              <a:spcAft>
                <a:spcPts val="0"/>
              </a:spcAft>
              <a:buSzPts val="1700"/>
              <a:buNone/>
              <a:defRPr sz="2263" b="0" i="0">
                <a:latin typeface="Helvetica" pitchFamily="2" charset="0"/>
              </a:defRPr>
            </a:lvl1pPr>
            <a:lvl2pPr lvl="1" rtl="0">
              <a:spcBef>
                <a:spcPts val="0"/>
              </a:spcBef>
              <a:spcAft>
                <a:spcPts val="0"/>
              </a:spcAft>
              <a:buSzPts val="1700"/>
              <a:buNone/>
              <a:defRPr sz="2263"/>
            </a:lvl2pPr>
            <a:lvl3pPr lvl="2" rtl="0">
              <a:spcBef>
                <a:spcPts val="0"/>
              </a:spcBef>
              <a:spcAft>
                <a:spcPts val="0"/>
              </a:spcAft>
              <a:buSzPts val="1700"/>
              <a:buNone/>
              <a:defRPr sz="2263"/>
            </a:lvl3pPr>
            <a:lvl4pPr lvl="3" rtl="0">
              <a:spcBef>
                <a:spcPts val="0"/>
              </a:spcBef>
              <a:spcAft>
                <a:spcPts val="0"/>
              </a:spcAft>
              <a:buSzPts val="1700"/>
              <a:buNone/>
              <a:defRPr sz="2263"/>
            </a:lvl4pPr>
            <a:lvl5pPr lvl="4" rtl="0">
              <a:spcBef>
                <a:spcPts val="0"/>
              </a:spcBef>
              <a:spcAft>
                <a:spcPts val="0"/>
              </a:spcAft>
              <a:buSzPts val="1700"/>
              <a:buNone/>
              <a:defRPr sz="2263"/>
            </a:lvl5pPr>
            <a:lvl6pPr lvl="5" rtl="0">
              <a:spcBef>
                <a:spcPts val="0"/>
              </a:spcBef>
              <a:spcAft>
                <a:spcPts val="0"/>
              </a:spcAft>
              <a:buSzPts val="1700"/>
              <a:buNone/>
              <a:defRPr sz="2263"/>
            </a:lvl6pPr>
            <a:lvl7pPr lvl="6" rtl="0">
              <a:spcBef>
                <a:spcPts val="0"/>
              </a:spcBef>
              <a:spcAft>
                <a:spcPts val="0"/>
              </a:spcAft>
              <a:buSzPts val="1700"/>
              <a:buNone/>
              <a:defRPr sz="2263"/>
            </a:lvl7pPr>
            <a:lvl8pPr lvl="7" rtl="0">
              <a:spcBef>
                <a:spcPts val="0"/>
              </a:spcBef>
              <a:spcAft>
                <a:spcPts val="0"/>
              </a:spcAft>
              <a:buSzPts val="1700"/>
              <a:buNone/>
              <a:defRPr sz="2263"/>
            </a:lvl8pPr>
            <a:lvl9pPr lvl="8" rtl="0">
              <a:spcBef>
                <a:spcPts val="0"/>
              </a:spcBef>
              <a:spcAft>
                <a:spcPts val="0"/>
              </a:spcAft>
              <a:buSzPts val="1700"/>
              <a:buNone/>
              <a:defRPr sz="2263"/>
            </a:lvl9pPr>
          </a:lstStyle>
          <a:p>
            <a:endParaRPr dirty="0"/>
          </a:p>
        </p:txBody>
      </p:sp>
      <p:sp>
        <p:nvSpPr>
          <p:cNvPr id="310" name="Google Shape;310;p29"/>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312" name="Google Shape;312;p29"/>
          <p:cNvSpPr txBox="1">
            <a:spLocks noGrp="1"/>
          </p:cNvSpPr>
          <p:nvPr>
            <p:ph type="body" idx="2"/>
          </p:nvPr>
        </p:nvSpPr>
        <p:spPr>
          <a:xfrm>
            <a:off x="1072896" y="2523744"/>
            <a:ext cx="3889200" cy="1292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313" name="Google Shape;313;p29"/>
          <p:cNvSpPr txBox="1">
            <a:spLocks noGrp="1"/>
          </p:cNvSpPr>
          <p:nvPr>
            <p:ph type="title" idx="3"/>
          </p:nvPr>
        </p:nvSpPr>
        <p:spPr>
          <a:xfrm>
            <a:off x="1267968" y="4572000"/>
            <a:ext cx="2607728" cy="536400"/>
          </a:xfrm>
          <a:prstGeom prst="rect">
            <a:avLst/>
          </a:prstGeom>
        </p:spPr>
        <p:txBody>
          <a:bodyPr spcFirstLastPara="1" wrap="square" lIns="45700" tIns="18275" rIns="45700" bIns="18275" anchor="t" anchorCtr="0">
            <a:noAutofit/>
          </a:bodyPr>
          <a:lstStyle>
            <a:lvl1pPr lvl="0">
              <a:spcBef>
                <a:spcPts val="0"/>
              </a:spcBef>
              <a:spcAft>
                <a:spcPts val="0"/>
              </a:spcAft>
              <a:buSzPts val="2300"/>
              <a:buNone/>
              <a:defRPr sz="2396"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14" name="Google Shape;314;p29"/>
          <p:cNvSpPr txBox="1">
            <a:spLocks noGrp="1"/>
          </p:cNvSpPr>
          <p:nvPr>
            <p:ph type="body" idx="4"/>
          </p:nvPr>
        </p:nvSpPr>
        <p:spPr>
          <a:xfrm>
            <a:off x="1272200" y="5035296"/>
            <a:ext cx="2596800" cy="67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315" name="Google Shape;315;p29"/>
          <p:cNvSpPr txBox="1">
            <a:spLocks noGrp="1"/>
          </p:cNvSpPr>
          <p:nvPr>
            <p:ph type="title" idx="5"/>
          </p:nvPr>
        </p:nvSpPr>
        <p:spPr>
          <a:xfrm>
            <a:off x="4718304" y="4572000"/>
            <a:ext cx="2607728" cy="536400"/>
          </a:xfrm>
          <a:prstGeom prst="rect">
            <a:avLst/>
          </a:prstGeom>
        </p:spPr>
        <p:txBody>
          <a:bodyPr spcFirstLastPara="1" wrap="square" lIns="45700" tIns="18275" rIns="45700" bIns="18275" anchor="t" anchorCtr="0">
            <a:noAutofit/>
          </a:bodyPr>
          <a:lstStyle>
            <a:lvl1pPr lvl="0" rtl="0">
              <a:spcBef>
                <a:spcPts val="0"/>
              </a:spcBef>
              <a:spcAft>
                <a:spcPts val="0"/>
              </a:spcAft>
              <a:buSzPts val="2300"/>
              <a:buNone/>
              <a:defRPr sz="2396"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316" name="Google Shape;316;p29"/>
          <p:cNvSpPr txBox="1">
            <a:spLocks noGrp="1"/>
          </p:cNvSpPr>
          <p:nvPr>
            <p:ph type="body" idx="6"/>
          </p:nvPr>
        </p:nvSpPr>
        <p:spPr>
          <a:xfrm>
            <a:off x="4718304" y="5035296"/>
            <a:ext cx="2596800" cy="6828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17" name="Google Shape;317;p29"/>
          <p:cNvSpPr txBox="1">
            <a:spLocks noGrp="1"/>
          </p:cNvSpPr>
          <p:nvPr>
            <p:ph type="title" idx="7"/>
          </p:nvPr>
        </p:nvSpPr>
        <p:spPr>
          <a:xfrm>
            <a:off x="8167535" y="4572000"/>
            <a:ext cx="2607728" cy="536400"/>
          </a:xfrm>
          <a:prstGeom prst="rect">
            <a:avLst/>
          </a:prstGeom>
        </p:spPr>
        <p:txBody>
          <a:bodyPr spcFirstLastPara="1" wrap="square" lIns="45700" tIns="18275" rIns="45700" bIns="18275" anchor="t" anchorCtr="0">
            <a:noAutofit/>
          </a:bodyPr>
          <a:lstStyle>
            <a:lvl1pPr lvl="0" rtl="0">
              <a:spcBef>
                <a:spcPts val="0"/>
              </a:spcBef>
              <a:spcAft>
                <a:spcPts val="0"/>
              </a:spcAft>
              <a:buSzPts val="2300"/>
              <a:buNone/>
              <a:defRPr sz="2396"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318" name="Google Shape;318;p29"/>
          <p:cNvSpPr txBox="1">
            <a:spLocks noGrp="1"/>
          </p:cNvSpPr>
          <p:nvPr>
            <p:ph type="body" idx="8"/>
          </p:nvPr>
        </p:nvSpPr>
        <p:spPr>
          <a:xfrm>
            <a:off x="8171767" y="5035296"/>
            <a:ext cx="25968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02" name="Google Shape;302;p29">
            <a:extLst>
              <a:ext uri="{C183D7F6-B498-43B3-948B-1728B52AA6E4}">
                <adec:decorative xmlns:adec="http://schemas.microsoft.com/office/drawing/2017/decorative" val="0"/>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1F1E1A65-91E3-BC91-E492-EC4FB95BA3CD}"/>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39959806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_Banner_Trio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10" name="Text Placeholder 2">
            <a:extLst>
              <a:ext uri="{FF2B5EF4-FFF2-40B4-BE49-F238E27FC236}">
                <a16:creationId xmlns:a16="http://schemas.microsoft.com/office/drawing/2014/main" id="{AF0B0EAB-A284-A8BB-179E-428AF2429D6E}"/>
              </a:ext>
            </a:extLst>
          </p:cNvPr>
          <p:cNvSpPr>
            <a:spLocks noGrp="1"/>
          </p:cNvSpPr>
          <p:nvPr>
            <p:ph type="body" sz="quarter" idx="11" hasCustomPrompt="1"/>
          </p:nvPr>
        </p:nvSpPr>
        <p:spPr>
          <a:xfrm>
            <a:off x="563499" y="1862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endParaRPr lang="en-IN" sz="6600" b="1">
              <a:latin typeface="Segoe UI" panose="020B0502040204020203" pitchFamily="34" charset="0"/>
            </a:endParaRPr>
          </a:p>
        </p:txBody>
      </p:sp>
      <p:sp>
        <p:nvSpPr>
          <p:cNvPr id="5" name="Text Placeholder 4">
            <a:extLst>
              <a:ext uri="{FF2B5EF4-FFF2-40B4-BE49-F238E27FC236}">
                <a16:creationId xmlns:a16="http://schemas.microsoft.com/office/drawing/2014/main" id="{3B6BA2CD-7209-D2F7-020F-04D77E22A4BD}"/>
              </a:ext>
            </a:extLst>
          </p:cNvPr>
          <p:cNvSpPr>
            <a:spLocks noGrp="1"/>
          </p:cNvSpPr>
          <p:nvPr>
            <p:ph type="body" sz="quarter" idx="13" hasCustomPrompt="1"/>
          </p:nvPr>
        </p:nvSpPr>
        <p:spPr>
          <a:xfrm>
            <a:off x="563499" y="112540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7" name="Text Placeholder 4">
            <a:extLst>
              <a:ext uri="{FF2B5EF4-FFF2-40B4-BE49-F238E27FC236}">
                <a16:creationId xmlns:a16="http://schemas.microsoft.com/office/drawing/2014/main" id="{E61F9E55-7626-7C64-5F31-BFA1F41275A7}"/>
              </a:ext>
            </a:extLst>
          </p:cNvPr>
          <p:cNvSpPr>
            <a:spLocks noGrp="1"/>
          </p:cNvSpPr>
          <p:nvPr>
            <p:ph type="body" sz="quarter" idx="19" hasCustomPrompt="1"/>
          </p:nvPr>
        </p:nvSpPr>
        <p:spPr>
          <a:xfrm>
            <a:off x="6269535" y="1114221"/>
            <a:ext cx="5532501" cy="516423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16219392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matchingName="Four Feature Percent" preserve="1" userDrawn="1">
  <p:cSld name="Four Feature Percent">
    <p:spTree>
      <p:nvGrpSpPr>
        <p:cNvPr id="1" name="Shape 319"/>
        <p:cNvGrpSpPr/>
        <p:nvPr/>
      </p:nvGrpSpPr>
      <p:grpSpPr>
        <a:xfrm>
          <a:off x="0" y="0"/>
          <a:ext cx="0" cy="0"/>
          <a:chOff x="0" y="0"/>
          <a:chExt cx="0" cy="0"/>
        </a:xfrm>
      </p:grpSpPr>
      <p:grpSp>
        <p:nvGrpSpPr>
          <p:cNvPr id="3" name="Group 2">
            <a:extLst>
              <a:ext uri="{FF2B5EF4-FFF2-40B4-BE49-F238E27FC236}">
                <a16:creationId xmlns:a16="http://schemas.microsoft.com/office/drawing/2014/main" id="{095B19D0-7CD6-23E0-32F2-108F153D8FE4}"/>
              </a:ext>
              <a:ext uri="{C183D7F6-B498-43B3-948B-1728B52AA6E4}">
                <adec:decorative xmlns:adec="http://schemas.microsoft.com/office/drawing/2017/decorative" val="1"/>
              </a:ext>
            </a:extLst>
          </p:cNvPr>
          <p:cNvGrpSpPr/>
          <p:nvPr userDrawn="1"/>
        </p:nvGrpSpPr>
        <p:grpSpPr>
          <a:xfrm>
            <a:off x="543900" y="-4241506"/>
            <a:ext cx="15829304" cy="10618721"/>
            <a:chOff x="407925" y="-3181130"/>
            <a:chExt cx="11871978" cy="7964041"/>
          </a:xfrm>
        </p:grpSpPr>
        <p:cxnSp>
          <p:nvCxnSpPr>
            <p:cNvPr id="327" name="Google Shape;327;p30">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grpSp>
          <p:nvGrpSpPr>
            <p:cNvPr id="2" name="Group 1">
              <a:extLst>
                <a:ext uri="{FF2B5EF4-FFF2-40B4-BE49-F238E27FC236}">
                  <a16:creationId xmlns:a16="http://schemas.microsoft.com/office/drawing/2014/main" id="{5E9D2E6C-9D41-36F5-AE6A-96CFAE3B0E95}"/>
                </a:ext>
              </a:extLst>
            </p:cNvPr>
            <p:cNvGrpSpPr/>
            <p:nvPr userDrawn="1"/>
          </p:nvGrpSpPr>
          <p:grpSpPr>
            <a:xfrm>
              <a:off x="407925" y="-3181130"/>
              <a:ext cx="11871978" cy="7964041"/>
              <a:chOff x="407925" y="-3181130"/>
              <a:chExt cx="11871978" cy="7964041"/>
            </a:xfrm>
          </p:grpSpPr>
          <p:cxnSp>
            <p:nvCxnSpPr>
              <p:cNvPr id="320" name="Google Shape;320;p30">
                <a:extLst>
                  <a:ext uri="{C183D7F6-B498-43B3-948B-1728B52AA6E4}">
                    <adec:decorative xmlns:adec="http://schemas.microsoft.com/office/drawing/2017/decorative" val="1"/>
                  </a:ext>
                </a:extLst>
              </p:cNvPr>
              <p:cNvCxnSpPr/>
              <p:nvPr/>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sp>
            <p:nvSpPr>
              <p:cNvPr id="323" name="Google Shape;323;p30">
                <a:extLst>
                  <a:ext uri="{C183D7F6-B498-43B3-948B-1728B52AA6E4}">
                    <adec:decorative xmlns:adec="http://schemas.microsoft.com/office/drawing/2017/decorative" val="1"/>
                  </a:ext>
                </a:extLst>
              </p:cNvPr>
              <p:cNvSpPr/>
              <p:nvPr/>
            </p:nvSpPr>
            <p:spPr>
              <a:xfrm>
                <a:off x="6829683" y="1571805"/>
                <a:ext cx="1085700" cy="1084200"/>
              </a:xfrm>
              <a:prstGeom prst="roundRect">
                <a:avLst>
                  <a:gd name="adj" fmla="val 16667"/>
                </a:avLst>
              </a:prstGeom>
              <a:gradFill>
                <a:gsLst>
                  <a:gs pos="0">
                    <a:srgbClr val="9477E2">
                      <a:alpha val="20000"/>
                    </a:srgbClr>
                  </a:gs>
                  <a:gs pos="2000">
                    <a:srgbClr val="9477E2">
                      <a:alpha val="20000"/>
                    </a:srgbClr>
                  </a:gs>
                  <a:gs pos="100000">
                    <a:srgbClr val="1F9CF0"/>
                  </a:gs>
                </a:gsLst>
                <a:lin ang="18900044"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Arial"/>
                  <a:cs typeface="Arial"/>
                  <a:sym typeface="Arial"/>
                </a:endParaRPr>
              </a:p>
            </p:txBody>
          </p:sp>
          <p:sp>
            <p:nvSpPr>
              <p:cNvPr id="324" name="Google Shape;324;p30">
                <a:extLst>
                  <a:ext uri="{C183D7F6-B498-43B3-948B-1728B52AA6E4}">
                    <adec:decorative xmlns:adec="http://schemas.microsoft.com/office/drawing/2017/decorative" val="1"/>
                  </a:ext>
                </a:extLst>
              </p:cNvPr>
              <p:cNvSpPr/>
              <p:nvPr/>
            </p:nvSpPr>
            <p:spPr>
              <a:xfrm>
                <a:off x="5892589" y="2758634"/>
                <a:ext cx="814200" cy="813000"/>
              </a:xfrm>
              <a:prstGeom prst="roundRect">
                <a:avLst>
                  <a:gd name="adj" fmla="val 16667"/>
                </a:avLst>
              </a:prstGeom>
              <a:gradFill>
                <a:gsLst>
                  <a:gs pos="0">
                    <a:srgbClr val="19C8EB"/>
                  </a:gs>
                  <a:gs pos="2000">
                    <a:srgbClr val="19C8EB"/>
                  </a:gs>
                  <a:gs pos="100000">
                    <a:srgbClr val="9477E2">
                      <a:alpha val="20000"/>
                    </a:srgbClr>
                  </a:gs>
                </a:gsLst>
                <a:lin ang="18900044"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Arial"/>
                  <a:cs typeface="Arial"/>
                  <a:sym typeface="Arial"/>
                </a:endParaRPr>
              </a:p>
            </p:txBody>
          </p:sp>
          <p:sp>
            <p:nvSpPr>
              <p:cNvPr id="325" name="Google Shape;325;p30">
                <a:extLst>
                  <a:ext uri="{C183D7F6-B498-43B3-948B-1728B52AA6E4}">
                    <adec:decorative xmlns:adec="http://schemas.microsoft.com/office/drawing/2017/decorative" val="1"/>
                  </a:ext>
                </a:extLst>
              </p:cNvPr>
              <p:cNvSpPr/>
              <p:nvPr/>
            </p:nvSpPr>
            <p:spPr>
              <a:xfrm>
                <a:off x="5078267" y="1029764"/>
                <a:ext cx="1628700" cy="1626000"/>
              </a:xfrm>
              <a:prstGeom prst="roundRect">
                <a:avLst>
                  <a:gd name="adj" fmla="val 16667"/>
                </a:avLst>
              </a:prstGeom>
              <a:gradFill>
                <a:gsLst>
                  <a:gs pos="0">
                    <a:srgbClr val="EC2B8C"/>
                  </a:gs>
                  <a:gs pos="2000">
                    <a:srgbClr val="EC2B8C"/>
                  </a:gs>
                  <a:gs pos="100000">
                    <a:srgbClr val="9477E2">
                      <a:alpha val="2000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Arial"/>
                  <a:cs typeface="Arial"/>
                  <a:sym typeface="Arial"/>
                </a:endParaRPr>
              </a:p>
            </p:txBody>
          </p:sp>
          <p:sp>
            <p:nvSpPr>
              <p:cNvPr id="326" name="Google Shape;326;p30">
                <a:extLst>
                  <a:ext uri="{C183D7F6-B498-43B3-948B-1728B52AA6E4}">
                    <adec:decorative xmlns:adec="http://schemas.microsoft.com/office/drawing/2017/decorative" val="1"/>
                  </a:ext>
                </a:extLst>
              </p:cNvPr>
              <p:cNvSpPr/>
              <p:nvPr/>
            </p:nvSpPr>
            <p:spPr>
              <a:xfrm>
                <a:off x="6829683" y="2758634"/>
                <a:ext cx="1357200" cy="1355100"/>
              </a:xfrm>
              <a:prstGeom prst="roundRect">
                <a:avLst>
                  <a:gd name="adj" fmla="val 16667"/>
                </a:avLst>
              </a:prstGeom>
              <a:gradFill>
                <a:gsLst>
                  <a:gs pos="0">
                    <a:srgbClr val="9477E2">
                      <a:alpha val="20000"/>
                    </a:srgbClr>
                  </a:gs>
                  <a:gs pos="100000">
                    <a:schemeClr val="accent3"/>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Arial"/>
                  <a:cs typeface="Arial"/>
                  <a:sym typeface="Arial"/>
                </a:endParaRPr>
              </a:p>
            </p:txBody>
          </p:sp>
          <p:cxnSp>
            <p:nvCxnSpPr>
              <p:cNvPr id="328" name="Google Shape;328;p30">
                <a:extLst>
                  <a:ext uri="{C183D7F6-B498-43B3-948B-1728B52AA6E4}">
                    <adec:decorative xmlns:adec="http://schemas.microsoft.com/office/drawing/2017/decorative" val="1"/>
                  </a:ext>
                </a:extLst>
              </p:cNvPr>
              <p:cNvCxnSpPr/>
              <p:nvPr/>
            </p:nvCxnSpPr>
            <p:spPr>
              <a:xfrm>
                <a:off x="841229" y="2194917"/>
                <a:ext cx="1521000" cy="8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29" name="Google Shape;329;p30">
                <a:extLst>
                  <a:ext uri="{C183D7F6-B498-43B3-948B-1728B52AA6E4}">
                    <adec:decorative xmlns:adec="http://schemas.microsoft.com/office/drawing/2017/decorative" val="1"/>
                  </a:ext>
                </a:extLst>
              </p:cNvPr>
              <p:cNvCxnSpPr/>
              <p:nvPr/>
            </p:nvCxnSpPr>
            <p:spPr>
              <a:xfrm>
                <a:off x="2795550" y="2202778"/>
                <a:ext cx="1521000" cy="8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30" name="Google Shape;330;p30">
                <a:extLst>
                  <a:ext uri="{C183D7F6-B498-43B3-948B-1728B52AA6E4}">
                    <adec:decorative xmlns:adec="http://schemas.microsoft.com/office/drawing/2017/decorative" val="1"/>
                  </a:ext>
                </a:extLst>
              </p:cNvPr>
              <p:cNvCxnSpPr/>
              <p:nvPr/>
            </p:nvCxnSpPr>
            <p:spPr>
              <a:xfrm>
                <a:off x="841229" y="3441072"/>
                <a:ext cx="1521000" cy="8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31" name="Google Shape;331;p30">
                <a:extLst>
                  <a:ext uri="{C183D7F6-B498-43B3-948B-1728B52AA6E4}">
                    <adec:decorative xmlns:adec="http://schemas.microsoft.com/office/drawing/2017/decorative" val="1"/>
                  </a:ext>
                </a:extLst>
              </p:cNvPr>
              <p:cNvCxnSpPr/>
              <p:nvPr/>
            </p:nvCxnSpPr>
            <p:spPr>
              <a:xfrm>
                <a:off x="2795550" y="3448932"/>
                <a:ext cx="1521000" cy="8400"/>
              </a:xfrm>
              <a:prstGeom prst="straightConnector1">
                <a:avLst/>
              </a:prstGeom>
              <a:noFill/>
              <a:ln w="12700" cap="flat" cmpd="sng">
                <a:solidFill>
                  <a:srgbClr val="627597">
                    <a:alpha val="49800"/>
                  </a:srgbClr>
                </a:solidFill>
                <a:prstDash val="solid"/>
                <a:miter lim="800000"/>
                <a:headEnd type="none" w="sm" len="sm"/>
                <a:tailEnd type="none" w="sm" len="sm"/>
              </a:ln>
            </p:spPr>
          </p:cxnSp>
          <p:grpSp>
            <p:nvGrpSpPr>
              <p:cNvPr id="332" name="Google Shape;332;p30">
                <a:extLst>
                  <a:ext uri="{C183D7F6-B498-43B3-948B-1728B52AA6E4}">
                    <adec:decorative xmlns:adec="http://schemas.microsoft.com/office/drawing/2017/decorative" val="1"/>
                  </a:ext>
                </a:extLst>
              </p:cNvPr>
              <p:cNvGrpSpPr/>
              <p:nvPr/>
            </p:nvGrpSpPr>
            <p:grpSpPr>
              <a:xfrm>
                <a:off x="6293503" y="2234842"/>
                <a:ext cx="940705" cy="938664"/>
                <a:chOff x="6104965" y="2265289"/>
                <a:chExt cx="1855800" cy="1855800"/>
              </a:xfrm>
            </p:grpSpPr>
            <p:sp>
              <p:nvSpPr>
                <p:cNvPr id="333" name="Google Shape;333;p30"/>
                <p:cNvSpPr/>
                <p:nvPr/>
              </p:nvSpPr>
              <p:spPr>
                <a:xfrm>
                  <a:off x="6104965" y="2265289"/>
                  <a:ext cx="1855800" cy="1855800"/>
                </a:xfrm>
                <a:prstGeom prst="ellipse">
                  <a:avLst/>
                </a:prstGeom>
                <a:solidFill>
                  <a:srgbClr val="1F9CF0">
                    <a:alpha val="3098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34" name="Google Shape;334;p30"/>
                <p:cNvSpPr/>
                <p:nvPr/>
              </p:nvSpPr>
              <p:spPr>
                <a:xfrm>
                  <a:off x="6326459" y="2482124"/>
                  <a:ext cx="1422000" cy="14220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35" name="Google Shape;335;p30"/>
                <p:cNvSpPr/>
                <p:nvPr/>
              </p:nvSpPr>
              <p:spPr>
                <a:xfrm>
                  <a:off x="6566834" y="2724359"/>
                  <a:ext cx="942600" cy="9426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pic>
            <p:nvPicPr>
              <p:cNvPr id="336" name="Google Shape;336;p30">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5078267" y="-3181130"/>
                <a:ext cx="3762369" cy="3762369"/>
              </a:xfrm>
              <a:prstGeom prst="rect">
                <a:avLst/>
              </a:prstGeom>
              <a:noFill/>
              <a:ln>
                <a:noFill/>
              </a:ln>
            </p:spPr>
          </p:pic>
          <p:pic>
            <p:nvPicPr>
              <p:cNvPr id="337" name="Google Shape;337;p30">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517534" y="823098"/>
                <a:ext cx="3762369" cy="3762369"/>
              </a:xfrm>
              <a:prstGeom prst="rect">
                <a:avLst/>
              </a:prstGeom>
              <a:noFill/>
              <a:ln>
                <a:noFill/>
              </a:ln>
            </p:spPr>
          </p:pic>
          <p:sp>
            <p:nvSpPr>
              <p:cNvPr id="338" name="Google Shape;338;p30">
                <a:extLst>
                  <a:ext uri="{C183D7F6-B498-43B3-948B-1728B52AA6E4}">
                    <adec:decorative xmlns:adec="http://schemas.microsoft.com/office/drawing/2017/decorative" val="1"/>
                  </a:ext>
                </a:extLst>
              </p:cNvPr>
              <p:cNvSpPr/>
              <p:nvPr/>
            </p:nvSpPr>
            <p:spPr>
              <a:xfrm rot="10800000">
                <a:off x="407925" y="350"/>
                <a:ext cx="73200" cy="19257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grpSp>
      <p:sp>
        <p:nvSpPr>
          <p:cNvPr id="340" name="Google Shape;340;p30"/>
          <p:cNvSpPr txBox="1">
            <a:spLocks noGrp="1"/>
          </p:cNvSpPr>
          <p:nvPr>
            <p:ph type="title"/>
          </p:nvPr>
        </p:nvSpPr>
        <p:spPr>
          <a:xfrm>
            <a:off x="1060704" y="1243584"/>
            <a:ext cx="4681600" cy="14388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663" b="0" i="0">
                <a:latin typeface="Helvetica" pitchFamily="2" charset="0"/>
              </a:defRPr>
            </a:lvl1pPr>
            <a:lvl2pPr lvl="1">
              <a:spcBef>
                <a:spcPts val="0"/>
              </a:spcBef>
              <a:spcAft>
                <a:spcPts val="0"/>
              </a:spcAft>
              <a:buSzPts val="1700"/>
              <a:buNone/>
              <a:defRPr sz="2263"/>
            </a:lvl2pPr>
            <a:lvl3pPr lvl="2">
              <a:spcBef>
                <a:spcPts val="0"/>
              </a:spcBef>
              <a:spcAft>
                <a:spcPts val="0"/>
              </a:spcAft>
              <a:buSzPts val="1700"/>
              <a:buNone/>
              <a:defRPr sz="2263"/>
            </a:lvl3pPr>
            <a:lvl4pPr lvl="3">
              <a:spcBef>
                <a:spcPts val="0"/>
              </a:spcBef>
              <a:spcAft>
                <a:spcPts val="0"/>
              </a:spcAft>
              <a:buSzPts val="1700"/>
              <a:buNone/>
              <a:defRPr sz="2263"/>
            </a:lvl4pPr>
            <a:lvl5pPr lvl="4">
              <a:spcBef>
                <a:spcPts val="0"/>
              </a:spcBef>
              <a:spcAft>
                <a:spcPts val="0"/>
              </a:spcAft>
              <a:buSzPts val="1700"/>
              <a:buNone/>
              <a:defRPr sz="2263"/>
            </a:lvl5pPr>
            <a:lvl6pPr lvl="5">
              <a:spcBef>
                <a:spcPts val="0"/>
              </a:spcBef>
              <a:spcAft>
                <a:spcPts val="0"/>
              </a:spcAft>
              <a:buSzPts val="1700"/>
              <a:buNone/>
              <a:defRPr sz="2263"/>
            </a:lvl6pPr>
            <a:lvl7pPr lvl="6">
              <a:spcBef>
                <a:spcPts val="0"/>
              </a:spcBef>
              <a:spcAft>
                <a:spcPts val="0"/>
              </a:spcAft>
              <a:buSzPts val="1700"/>
              <a:buNone/>
              <a:defRPr sz="2263"/>
            </a:lvl7pPr>
            <a:lvl8pPr lvl="7">
              <a:spcBef>
                <a:spcPts val="0"/>
              </a:spcBef>
              <a:spcAft>
                <a:spcPts val="0"/>
              </a:spcAft>
              <a:buSzPts val="1700"/>
              <a:buNone/>
              <a:defRPr sz="2263"/>
            </a:lvl8pPr>
            <a:lvl9pPr lvl="8">
              <a:spcBef>
                <a:spcPts val="0"/>
              </a:spcBef>
              <a:spcAft>
                <a:spcPts val="0"/>
              </a:spcAft>
              <a:buSzPts val="1700"/>
              <a:buNone/>
              <a:defRPr sz="2263"/>
            </a:lvl9pPr>
          </a:lstStyle>
          <a:p>
            <a:endParaRPr dirty="0"/>
          </a:p>
        </p:txBody>
      </p:sp>
      <p:sp>
        <p:nvSpPr>
          <p:cNvPr id="339" name="Google Shape;339;p30"/>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42" name="Google Shape;529;p35">
            <a:extLst>
              <a:ext uri="{FF2B5EF4-FFF2-40B4-BE49-F238E27FC236}">
                <a16:creationId xmlns:a16="http://schemas.microsoft.com/office/drawing/2014/main" id="{7BC10B83-334E-CA31-E327-359586F238C4}"/>
              </a:ext>
            </a:extLst>
          </p:cNvPr>
          <p:cNvSpPr>
            <a:spLocks noGrp="1"/>
          </p:cNvSpPr>
          <p:nvPr>
            <p:ph type="pic" idx="3"/>
          </p:nvPr>
        </p:nvSpPr>
        <p:spPr>
          <a:xfrm>
            <a:off x="1121664" y="3108006"/>
            <a:ext cx="330400" cy="3304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345" name="Google Shape;345;p30"/>
          <p:cNvSpPr txBox="1">
            <a:spLocks noGrp="1"/>
          </p:cNvSpPr>
          <p:nvPr>
            <p:ph type="body" idx="6"/>
          </p:nvPr>
        </p:nvSpPr>
        <p:spPr>
          <a:xfrm>
            <a:off x="1560576" y="3097246"/>
            <a:ext cx="1736992" cy="2316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464" b="1" i="0">
                <a:solidFill>
                  <a:schemeClr val="bg1"/>
                </a:solidFill>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349" name="Google Shape;349;p30"/>
          <p:cNvSpPr txBox="1">
            <a:spLocks noGrp="1"/>
          </p:cNvSpPr>
          <p:nvPr>
            <p:ph type="body" idx="13"/>
          </p:nvPr>
        </p:nvSpPr>
        <p:spPr>
          <a:xfrm>
            <a:off x="1560576" y="3377661"/>
            <a:ext cx="1816800" cy="78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46" name="Google Shape;529;p35">
            <a:extLst>
              <a:ext uri="{FF2B5EF4-FFF2-40B4-BE49-F238E27FC236}">
                <a16:creationId xmlns:a16="http://schemas.microsoft.com/office/drawing/2014/main" id="{9E7EC705-9E42-4703-81F6-DF51ACEEDE7E}"/>
              </a:ext>
            </a:extLst>
          </p:cNvPr>
          <p:cNvSpPr>
            <a:spLocks noGrp="1"/>
          </p:cNvSpPr>
          <p:nvPr>
            <p:ph type="pic" idx="26"/>
          </p:nvPr>
        </p:nvSpPr>
        <p:spPr>
          <a:xfrm>
            <a:off x="3727397" y="3108006"/>
            <a:ext cx="330400" cy="3304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346" name="Google Shape;346;p30"/>
          <p:cNvSpPr txBox="1">
            <a:spLocks noGrp="1"/>
          </p:cNvSpPr>
          <p:nvPr>
            <p:ph type="body" idx="7"/>
          </p:nvPr>
        </p:nvSpPr>
        <p:spPr>
          <a:xfrm>
            <a:off x="4169664" y="3097246"/>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4"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52" name="Google Shape;352;p30"/>
          <p:cNvSpPr txBox="1">
            <a:spLocks noGrp="1"/>
          </p:cNvSpPr>
          <p:nvPr>
            <p:ph type="body" idx="16"/>
          </p:nvPr>
        </p:nvSpPr>
        <p:spPr>
          <a:xfrm>
            <a:off x="4169664" y="3365469"/>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5" name="Google Shape;529;p35">
            <a:extLst>
              <a:ext uri="{FF2B5EF4-FFF2-40B4-BE49-F238E27FC236}">
                <a16:creationId xmlns:a16="http://schemas.microsoft.com/office/drawing/2014/main" id="{47D20B33-4CCE-6357-77D9-C2A578FB6843}"/>
              </a:ext>
            </a:extLst>
          </p:cNvPr>
          <p:cNvSpPr>
            <a:spLocks noGrp="1"/>
          </p:cNvSpPr>
          <p:nvPr>
            <p:ph type="pic" idx="25"/>
          </p:nvPr>
        </p:nvSpPr>
        <p:spPr>
          <a:xfrm>
            <a:off x="1121664" y="4770973"/>
            <a:ext cx="330400" cy="3304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347" name="Google Shape;347;p30"/>
          <p:cNvSpPr txBox="1">
            <a:spLocks noGrp="1"/>
          </p:cNvSpPr>
          <p:nvPr>
            <p:ph type="body" idx="8"/>
          </p:nvPr>
        </p:nvSpPr>
        <p:spPr>
          <a:xfrm>
            <a:off x="1560576" y="4779741"/>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4"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50" name="Google Shape;350;p30"/>
          <p:cNvSpPr txBox="1">
            <a:spLocks noGrp="1"/>
          </p:cNvSpPr>
          <p:nvPr>
            <p:ph type="body" idx="14"/>
          </p:nvPr>
        </p:nvSpPr>
        <p:spPr>
          <a:xfrm>
            <a:off x="1560576" y="5047966"/>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7" name="Google Shape;529;p35">
            <a:extLst>
              <a:ext uri="{FF2B5EF4-FFF2-40B4-BE49-F238E27FC236}">
                <a16:creationId xmlns:a16="http://schemas.microsoft.com/office/drawing/2014/main" id="{3BE4CD98-91FB-1B51-5F85-8E6D84A6823C}"/>
              </a:ext>
            </a:extLst>
          </p:cNvPr>
          <p:cNvSpPr>
            <a:spLocks noGrp="1"/>
          </p:cNvSpPr>
          <p:nvPr>
            <p:ph type="pic" idx="27"/>
          </p:nvPr>
        </p:nvSpPr>
        <p:spPr>
          <a:xfrm>
            <a:off x="3727397" y="4770973"/>
            <a:ext cx="330400" cy="3304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348" name="Google Shape;348;p30"/>
          <p:cNvSpPr txBox="1">
            <a:spLocks noGrp="1"/>
          </p:cNvSpPr>
          <p:nvPr>
            <p:ph type="body" idx="9"/>
          </p:nvPr>
        </p:nvSpPr>
        <p:spPr>
          <a:xfrm>
            <a:off x="4169664" y="4767549"/>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4"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51" name="Google Shape;351;p30"/>
          <p:cNvSpPr txBox="1">
            <a:spLocks noGrp="1"/>
          </p:cNvSpPr>
          <p:nvPr>
            <p:ph type="body" idx="15"/>
          </p:nvPr>
        </p:nvSpPr>
        <p:spPr>
          <a:xfrm>
            <a:off x="4169676" y="5047966"/>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53" name="Google Shape;353;p30"/>
          <p:cNvSpPr txBox="1">
            <a:spLocks noGrp="1"/>
          </p:cNvSpPr>
          <p:nvPr>
            <p:ph type="title" idx="17"/>
          </p:nvPr>
        </p:nvSpPr>
        <p:spPr>
          <a:xfrm>
            <a:off x="7193280" y="1706880"/>
            <a:ext cx="987600" cy="549035"/>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2500"/>
              <a:buNone/>
              <a:defRPr sz="3328" b="1" i="0">
                <a:latin typeface="Helvetica" pitchFamily="2" charset="0"/>
              </a:defRPr>
            </a:lvl1pPr>
            <a:lvl2pPr lvl="1">
              <a:spcBef>
                <a:spcPts val="0"/>
              </a:spcBef>
              <a:spcAft>
                <a:spcPts val="0"/>
              </a:spcAft>
              <a:buSzPts val="2500"/>
              <a:buNone/>
              <a:defRPr sz="3328"/>
            </a:lvl2pPr>
            <a:lvl3pPr lvl="2">
              <a:spcBef>
                <a:spcPts val="0"/>
              </a:spcBef>
              <a:spcAft>
                <a:spcPts val="0"/>
              </a:spcAft>
              <a:buSzPts val="2500"/>
              <a:buNone/>
              <a:defRPr sz="3328"/>
            </a:lvl3pPr>
            <a:lvl4pPr lvl="3">
              <a:spcBef>
                <a:spcPts val="0"/>
              </a:spcBef>
              <a:spcAft>
                <a:spcPts val="0"/>
              </a:spcAft>
              <a:buSzPts val="2500"/>
              <a:buNone/>
              <a:defRPr sz="3328"/>
            </a:lvl4pPr>
            <a:lvl5pPr lvl="4">
              <a:spcBef>
                <a:spcPts val="0"/>
              </a:spcBef>
              <a:spcAft>
                <a:spcPts val="0"/>
              </a:spcAft>
              <a:buSzPts val="2500"/>
              <a:buNone/>
              <a:defRPr sz="3328"/>
            </a:lvl5pPr>
            <a:lvl6pPr lvl="5">
              <a:spcBef>
                <a:spcPts val="0"/>
              </a:spcBef>
              <a:spcAft>
                <a:spcPts val="0"/>
              </a:spcAft>
              <a:buSzPts val="2500"/>
              <a:buNone/>
              <a:defRPr sz="3328"/>
            </a:lvl6pPr>
            <a:lvl7pPr lvl="6">
              <a:spcBef>
                <a:spcPts val="0"/>
              </a:spcBef>
              <a:spcAft>
                <a:spcPts val="0"/>
              </a:spcAft>
              <a:buSzPts val="2500"/>
              <a:buNone/>
              <a:defRPr sz="3328"/>
            </a:lvl7pPr>
            <a:lvl8pPr lvl="7">
              <a:spcBef>
                <a:spcPts val="0"/>
              </a:spcBef>
              <a:spcAft>
                <a:spcPts val="0"/>
              </a:spcAft>
              <a:buSzPts val="2500"/>
              <a:buNone/>
              <a:defRPr sz="3328"/>
            </a:lvl8pPr>
            <a:lvl9pPr lvl="8">
              <a:spcBef>
                <a:spcPts val="0"/>
              </a:spcBef>
              <a:spcAft>
                <a:spcPts val="0"/>
              </a:spcAft>
              <a:buSzPts val="2500"/>
              <a:buNone/>
              <a:defRPr sz="3328"/>
            </a:lvl9pPr>
          </a:lstStyle>
          <a:p>
            <a:endParaRPr dirty="0"/>
          </a:p>
        </p:txBody>
      </p:sp>
      <p:sp>
        <p:nvSpPr>
          <p:cNvPr id="354" name="Google Shape;354;p30"/>
          <p:cNvSpPr txBox="1">
            <a:spLocks noGrp="1"/>
          </p:cNvSpPr>
          <p:nvPr>
            <p:ph type="title" idx="18"/>
          </p:nvPr>
        </p:nvSpPr>
        <p:spPr>
          <a:xfrm>
            <a:off x="9668256" y="2340864"/>
            <a:ext cx="694800" cy="385144"/>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1700"/>
              <a:buNone/>
              <a:defRPr sz="2263"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8" name="Google Shape;529;p35">
            <a:extLst>
              <a:ext uri="{FF2B5EF4-FFF2-40B4-BE49-F238E27FC236}">
                <a16:creationId xmlns:a16="http://schemas.microsoft.com/office/drawing/2014/main" id="{5ED9FBF0-06E9-FA7C-58B6-99E0ACE40C3F}"/>
              </a:ext>
            </a:extLst>
          </p:cNvPr>
          <p:cNvSpPr>
            <a:spLocks noGrp="1"/>
          </p:cNvSpPr>
          <p:nvPr>
            <p:ph type="pic" idx="28"/>
          </p:nvPr>
        </p:nvSpPr>
        <p:spPr>
          <a:xfrm>
            <a:off x="8802624" y="3389376"/>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357" name="Google Shape;357;p30"/>
          <p:cNvSpPr txBox="1">
            <a:spLocks noGrp="1"/>
          </p:cNvSpPr>
          <p:nvPr>
            <p:ph type="title" idx="21"/>
          </p:nvPr>
        </p:nvSpPr>
        <p:spPr>
          <a:xfrm>
            <a:off x="7985760" y="4279392"/>
            <a:ext cx="500000" cy="262225"/>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1100"/>
              <a:buNone/>
              <a:defRPr sz="1464"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56" name="Google Shape;356;p30"/>
          <p:cNvSpPr txBox="1">
            <a:spLocks noGrp="1"/>
          </p:cNvSpPr>
          <p:nvPr>
            <p:ph type="title" idx="20"/>
          </p:nvPr>
        </p:nvSpPr>
        <p:spPr>
          <a:xfrm>
            <a:off x="9814561" y="4657344"/>
            <a:ext cx="841200" cy="467153"/>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2100"/>
              <a:buNone/>
              <a:defRPr sz="2796"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22" name="Google Shape;322;p30">
            <a:extLst>
              <a:ext uri="{C183D7F6-B498-43B3-948B-1728B52AA6E4}">
                <adec:decorative xmlns:adec="http://schemas.microsoft.com/office/drawing/2017/decorative" val="0"/>
              </a:ext>
            </a:extLst>
          </p:cNvPr>
          <p:cNvSpPr/>
          <p:nvPr/>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7" name="Google Shape;56;p14">
            <a:extLst>
              <a:ext uri="{FF2B5EF4-FFF2-40B4-BE49-F238E27FC236}">
                <a16:creationId xmlns:a16="http://schemas.microsoft.com/office/drawing/2014/main" id="{883FBA8F-F462-3F7B-65F8-4A245AFC0C1A}"/>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27976016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matchingName="Three Photo Features" preserve="1" userDrawn="1">
  <p:cSld name="Three Photo Features">
    <p:spTree>
      <p:nvGrpSpPr>
        <p:cNvPr id="1" name="Shape 358"/>
        <p:cNvGrpSpPr/>
        <p:nvPr/>
      </p:nvGrpSpPr>
      <p:grpSpPr>
        <a:xfrm>
          <a:off x="0" y="0"/>
          <a:ext cx="0" cy="0"/>
          <a:chOff x="0" y="0"/>
          <a:chExt cx="0" cy="0"/>
        </a:xfrm>
      </p:grpSpPr>
      <p:grpSp>
        <p:nvGrpSpPr>
          <p:cNvPr id="2" name="Group 1">
            <a:extLst>
              <a:ext uri="{FF2B5EF4-FFF2-40B4-BE49-F238E27FC236}">
                <a16:creationId xmlns:a16="http://schemas.microsoft.com/office/drawing/2014/main" id="{87E2A12B-1511-1ED8-9CEB-D63E1BD3A3AF}"/>
              </a:ext>
              <a:ext uri="{C183D7F6-B498-43B3-948B-1728B52AA6E4}">
                <adec:decorative xmlns:adec="http://schemas.microsoft.com/office/drawing/2017/decorative" val="1"/>
              </a:ext>
            </a:extLst>
          </p:cNvPr>
          <p:cNvGrpSpPr/>
          <p:nvPr userDrawn="1"/>
        </p:nvGrpSpPr>
        <p:grpSpPr>
          <a:xfrm>
            <a:off x="-3985858" y="817737"/>
            <a:ext cx="20155953" cy="5559479"/>
            <a:chOff x="-2989394" y="613302"/>
            <a:chExt cx="15116965" cy="4169609"/>
          </a:xfrm>
        </p:grpSpPr>
        <p:cxnSp>
          <p:nvCxnSpPr>
            <p:cNvPr id="362" name="Google Shape;362;p31">
              <a:extLst>
                <a:ext uri="{C183D7F6-B498-43B3-948B-1728B52AA6E4}">
                  <adec:decorative xmlns:adec="http://schemas.microsoft.com/office/drawing/2017/decorative" val="1"/>
                </a:ext>
              </a:extLst>
            </p:cNvPr>
            <p:cNvCxnSpPr/>
            <p:nvPr/>
          </p:nvCxnSpPr>
          <p:spPr>
            <a:xfrm>
              <a:off x="3536833" y="613302"/>
              <a:ext cx="2070300" cy="0"/>
            </a:xfrm>
            <a:prstGeom prst="straightConnector1">
              <a:avLst/>
            </a:prstGeom>
            <a:noFill/>
            <a:ln w="12700" cap="flat" cmpd="sng">
              <a:solidFill>
                <a:srgbClr val="627597"/>
              </a:solidFill>
              <a:prstDash val="solid"/>
              <a:miter lim="800000"/>
              <a:headEnd type="none" w="sm" len="sm"/>
              <a:tailEnd type="none" w="sm" len="sm"/>
            </a:ln>
          </p:spPr>
        </p:cxnSp>
        <p:sp>
          <p:nvSpPr>
            <p:cNvPr id="363" name="Google Shape;363;p31">
              <a:extLst>
                <a:ext uri="{C183D7F6-B498-43B3-948B-1728B52AA6E4}">
                  <adec:decorative xmlns:adec="http://schemas.microsoft.com/office/drawing/2017/decorative" val="1"/>
                </a:ext>
              </a:extLst>
            </p:cNvPr>
            <p:cNvSpPr/>
            <p:nvPr/>
          </p:nvSpPr>
          <p:spPr>
            <a:xfrm>
              <a:off x="973666" y="4462608"/>
              <a:ext cx="2331900" cy="67500"/>
            </a:xfrm>
            <a:prstGeom prst="rect">
              <a:avLst/>
            </a:prstGeom>
            <a:gradFill>
              <a:gsLst>
                <a:gs pos="0">
                  <a:srgbClr val="EC2B8C"/>
                </a:gs>
                <a:gs pos="2000">
                  <a:srgbClr val="EC2B8C"/>
                </a:gs>
                <a:gs pos="99000">
                  <a:srgbClr val="9477E2"/>
                </a:gs>
                <a:gs pos="100000">
                  <a:srgbClr val="9477E2"/>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64" name="Google Shape;364;p31">
              <a:extLst>
                <a:ext uri="{C183D7F6-B498-43B3-948B-1728B52AA6E4}">
                  <adec:decorative xmlns:adec="http://schemas.microsoft.com/office/drawing/2017/decorative" val="1"/>
                </a:ext>
              </a:extLst>
            </p:cNvPr>
            <p:cNvSpPr/>
            <p:nvPr/>
          </p:nvSpPr>
          <p:spPr>
            <a:xfrm>
              <a:off x="3406048" y="4462506"/>
              <a:ext cx="2331900" cy="67500"/>
            </a:xfrm>
            <a:prstGeom prst="rect">
              <a:avLst/>
            </a:prstGeom>
            <a:gradFill>
              <a:gsLst>
                <a:gs pos="0">
                  <a:srgbClr val="9477E2"/>
                </a:gs>
                <a:gs pos="100000">
                  <a:srgbClr val="5C30D3"/>
                </a:gs>
              </a:gsLst>
              <a:lin ang="0" scaled="0"/>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sp>
          <p:nvSpPr>
            <p:cNvPr id="365" name="Google Shape;365;p31">
              <a:extLst>
                <a:ext uri="{C183D7F6-B498-43B3-948B-1728B52AA6E4}">
                  <adec:decorative xmlns:adec="http://schemas.microsoft.com/office/drawing/2017/decorative" val="1"/>
                </a:ext>
              </a:extLst>
            </p:cNvPr>
            <p:cNvSpPr/>
            <p:nvPr/>
          </p:nvSpPr>
          <p:spPr>
            <a:xfrm>
              <a:off x="5838427" y="4462507"/>
              <a:ext cx="2331900" cy="67500"/>
            </a:xfrm>
            <a:prstGeom prst="rect">
              <a:avLst/>
            </a:prstGeom>
            <a:gradFill>
              <a:gsLst>
                <a:gs pos="0">
                  <a:schemeClr val="accent3"/>
                </a:gs>
                <a:gs pos="100000">
                  <a:srgbClr val="0070C0"/>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pic>
          <p:nvPicPr>
            <p:cNvPr id="366" name="Google Shape;366;p31">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365202" y="621803"/>
              <a:ext cx="3762369" cy="3762369"/>
            </a:xfrm>
            <a:prstGeom prst="rect">
              <a:avLst/>
            </a:prstGeom>
            <a:noFill/>
            <a:ln>
              <a:noFill/>
            </a:ln>
          </p:spPr>
        </p:pic>
        <p:pic>
          <p:nvPicPr>
            <p:cNvPr id="367" name="Google Shape;367;p31">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2989394" y="621803"/>
              <a:ext cx="3762369" cy="3762369"/>
            </a:xfrm>
            <a:prstGeom prst="rect">
              <a:avLst/>
            </a:prstGeom>
            <a:noFill/>
            <a:ln>
              <a:noFill/>
            </a:ln>
          </p:spPr>
        </p:pic>
        <p:cxnSp>
          <p:nvCxnSpPr>
            <p:cNvPr id="25" name="Google Shape;67;p15">
              <a:extLst>
                <a:ext uri="{FF2B5EF4-FFF2-40B4-BE49-F238E27FC236}">
                  <a16:creationId xmlns:a16="http://schemas.microsoft.com/office/drawing/2014/main" id="{59EF79C9-532E-EB4D-88E4-C7C259E88941}"/>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369" name="Google Shape;369;p31"/>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68" name="Google Shape;368;p31"/>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dirty="0"/>
          </a:p>
        </p:txBody>
      </p:sp>
      <p:sp>
        <p:nvSpPr>
          <p:cNvPr id="370" name="Google Shape;370;p31"/>
          <p:cNvSpPr>
            <a:spLocks noGrp="1"/>
          </p:cNvSpPr>
          <p:nvPr>
            <p:ph type="pic" idx="2"/>
          </p:nvPr>
        </p:nvSpPr>
        <p:spPr>
          <a:xfrm>
            <a:off x="1280160"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dirty="0"/>
          </a:p>
        </p:txBody>
      </p:sp>
      <p:sp>
        <p:nvSpPr>
          <p:cNvPr id="373" name="Google Shape;373;p31"/>
          <p:cNvSpPr txBox="1">
            <a:spLocks noGrp="1"/>
          </p:cNvSpPr>
          <p:nvPr>
            <p:ph type="body" idx="5"/>
          </p:nvPr>
        </p:nvSpPr>
        <p:spPr>
          <a:xfrm>
            <a:off x="1721555" y="4255008"/>
            <a:ext cx="2268555" cy="2928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algn="ctr">
              <a:lnSpc>
                <a:spcPct val="100000"/>
              </a:lnSpc>
              <a:spcBef>
                <a:spcPts val="0"/>
              </a:spcBef>
              <a:spcAft>
                <a:spcPts val="0"/>
              </a:spcAft>
              <a:buSzPts val="1100"/>
              <a:buChar char="○"/>
              <a:defRPr sz="1464"/>
            </a:lvl2pPr>
            <a:lvl3pPr marL="1825943" lvl="2" indent="-397312" algn="ctr">
              <a:lnSpc>
                <a:spcPct val="100000"/>
              </a:lnSpc>
              <a:spcBef>
                <a:spcPts val="0"/>
              </a:spcBef>
              <a:spcAft>
                <a:spcPts val="0"/>
              </a:spcAft>
              <a:buSzPts val="1100"/>
              <a:buChar char="■"/>
              <a:defRPr sz="1464"/>
            </a:lvl3pPr>
            <a:lvl4pPr marL="2434590" lvl="3" indent="-397312" algn="ctr">
              <a:lnSpc>
                <a:spcPct val="100000"/>
              </a:lnSpc>
              <a:spcBef>
                <a:spcPts val="0"/>
              </a:spcBef>
              <a:spcAft>
                <a:spcPts val="0"/>
              </a:spcAft>
              <a:buSzPts val="1100"/>
              <a:buChar char="●"/>
              <a:defRPr sz="1464"/>
            </a:lvl4pPr>
            <a:lvl5pPr marL="3043238" lvl="4" indent="-397312" algn="ctr">
              <a:lnSpc>
                <a:spcPct val="100000"/>
              </a:lnSpc>
              <a:spcBef>
                <a:spcPts val="0"/>
              </a:spcBef>
              <a:spcAft>
                <a:spcPts val="0"/>
              </a:spcAft>
              <a:buSzPts val="1100"/>
              <a:buChar char="○"/>
              <a:defRPr sz="1464"/>
            </a:lvl5pPr>
            <a:lvl6pPr marL="3651885" lvl="5" indent="-397312" algn="ctr">
              <a:lnSpc>
                <a:spcPct val="100000"/>
              </a:lnSpc>
              <a:spcBef>
                <a:spcPts val="0"/>
              </a:spcBef>
              <a:spcAft>
                <a:spcPts val="0"/>
              </a:spcAft>
              <a:buSzPts val="1100"/>
              <a:buChar char="■"/>
              <a:defRPr sz="1464"/>
            </a:lvl6pPr>
            <a:lvl7pPr marL="4260533" lvl="6" indent="-397312" algn="ctr">
              <a:lnSpc>
                <a:spcPct val="100000"/>
              </a:lnSpc>
              <a:spcBef>
                <a:spcPts val="0"/>
              </a:spcBef>
              <a:spcAft>
                <a:spcPts val="0"/>
              </a:spcAft>
              <a:buSzPts val="1100"/>
              <a:buChar char="●"/>
              <a:defRPr sz="1464"/>
            </a:lvl7pPr>
            <a:lvl8pPr marL="4869180" lvl="7" indent="-397312" algn="ctr">
              <a:lnSpc>
                <a:spcPct val="100000"/>
              </a:lnSpc>
              <a:spcBef>
                <a:spcPts val="0"/>
              </a:spcBef>
              <a:spcAft>
                <a:spcPts val="0"/>
              </a:spcAft>
              <a:buSzPts val="1100"/>
              <a:buChar char="○"/>
              <a:defRPr sz="1464"/>
            </a:lvl8pPr>
            <a:lvl9pPr marL="5477828" lvl="8" indent="-397312" algn="ctr">
              <a:lnSpc>
                <a:spcPct val="100000"/>
              </a:lnSpc>
              <a:spcBef>
                <a:spcPts val="0"/>
              </a:spcBef>
              <a:spcAft>
                <a:spcPts val="0"/>
              </a:spcAft>
              <a:buSzPts val="1100"/>
              <a:buChar char="■"/>
              <a:defRPr sz="1464"/>
            </a:lvl9pPr>
          </a:lstStyle>
          <a:p>
            <a:endParaRPr dirty="0"/>
          </a:p>
        </p:txBody>
      </p:sp>
      <p:sp>
        <p:nvSpPr>
          <p:cNvPr id="374" name="Google Shape;374;p31"/>
          <p:cNvSpPr txBox="1">
            <a:spLocks noGrp="1"/>
          </p:cNvSpPr>
          <p:nvPr>
            <p:ph type="body" idx="6"/>
          </p:nvPr>
        </p:nvSpPr>
        <p:spPr>
          <a:xfrm>
            <a:off x="1487424" y="4596384"/>
            <a:ext cx="2731200" cy="10844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800"/>
              <a:buNone/>
              <a:defRPr sz="1065" b="0" i="0">
                <a:latin typeface="Helvetica" pitchFamily="2" charset="0"/>
              </a:defRPr>
            </a:lvl1pPr>
            <a:lvl2pPr marL="1217295" lvl="1" indent="-371951" algn="ctr">
              <a:spcBef>
                <a:spcPts val="0"/>
              </a:spcBef>
              <a:spcAft>
                <a:spcPts val="0"/>
              </a:spcAft>
              <a:buSzPts val="800"/>
              <a:buChar char="○"/>
              <a:defRPr sz="1065"/>
            </a:lvl2pPr>
            <a:lvl3pPr marL="1825943" lvl="2" indent="-371951" algn="ctr">
              <a:spcBef>
                <a:spcPts val="0"/>
              </a:spcBef>
              <a:spcAft>
                <a:spcPts val="0"/>
              </a:spcAft>
              <a:buSzPts val="800"/>
              <a:buChar char="■"/>
              <a:defRPr sz="1065"/>
            </a:lvl3pPr>
            <a:lvl4pPr marL="2434590" lvl="3" indent="-371951" algn="ctr">
              <a:spcBef>
                <a:spcPts val="0"/>
              </a:spcBef>
              <a:spcAft>
                <a:spcPts val="0"/>
              </a:spcAft>
              <a:buSzPts val="800"/>
              <a:buChar char="●"/>
              <a:defRPr sz="1065"/>
            </a:lvl4pPr>
            <a:lvl5pPr marL="3043238" lvl="4" indent="-371951" algn="ctr">
              <a:spcBef>
                <a:spcPts val="0"/>
              </a:spcBef>
              <a:spcAft>
                <a:spcPts val="0"/>
              </a:spcAft>
              <a:buSzPts val="800"/>
              <a:buChar char="○"/>
              <a:defRPr sz="1065"/>
            </a:lvl5pPr>
            <a:lvl6pPr marL="3651885" lvl="5" indent="-371951" algn="ctr">
              <a:spcBef>
                <a:spcPts val="0"/>
              </a:spcBef>
              <a:spcAft>
                <a:spcPts val="0"/>
              </a:spcAft>
              <a:buSzPts val="800"/>
              <a:buChar char="■"/>
              <a:defRPr sz="1065"/>
            </a:lvl6pPr>
            <a:lvl7pPr marL="4260533" lvl="6" indent="-371951" algn="ctr">
              <a:spcBef>
                <a:spcPts val="0"/>
              </a:spcBef>
              <a:spcAft>
                <a:spcPts val="0"/>
              </a:spcAft>
              <a:buSzPts val="800"/>
              <a:buChar char="●"/>
              <a:defRPr sz="1065"/>
            </a:lvl7pPr>
            <a:lvl8pPr marL="4869180" lvl="7" indent="-371951" algn="ctr">
              <a:spcBef>
                <a:spcPts val="0"/>
              </a:spcBef>
              <a:spcAft>
                <a:spcPts val="0"/>
              </a:spcAft>
              <a:buSzPts val="800"/>
              <a:buChar char="○"/>
              <a:defRPr sz="1065"/>
            </a:lvl8pPr>
            <a:lvl9pPr marL="5477828" lvl="8" indent="-371951" algn="ctr">
              <a:spcBef>
                <a:spcPts val="0"/>
              </a:spcBef>
              <a:spcAft>
                <a:spcPts val="0"/>
              </a:spcAft>
              <a:buSzPts val="800"/>
              <a:buChar char="■"/>
              <a:defRPr sz="1065"/>
            </a:lvl9pPr>
          </a:lstStyle>
          <a:p>
            <a:endParaRPr dirty="0"/>
          </a:p>
        </p:txBody>
      </p:sp>
      <p:sp>
        <p:nvSpPr>
          <p:cNvPr id="22" name="Google Shape;370;p31">
            <a:extLst>
              <a:ext uri="{FF2B5EF4-FFF2-40B4-BE49-F238E27FC236}">
                <a16:creationId xmlns:a16="http://schemas.microsoft.com/office/drawing/2014/main" id="{26B93829-5EF5-CA41-B05B-10A28F1A387C}"/>
              </a:ext>
            </a:extLst>
          </p:cNvPr>
          <p:cNvSpPr>
            <a:spLocks noGrp="1"/>
          </p:cNvSpPr>
          <p:nvPr>
            <p:ph type="pic" idx="14"/>
          </p:nvPr>
        </p:nvSpPr>
        <p:spPr>
          <a:xfrm>
            <a:off x="4535424"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dirty="0"/>
          </a:p>
        </p:txBody>
      </p:sp>
      <p:sp>
        <p:nvSpPr>
          <p:cNvPr id="375" name="Google Shape;375;p31"/>
          <p:cNvSpPr txBox="1">
            <a:spLocks noGrp="1"/>
          </p:cNvSpPr>
          <p:nvPr>
            <p:ph type="body" idx="7"/>
          </p:nvPr>
        </p:nvSpPr>
        <p:spPr>
          <a:xfrm>
            <a:off x="4922944" y="4249364"/>
            <a:ext cx="234394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algn="ctr" rtl="0">
              <a:lnSpc>
                <a:spcPct val="100000"/>
              </a:lnSpc>
              <a:spcBef>
                <a:spcPts val="0"/>
              </a:spcBef>
              <a:spcAft>
                <a:spcPts val="0"/>
              </a:spcAft>
              <a:buSzPts val="1100"/>
              <a:buChar char="○"/>
              <a:defRPr sz="1464"/>
            </a:lvl2pPr>
            <a:lvl3pPr marL="1825943" lvl="2" indent="-397312" algn="ctr" rtl="0">
              <a:lnSpc>
                <a:spcPct val="100000"/>
              </a:lnSpc>
              <a:spcBef>
                <a:spcPts val="0"/>
              </a:spcBef>
              <a:spcAft>
                <a:spcPts val="0"/>
              </a:spcAft>
              <a:buSzPts val="1100"/>
              <a:buChar char="■"/>
              <a:defRPr sz="1464"/>
            </a:lvl3pPr>
            <a:lvl4pPr marL="2434590" lvl="3" indent="-397312" algn="ctr" rtl="0">
              <a:lnSpc>
                <a:spcPct val="100000"/>
              </a:lnSpc>
              <a:spcBef>
                <a:spcPts val="0"/>
              </a:spcBef>
              <a:spcAft>
                <a:spcPts val="0"/>
              </a:spcAft>
              <a:buSzPts val="1100"/>
              <a:buChar char="●"/>
              <a:defRPr sz="1464"/>
            </a:lvl4pPr>
            <a:lvl5pPr marL="3043238" lvl="4" indent="-397312" algn="ctr" rtl="0">
              <a:lnSpc>
                <a:spcPct val="100000"/>
              </a:lnSpc>
              <a:spcBef>
                <a:spcPts val="0"/>
              </a:spcBef>
              <a:spcAft>
                <a:spcPts val="0"/>
              </a:spcAft>
              <a:buSzPts val="1100"/>
              <a:buChar char="○"/>
              <a:defRPr sz="1464"/>
            </a:lvl5pPr>
            <a:lvl6pPr marL="3651885" lvl="5" indent="-397312" algn="ctr" rtl="0">
              <a:lnSpc>
                <a:spcPct val="100000"/>
              </a:lnSpc>
              <a:spcBef>
                <a:spcPts val="0"/>
              </a:spcBef>
              <a:spcAft>
                <a:spcPts val="0"/>
              </a:spcAft>
              <a:buSzPts val="1100"/>
              <a:buChar char="■"/>
              <a:defRPr sz="1464"/>
            </a:lvl6pPr>
            <a:lvl7pPr marL="4260533" lvl="6" indent="-397312" algn="ctr" rtl="0">
              <a:lnSpc>
                <a:spcPct val="100000"/>
              </a:lnSpc>
              <a:spcBef>
                <a:spcPts val="0"/>
              </a:spcBef>
              <a:spcAft>
                <a:spcPts val="0"/>
              </a:spcAft>
              <a:buSzPts val="1100"/>
              <a:buChar char="●"/>
              <a:defRPr sz="1464"/>
            </a:lvl7pPr>
            <a:lvl8pPr marL="4869180" lvl="7" indent="-397312" algn="ctr" rtl="0">
              <a:lnSpc>
                <a:spcPct val="100000"/>
              </a:lnSpc>
              <a:spcBef>
                <a:spcPts val="0"/>
              </a:spcBef>
              <a:spcAft>
                <a:spcPts val="0"/>
              </a:spcAft>
              <a:buSzPts val="1100"/>
              <a:buChar char="○"/>
              <a:defRPr sz="1464"/>
            </a:lvl8pPr>
            <a:lvl9pPr marL="5477828" lvl="8" indent="-397312" algn="ctr" rtl="0">
              <a:lnSpc>
                <a:spcPct val="100000"/>
              </a:lnSpc>
              <a:spcBef>
                <a:spcPts val="0"/>
              </a:spcBef>
              <a:spcAft>
                <a:spcPts val="0"/>
              </a:spcAft>
              <a:buSzPts val="1100"/>
              <a:buChar char="■"/>
              <a:defRPr sz="1464"/>
            </a:lvl9pPr>
          </a:lstStyle>
          <a:p>
            <a:endParaRPr dirty="0"/>
          </a:p>
        </p:txBody>
      </p:sp>
      <p:sp>
        <p:nvSpPr>
          <p:cNvPr id="376" name="Google Shape;376;p31"/>
          <p:cNvSpPr txBox="1">
            <a:spLocks noGrp="1"/>
          </p:cNvSpPr>
          <p:nvPr>
            <p:ph type="body" idx="8"/>
          </p:nvPr>
        </p:nvSpPr>
        <p:spPr>
          <a:xfrm>
            <a:off x="4726508" y="4596384"/>
            <a:ext cx="2731200" cy="108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23" name="Google Shape;370;p31">
            <a:extLst>
              <a:ext uri="{FF2B5EF4-FFF2-40B4-BE49-F238E27FC236}">
                <a16:creationId xmlns:a16="http://schemas.microsoft.com/office/drawing/2014/main" id="{1487CB7F-B5A7-BD46-92B5-05371B90E3A6}"/>
              </a:ext>
            </a:extLst>
          </p:cNvPr>
          <p:cNvSpPr>
            <a:spLocks noGrp="1"/>
          </p:cNvSpPr>
          <p:nvPr>
            <p:ph type="pic" idx="15"/>
          </p:nvPr>
        </p:nvSpPr>
        <p:spPr>
          <a:xfrm>
            <a:off x="7778496"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dirty="0"/>
          </a:p>
        </p:txBody>
      </p:sp>
      <p:sp>
        <p:nvSpPr>
          <p:cNvPr id="377" name="Google Shape;377;p31"/>
          <p:cNvSpPr txBox="1">
            <a:spLocks noGrp="1"/>
          </p:cNvSpPr>
          <p:nvPr>
            <p:ph type="body" idx="9"/>
          </p:nvPr>
        </p:nvSpPr>
        <p:spPr>
          <a:xfrm>
            <a:off x="7979184" y="4242816"/>
            <a:ext cx="272558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algn="ctr" rtl="0">
              <a:lnSpc>
                <a:spcPct val="100000"/>
              </a:lnSpc>
              <a:spcBef>
                <a:spcPts val="0"/>
              </a:spcBef>
              <a:spcAft>
                <a:spcPts val="0"/>
              </a:spcAft>
              <a:buSzPts val="1100"/>
              <a:buChar char="○"/>
              <a:defRPr sz="1464"/>
            </a:lvl2pPr>
            <a:lvl3pPr marL="1825943" lvl="2" indent="-397312" algn="ctr" rtl="0">
              <a:lnSpc>
                <a:spcPct val="100000"/>
              </a:lnSpc>
              <a:spcBef>
                <a:spcPts val="0"/>
              </a:spcBef>
              <a:spcAft>
                <a:spcPts val="0"/>
              </a:spcAft>
              <a:buSzPts val="1100"/>
              <a:buChar char="■"/>
              <a:defRPr sz="1464"/>
            </a:lvl3pPr>
            <a:lvl4pPr marL="2434590" lvl="3" indent="-397312" algn="ctr" rtl="0">
              <a:lnSpc>
                <a:spcPct val="100000"/>
              </a:lnSpc>
              <a:spcBef>
                <a:spcPts val="0"/>
              </a:spcBef>
              <a:spcAft>
                <a:spcPts val="0"/>
              </a:spcAft>
              <a:buSzPts val="1100"/>
              <a:buChar char="●"/>
              <a:defRPr sz="1464"/>
            </a:lvl4pPr>
            <a:lvl5pPr marL="3043238" lvl="4" indent="-397312" algn="ctr" rtl="0">
              <a:lnSpc>
                <a:spcPct val="100000"/>
              </a:lnSpc>
              <a:spcBef>
                <a:spcPts val="0"/>
              </a:spcBef>
              <a:spcAft>
                <a:spcPts val="0"/>
              </a:spcAft>
              <a:buSzPts val="1100"/>
              <a:buChar char="○"/>
              <a:defRPr sz="1464"/>
            </a:lvl5pPr>
            <a:lvl6pPr marL="3651885" lvl="5" indent="-397312" algn="ctr" rtl="0">
              <a:lnSpc>
                <a:spcPct val="100000"/>
              </a:lnSpc>
              <a:spcBef>
                <a:spcPts val="0"/>
              </a:spcBef>
              <a:spcAft>
                <a:spcPts val="0"/>
              </a:spcAft>
              <a:buSzPts val="1100"/>
              <a:buChar char="■"/>
              <a:defRPr sz="1464"/>
            </a:lvl6pPr>
            <a:lvl7pPr marL="4260533" lvl="6" indent="-397312" algn="ctr" rtl="0">
              <a:lnSpc>
                <a:spcPct val="100000"/>
              </a:lnSpc>
              <a:spcBef>
                <a:spcPts val="0"/>
              </a:spcBef>
              <a:spcAft>
                <a:spcPts val="0"/>
              </a:spcAft>
              <a:buSzPts val="1100"/>
              <a:buChar char="●"/>
              <a:defRPr sz="1464"/>
            </a:lvl7pPr>
            <a:lvl8pPr marL="4869180" lvl="7" indent="-397312" algn="ctr" rtl="0">
              <a:lnSpc>
                <a:spcPct val="100000"/>
              </a:lnSpc>
              <a:spcBef>
                <a:spcPts val="0"/>
              </a:spcBef>
              <a:spcAft>
                <a:spcPts val="0"/>
              </a:spcAft>
              <a:buSzPts val="1100"/>
              <a:buChar char="○"/>
              <a:defRPr sz="1464"/>
            </a:lvl8pPr>
            <a:lvl9pPr marL="5477828" lvl="8" indent="-397312" algn="ctr" rtl="0">
              <a:lnSpc>
                <a:spcPct val="100000"/>
              </a:lnSpc>
              <a:spcBef>
                <a:spcPts val="0"/>
              </a:spcBef>
              <a:spcAft>
                <a:spcPts val="0"/>
              </a:spcAft>
              <a:buSzPts val="1100"/>
              <a:buChar char="■"/>
              <a:defRPr sz="1464"/>
            </a:lvl9pPr>
          </a:lstStyle>
          <a:p>
            <a:endParaRPr dirty="0"/>
          </a:p>
        </p:txBody>
      </p:sp>
      <p:sp>
        <p:nvSpPr>
          <p:cNvPr id="378" name="Google Shape;378;p31"/>
          <p:cNvSpPr txBox="1">
            <a:spLocks noGrp="1"/>
          </p:cNvSpPr>
          <p:nvPr>
            <p:ph type="body" idx="13"/>
          </p:nvPr>
        </p:nvSpPr>
        <p:spPr>
          <a:xfrm>
            <a:off x="7973568" y="4584192"/>
            <a:ext cx="2731200" cy="108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24" name="Google Shape;268;p27">
            <a:extLst>
              <a:ext uri="{FF2B5EF4-FFF2-40B4-BE49-F238E27FC236}">
                <a16:creationId xmlns:a16="http://schemas.microsoft.com/office/drawing/2014/main" id="{F8758C0D-7D77-1D4E-AAC0-350EE46A5A68}"/>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52AAF933-73F8-CB17-CB73-55D66BC9D6A3}"/>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53845024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matchingName="Five Bars" preserve="1" userDrawn="1">
  <p:cSld name="Five Bars">
    <p:spTree>
      <p:nvGrpSpPr>
        <p:cNvPr id="1" name="Shape 379"/>
        <p:cNvGrpSpPr/>
        <p:nvPr/>
      </p:nvGrpSpPr>
      <p:grpSpPr>
        <a:xfrm>
          <a:off x="0" y="0"/>
          <a:ext cx="0" cy="0"/>
          <a:chOff x="0" y="0"/>
          <a:chExt cx="0" cy="0"/>
        </a:xfrm>
      </p:grpSpPr>
      <p:grpSp>
        <p:nvGrpSpPr>
          <p:cNvPr id="2" name="Group 1">
            <a:extLst>
              <a:ext uri="{FF2B5EF4-FFF2-40B4-BE49-F238E27FC236}">
                <a16:creationId xmlns:a16="http://schemas.microsoft.com/office/drawing/2014/main" id="{37A0049F-C128-6C1E-65AC-EACAE4F199A0}"/>
              </a:ext>
              <a:ext uri="{C183D7F6-B498-43B3-948B-1728B52AA6E4}">
                <adec:decorative xmlns:adec="http://schemas.microsoft.com/office/drawing/2017/decorative" val="1"/>
              </a:ext>
            </a:extLst>
          </p:cNvPr>
          <p:cNvGrpSpPr/>
          <p:nvPr userDrawn="1"/>
        </p:nvGrpSpPr>
        <p:grpSpPr>
          <a:xfrm>
            <a:off x="543900" y="367"/>
            <a:ext cx="12500939" cy="6376848"/>
            <a:chOff x="407925" y="275"/>
            <a:chExt cx="9375704" cy="4782636"/>
          </a:xfrm>
        </p:grpSpPr>
        <p:pic>
          <p:nvPicPr>
            <p:cNvPr id="383" name="Google Shape;383;p32">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6021260" y="692404"/>
              <a:ext cx="3762369" cy="3762369"/>
            </a:xfrm>
            <a:prstGeom prst="rect">
              <a:avLst/>
            </a:prstGeom>
            <a:noFill/>
            <a:ln>
              <a:noFill/>
            </a:ln>
          </p:spPr>
        </p:pic>
        <p:sp>
          <p:nvSpPr>
            <p:cNvPr id="384" name="Google Shape;384;p32">
              <a:extLst>
                <a:ext uri="{C183D7F6-B498-43B3-948B-1728B52AA6E4}">
                  <adec:decorative xmlns:adec="http://schemas.microsoft.com/office/drawing/2017/decorative" val="1"/>
                </a:ext>
              </a:extLst>
            </p:cNvPr>
            <p:cNvSpPr/>
            <p:nvPr/>
          </p:nvSpPr>
          <p:spPr>
            <a:xfrm>
              <a:off x="3742146" y="439574"/>
              <a:ext cx="3149100" cy="501000"/>
            </a:xfrm>
            <a:prstGeom prst="roundRect">
              <a:avLst>
                <a:gd name="adj" fmla="val 50000"/>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385" name="Google Shape;385;p32">
              <a:extLst>
                <a:ext uri="{C183D7F6-B498-43B3-948B-1728B52AA6E4}">
                  <adec:decorative xmlns:adec="http://schemas.microsoft.com/office/drawing/2017/decorative" val="1"/>
                </a:ext>
              </a:extLst>
            </p:cNvPr>
            <p:cNvGrpSpPr/>
            <p:nvPr/>
          </p:nvGrpSpPr>
          <p:grpSpPr>
            <a:xfrm>
              <a:off x="3496129" y="195577"/>
              <a:ext cx="987842" cy="986358"/>
              <a:chOff x="6104965" y="2265289"/>
              <a:chExt cx="1855800" cy="1855800"/>
            </a:xfrm>
          </p:grpSpPr>
          <p:sp>
            <p:nvSpPr>
              <p:cNvPr id="386" name="Google Shape;386;p32"/>
              <p:cNvSpPr/>
              <p:nvPr/>
            </p:nvSpPr>
            <p:spPr>
              <a:xfrm>
                <a:off x="6104965" y="2265289"/>
                <a:ext cx="1855800" cy="1855800"/>
              </a:xfrm>
              <a:prstGeom prst="ellipse">
                <a:avLst/>
              </a:prstGeom>
              <a:solidFill>
                <a:srgbClr val="1F9CF0">
                  <a:alpha val="1490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87" name="Google Shape;387;p32"/>
              <p:cNvSpPr/>
              <p:nvPr/>
            </p:nvSpPr>
            <p:spPr>
              <a:xfrm>
                <a:off x="6326458" y="2482124"/>
                <a:ext cx="1422000" cy="1422000"/>
              </a:xfrm>
              <a:prstGeom prst="ellipse">
                <a:avLst/>
              </a:prstGeom>
              <a:solidFill>
                <a:srgbClr val="1F9CF0">
                  <a:alpha val="4980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88" name="Google Shape;388;p32"/>
              <p:cNvSpPr/>
              <p:nvPr/>
            </p:nvSpPr>
            <p:spPr>
              <a:xfrm>
                <a:off x="6566834" y="2724359"/>
                <a:ext cx="942600" cy="9426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389" name="Google Shape;389;p32">
              <a:extLst>
                <a:ext uri="{C183D7F6-B498-43B3-948B-1728B52AA6E4}">
                  <adec:decorative xmlns:adec="http://schemas.microsoft.com/office/drawing/2017/decorative" val="1"/>
                </a:ext>
              </a:extLst>
            </p:cNvPr>
            <p:cNvSpPr/>
            <p:nvPr/>
          </p:nvSpPr>
          <p:spPr>
            <a:xfrm>
              <a:off x="4469544" y="1304571"/>
              <a:ext cx="3149100" cy="501000"/>
            </a:xfrm>
            <a:prstGeom prst="roundRect">
              <a:avLst>
                <a:gd name="adj" fmla="val 50000"/>
              </a:avLst>
            </a:prstGeom>
            <a:solidFill>
              <a:srgbClr val="007ACC"/>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390" name="Google Shape;390;p32">
              <a:extLst>
                <a:ext uri="{C183D7F6-B498-43B3-948B-1728B52AA6E4}">
                  <adec:decorative xmlns:adec="http://schemas.microsoft.com/office/drawing/2017/decorative" val="1"/>
                </a:ext>
              </a:extLst>
            </p:cNvPr>
            <p:cNvGrpSpPr/>
            <p:nvPr/>
          </p:nvGrpSpPr>
          <p:grpSpPr>
            <a:xfrm>
              <a:off x="4223528" y="1061877"/>
              <a:ext cx="987842" cy="986358"/>
              <a:chOff x="6104965" y="2265289"/>
              <a:chExt cx="1855800" cy="1855800"/>
            </a:xfrm>
          </p:grpSpPr>
          <p:sp>
            <p:nvSpPr>
              <p:cNvPr id="391" name="Google Shape;391;p32"/>
              <p:cNvSpPr/>
              <p:nvPr/>
            </p:nvSpPr>
            <p:spPr>
              <a:xfrm>
                <a:off x="6104965" y="2265289"/>
                <a:ext cx="1855800" cy="1855800"/>
              </a:xfrm>
              <a:prstGeom prst="ellipse">
                <a:avLst/>
              </a:prstGeom>
              <a:solidFill>
                <a:srgbClr val="007ACC">
                  <a:alpha val="1490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92" name="Google Shape;392;p32"/>
              <p:cNvSpPr/>
              <p:nvPr/>
            </p:nvSpPr>
            <p:spPr>
              <a:xfrm>
                <a:off x="6326458" y="2482124"/>
                <a:ext cx="1422000" cy="1422000"/>
              </a:xfrm>
              <a:prstGeom prst="ellipse">
                <a:avLst/>
              </a:prstGeom>
              <a:solidFill>
                <a:srgbClr val="007ACC">
                  <a:alpha val="4980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93" name="Google Shape;393;p32"/>
              <p:cNvSpPr/>
              <p:nvPr/>
            </p:nvSpPr>
            <p:spPr>
              <a:xfrm>
                <a:off x="6566834" y="2724359"/>
                <a:ext cx="942600" cy="942600"/>
              </a:xfrm>
              <a:prstGeom prst="ellipse">
                <a:avLst/>
              </a:prstGeom>
              <a:solidFill>
                <a:srgbClr val="007ACC"/>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394" name="Google Shape;394;p32">
              <a:extLst>
                <a:ext uri="{C183D7F6-B498-43B3-948B-1728B52AA6E4}">
                  <adec:decorative xmlns:adec="http://schemas.microsoft.com/office/drawing/2017/decorative" val="1"/>
                </a:ext>
              </a:extLst>
            </p:cNvPr>
            <p:cNvSpPr/>
            <p:nvPr/>
          </p:nvSpPr>
          <p:spPr>
            <a:xfrm>
              <a:off x="4469544" y="3037169"/>
              <a:ext cx="3149100" cy="501000"/>
            </a:xfrm>
            <a:prstGeom prst="roundRect">
              <a:avLst>
                <a:gd name="adj" fmla="val 50000"/>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395" name="Google Shape;395;p32">
              <a:extLst>
                <a:ext uri="{C183D7F6-B498-43B3-948B-1728B52AA6E4}">
                  <adec:decorative xmlns:adec="http://schemas.microsoft.com/office/drawing/2017/decorative" val="1"/>
                </a:ext>
              </a:extLst>
            </p:cNvPr>
            <p:cNvGrpSpPr/>
            <p:nvPr/>
          </p:nvGrpSpPr>
          <p:grpSpPr>
            <a:xfrm>
              <a:off x="4223528" y="2794475"/>
              <a:ext cx="987842" cy="986358"/>
              <a:chOff x="6104965" y="2265289"/>
              <a:chExt cx="1855800" cy="1855800"/>
            </a:xfrm>
          </p:grpSpPr>
          <p:sp>
            <p:nvSpPr>
              <p:cNvPr id="396" name="Google Shape;396;p32"/>
              <p:cNvSpPr/>
              <p:nvPr/>
            </p:nvSpPr>
            <p:spPr>
              <a:xfrm>
                <a:off x="6104965" y="2265289"/>
                <a:ext cx="1855800" cy="1855800"/>
              </a:xfrm>
              <a:prstGeom prst="ellipse">
                <a:avLst/>
              </a:prstGeom>
              <a:solidFill>
                <a:srgbClr val="8661C5">
                  <a:alpha val="1490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97" name="Google Shape;397;p32"/>
              <p:cNvSpPr/>
              <p:nvPr/>
            </p:nvSpPr>
            <p:spPr>
              <a:xfrm>
                <a:off x="6326458" y="2482124"/>
                <a:ext cx="1422000" cy="1422000"/>
              </a:xfrm>
              <a:prstGeom prst="ellipse">
                <a:avLst/>
              </a:prstGeom>
              <a:solidFill>
                <a:srgbClr val="8661C5">
                  <a:alpha val="4980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398" name="Google Shape;398;p32"/>
              <p:cNvSpPr/>
              <p:nvPr/>
            </p:nvSpPr>
            <p:spPr>
              <a:xfrm>
                <a:off x="6566834" y="2724359"/>
                <a:ext cx="942600" cy="9426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399" name="Google Shape;399;p32">
              <a:extLst>
                <a:ext uri="{C183D7F6-B498-43B3-948B-1728B52AA6E4}">
                  <adec:decorative xmlns:adec="http://schemas.microsoft.com/office/drawing/2017/decorative" val="1"/>
                </a:ext>
              </a:extLst>
            </p:cNvPr>
            <p:cNvSpPr/>
            <p:nvPr/>
          </p:nvSpPr>
          <p:spPr>
            <a:xfrm>
              <a:off x="3742146" y="3903468"/>
              <a:ext cx="3149100" cy="501000"/>
            </a:xfrm>
            <a:prstGeom prst="roundRect">
              <a:avLst>
                <a:gd name="adj" fmla="val 50000"/>
              </a:avLst>
            </a:prstGeom>
            <a:solidFill>
              <a:srgbClr val="352559"/>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400" name="Google Shape;400;p32">
              <a:extLst>
                <a:ext uri="{C183D7F6-B498-43B3-948B-1728B52AA6E4}">
                  <adec:decorative xmlns:adec="http://schemas.microsoft.com/office/drawing/2017/decorative" val="1"/>
                </a:ext>
              </a:extLst>
            </p:cNvPr>
            <p:cNvGrpSpPr/>
            <p:nvPr/>
          </p:nvGrpSpPr>
          <p:grpSpPr>
            <a:xfrm>
              <a:off x="3496129" y="3660774"/>
              <a:ext cx="987842" cy="986358"/>
              <a:chOff x="6104965" y="2265289"/>
              <a:chExt cx="1855800" cy="1855800"/>
            </a:xfrm>
          </p:grpSpPr>
          <p:sp>
            <p:nvSpPr>
              <p:cNvPr id="401" name="Google Shape;401;p32"/>
              <p:cNvSpPr/>
              <p:nvPr/>
            </p:nvSpPr>
            <p:spPr>
              <a:xfrm>
                <a:off x="6104965" y="2265289"/>
                <a:ext cx="1855800" cy="1855800"/>
              </a:xfrm>
              <a:prstGeom prst="ellipse">
                <a:avLst/>
              </a:prstGeom>
              <a:solidFill>
                <a:srgbClr val="352559">
                  <a:alpha val="1490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02" name="Google Shape;402;p32"/>
              <p:cNvSpPr/>
              <p:nvPr/>
            </p:nvSpPr>
            <p:spPr>
              <a:xfrm>
                <a:off x="6326458" y="2482124"/>
                <a:ext cx="1422000" cy="1422000"/>
              </a:xfrm>
              <a:prstGeom prst="ellipse">
                <a:avLst/>
              </a:prstGeom>
              <a:solidFill>
                <a:srgbClr val="352559">
                  <a:alpha val="4980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03" name="Google Shape;403;p32"/>
              <p:cNvSpPr/>
              <p:nvPr/>
            </p:nvSpPr>
            <p:spPr>
              <a:xfrm>
                <a:off x="6566834" y="2724359"/>
                <a:ext cx="942600" cy="942600"/>
              </a:xfrm>
              <a:prstGeom prst="ellipse">
                <a:avLst/>
              </a:prstGeom>
              <a:solidFill>
                <a:srgbClr val="352559"/>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404" name="Google Shape;404;p32">
              <a:extLst>
                <a:ext uri="{C183D7F6-B498-43B3-948B-1728B52AA6E4}">
                  <adec:decorative xmlns:adec="http://schemas.microsoft.com/office/drawing/2017/decorative" val="1"/>
                </a:ext>
              </a:extLst>
            </p:cNvPr>
            <p:cNvSpPr/>
            <p:nvPr/>
          </p:nvSpPr>
          <p:spPr>
            <a:xfrm>
              <a:off x="5198187" y="2170870"/>
              <a:ext cx="3149100" cy="501000"/>
            </a:xfrm>
            <a:prstGeom prst="roundRect">
              <a:avLst>
                <a:gd name="adj" fmla="val 50000"/>
              </a:avLst>
            </a:prstGeom>
            <a:solidFill>
              <a:srgbClr val="28AFEA"/>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405" name="Google Shape;405;p32">
              <a:extLst>
                <a:ext uri="{C183D7F6-B498-43B3-948B-1728B52AA6E4}">
                  <adec:decorative xmlns:adec="http://schemas.microsoft.com/office/drawing/2017/decorative" val="1"/>
                </a:ext>
              </a:extLst>
            </p:cNvPr>
            <p:cNvGrpSpPr/>
            <p:nvPr/>
          </p:nvGrpSpPr>
          <p:grpSpPr>
            <a:xfrm>
              <a:off x="4952171" y="1928176"/>
              <a:ext cx="987842" cy="986358"/>
              <a:chOff x="6104965" y="2265289"/>
              <a:chExt cx="1855800" cy="1855800"/>
            </a:xfrm>
          </p:grpSpPr>
          <p:sp>
            <p:nvSpPr>
              <p:cNvPr id="406" name="Google Shape;406;p32"/>
              <p:cNvSpPr/>
              <p:nvPr/>
            </p:nvSpPr>
            <p:spPr>
              <a:xfrm>
                <a:off x="6104965" y="2265289"/>
                <a:ext cx="1855800" cy="1855800"/>
              </a:xfrm>
              <a:prstGeom prst="ellipse">
                <a:avLst/>
              </a:prstGeom>
              <a:solidFill>
                <a:srgbClr val="28AFEA">
                  <a:alpha val="14900"/>
                </a:srgbClr>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07" name="Google Shape;407;p32"/>
              <p:cNvSpPr/>
              <p:nvPr/>
            </p:nvSpPr>
            <p:spPr>
              <a:xfrm>
                <a:off x="6326458" y="2482124"/>
                <a:ext cx="1422000" cy="1422000"/>
              </a:xfrm>
              <a:prstGeom prst="ellipse">
                <a:avLst/>
              </a:prstGeom>
              <a:solidFill>
                <a:srgbClr val="28AFEA">
                  <a:alpha val="4980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08" name="Google Shape;408;p32"/>
              <p:cNvSpPr/>
              <p:nvPr/>
            </p:nvSpPr>
            <p:spPr>
              <a:xfrm>
                <a:off x="6566834" y="2724359"/>
                <a:ext cx="942600" cy="942600"/>
              </a:xfrm>
              <a:prstGeom prst="ellipse">
                <a:avLst/>
              </a:prstGeom>
              <a:solidFill>
                <a:srgbClr val="28AFEA"/>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cxnSp>
          <p:nvCxnSpPr>
            <p:cNvPr id="409" name="Google Shape;409;p32">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sp>
          <p:nvSpPr>
            <p:cNvPr id="410" name="Google Shape;410;p32">
              <a:extLst>
                <a:ext uri="{C183D7F6-B498-43B3-948B-1728B52AA6E4}">
                  <adec:decorative xmlns:adec="http://schemas.microsoft.com/office/drawing/2017/decorative" val="1"/>
                </a:ext>
              </a:extLst>
            </p:cNvPr>
            <p:cNvSpPr/>
            <p:nvPr/>
          </p:nvSpPr>
          <p:spPr>
            <a:xfrm rot="10800000">
              <a:off x="407925" y="275"/>
              <a:ext cx="73200" cy="29958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50" name="Google Shape;67;p15">
              <a:extLst>
                <a:ext uri="{FF2B5EF4-FFF2-40B4-BE49-F238E27FC236}">
                  <a16:creationId xmlns:a16="http://schemas.microsoft.com/office/drawing/2014/main" id="{CD4C19BC-5DEC-DE48-9ACE-675D5E9CFD83}"/>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422" name="Google Shape;422;p32"/>
          <p:cNvSpPr txBox="1">
            <a:spLocks noGrp="1"/>
          </p:cNvSpPr>
          <p:nvPr>
            <p:ph type="title"/>
          </p:nvPr>
        </p:nvSpPr>
        <p:spPr>
          <a:xfrm>
            <a:off x="1060704" y="1243584"/>
            <a:ext cx="3108800" cy="2828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663" b="0" i="0">
                <a:latin typeface="Helvetica" pitchFamily="2" charset="0"/>
              </a:defRPr>
            </a:lvl1pPr>
            <a:lvl2pPr lvl="1">
              <a:spcBef>
                <a:spcPts val="0"/>
              </a:spcBef>
              <a:spcAft>
                <a:spcPts val="0"/>
              </a:spcAft>
              <a:buSzPts val="1700"/>
              <a:buNone/>
              <a:defRPr sz="2263"/>
            </a:lvl2pPr>
            <a:lvl3pPr lvl="2">
              <a:spcBef>
                <a:spcPts val="0"/>
              </a:spcBef>
              <a:spcAft>
                <a:spcPts val="0"/>
              </a:spcAft>
              <a:buSzPts val="1700"/>
              <a:buNone/>
              <a:defRPr sz="2263"/>
            </a:lvl3pPr>
            <a:lvl4pPr lvl="3">
              <a:spcBef>
                <a:spcPts val="0"/>
              </a:spcBef>
              <a:spcAft>
                <a:spcPts val="0"/>
              </a:spcAft>
              <a:buSzPts val="1700"/>
              <a:buNone/>
              <a:defRPr sz="2263"/>
            </a:lvl4pPr>
            <a:lvl5pPr lvl="4">
              <a:spcBef>
                <a:spcPts val="0"/>
              </a:spcBef>
              <a:spcAft>
                <a:spcPts val="0"/>
              </a:spcAft>
              <a:buSzPts val="1700"/>
              <a:buNone/>
              <a:defRPr sz="2263"/>
            </a:lvl5pPr>
            <a:lvl6pPr lvl="5">
              <a:spcBef>
                <a:spcPts val="0"/>
              </a:spcBef>
              <a:spcAft>
                <a:spcPts val="0"/>
              </a:spcAft>
              <a:buSzPts val="1700"/>
              <a:buNone/>
              <a:defRPr sz="2263"/>
            </a:lvl6pPr>
            <a:lvl7pPr lvl="6">
              <a:spcBef>
                <a:spcPts val="0"/>
              </a:spcBef>
              <a:spcAft>
                <a:spcPts val="0"/>
              </a:spcAft>
              <a:buSzPts val="1700"/>
              <a:buNone/>
              <a:defRPr sz="2263"/>
            </a:lvl7pPr>
            <a:lvl8pPr lvl="7">
              <a:spcBef>
                <a:spcPts val="0"/>
              </a:spcBef>
              <a:spcAft>
                <a:spcPts val="0"/>
              </a:spcAft>
              <a:buSzPts val="1700"/>
              <a:buNone/>
              <a:defRPr sz="2263"/>
            </a:lvl8pPr>
            <a:lvl9pPr lvl="8">
              <a:spcBef>
                <a:spcPts val="0"/>
              </a:spcBef>
              <a:spcAft>
                <a:spcPts val="0"/>
              </a:spcAft>
              <a:buSzPts val="1700"/>
              <a:buNone/>
              <a:defRPr sz="2263"/>
            </a:lvl9pPr>
          </a:lstStyle>
          <a:p>
            <a:endParaRPr dirty="0"/>
          </a:p>
        </p:txBody>
      </p:sp>
      <p:sp>
        <p:nvSpPr>
          <p:cNvPr id="421" name="Google Shape;421;p32"/>
          <p:cNvSpPr txBox="1">
            <a:spLocks noGrp="1"/>
          </p:cNvSpPr>
          <p:nvPr>
            <p:ph type="subTitle" idx="14"/>
          </p:nvPr>
        </p:nvSpPr>
        <p:spPr>
          <a:xfrm>
            <a:off x="1072896" y="731520"/>
            <a:ext cx="2804000" cy="207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52" name="Google Shape;529;p35">
            <a:extLst>
              <a:ext uri="{FF2B5EF4-FFF2-40B4-BE49-F238E27FC236}">
                <a16:creationId xmlns:a16="http://schemas.microsoft.com/office/drawing/2014/main" id="{CD3576E2-AEB5-FF3E-CC5F-467FF2EE89AD}"/>
              </a:ext>
            </a:extLst>
          </p:cNvPr>
          <p:cNvSpPr>
            <a:spLocks noGrp="1"/>
          </p:cNvSpPr>
          <p:nvPr>
            <p:ph type="pic" idx="3"/>
          </p:nvPr>
        </p:nvSpPr>
        <p:spPr>
          <a:xfrm>
            <a:off x="5100667" y="698941"/>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416" name="Google Shape;416;p32"/>
          <p:cNvSpPr txBox="1">
            <a:spLocks noGrp="1"/>
          </p:cNvSpPr>
          <p:nvPr>
            <p:ph type="body" idx="1"/>
          </p:nvPr>
        </p:nvSpPr>
        <p:spPr>
          <a:xfrm>
            <a:off x="5978634" y="682752"/>
            <a:ext cx="2950400" cy="463200"/>
          </a:xfrm>
          <a:prstGeom prst="rect">
            <a:avLst/>
          </a:prstGeom>
        </p:spPr>
        <p:txBody>
          <a:bodyPr spcFirstLastPara="1" wrap="square" lIns="45700" tIns="18275" rIns="45700" bIns="18275" anchor="ctr" anchorCtr="0">
            <a:noAutofit/>
          </a:bodyPr>
          <a:lstStyle>
            <a:lvl1pPr marL="0" lvl="0" indent="0">
              <a:spcBef>
                <a:spcPts val="0"/>
              </a:spcBef>
              <a:spcAft>
                <a:spcPts val="0"/>
              </a:spcAft>
              <a:buSzPts val="800"/>
              <a:buNone/>
              <a:defRPr sz="1065" b="0" i="0">
                <a:solidFill>
                  <a:schemeClr val="bg1"/>
                </a:solidFill>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53" name="Google Shape;529;p35">
            <a:extLst>
              <a:ext uri="{FF2B5EF4-FFF2-40B4-BE49-F238E27FC236}">
                <a16:creationId xmlns:a16="http://schemas.microsoft.com/office/drawing/2014/main" id="{A5F644A9-640E-49D4-9BA3-19831FCDEAB1}"/>
              </a:ext>
            </a:extLst>
          </p:cNvPr>
          <p:cNvSpPr>
            <a:spLocks noGrp="1"/>
          </p:cNvSpPr>
          <p:nvPr>
            <p:ph type="pic" idx="19"/>
          </p:nvPr>
        </p:nvSpPr>
        <p:spPr>
          <a:xfrm>
            <a:off x="6070532" y="1854008"/>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417" name="Google Shape;417;p32"/>
          <p:cNvSpPr txBox="1">
            <a:spLocks noGrp="1"/>
          </p:cNvSpPr>
          <p:nvPr>
            <p:ph type="body" idx="7"/>
          </p:nvPr>
        </p:nvSpPr>
        <p:spPr>
          <a:xfrm>
            <a:off x="6986016" y="1828800"/>
            <a:ext cx="2950400" cy="463200"/>
          </a:xfrm>
          <a:prstGeom prst="rect">
            <a:avLst/>
          </a:prstGeom>
        </p:spPr>
        <p:txBody>
          <a:bodyPr spcFirstLastPara="1" wrap="square" lIns="45700" tIns="18275" rIns="45700" bIns="18275" anchor="ctr" anchorCtr="0">
            <a:noAutofit/>
          </a:bodyPr>
          <a:lstStyle>
            <a:lvl1pPr marL="0" lvl="0" indent="0" rtl="0">
              <a:spcBef>
                <a:spcPts val="0"/>
              </a:spcBef>
              <a:spcAft>
                <a:spcPts val="0"/>
              </a:spcAft>
              <a:buSzPts val="800"/>
              <a:buNone/>
              <a:defRPr sz="1065"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4" name="Google Shape;529;p35">
            <a:extLst>
              <a:ext uri="{FF2B5EF4-FFF2-40B4-BE49-F238E27FC236}">
                <a16:creationId xmlns:a16="http://schemas.microsoft.com/office/drawing/2014/main" id="{FBB95042-817E-B134-256C-4FB5A90FF06A}"/>
              </a:ext>
            </a:extLst>
          </p:cNvPr>
          <p:cNvSpPr>
            <a:spLocks noGrp="1"/>
          </p:cNvSpPr>
          <p:nvPr>
            <p:ph type="pic" idx="20"/>
          </p:nvPr>
        </p:nvSpPr>
        <p:spPr>
          <a:xfrm>
            <a:off x="7042056" y="3009073"/>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418" name="Google Shape;418;p32"/>
          <p:cNvSpPr txBox="1">
            <a:spLocks noGrp="1"/>
          </p:cNvSpPr>
          <p:nvPr>
            <p:ph type="body" idx="8"/>
          </p:nvPr>
        </p:nvSpPr>
        <p:spPr>
          <a:xfrm>
            <a:off x="7936992" y="2974848"/>
            <a:ext cx="2950400" cy="463200"/>
          </a:xfrm>
          <a:prstGeom prst="rect">
            <a:avLst/>
          </a:prstGeom>
        </p:spPr>
        <p:txBody>
          <a:bodyPr spcFirstLastPara="1" wrap="square" lIns="45700" tIns="18275" rIns="45700" bIns="18275" anchor="ctr" anchorCtr="0">
            <a:noAutofit/>
          </a:bodyPr>
          <a:lstStyle>
            <a:lvl1pPr marL="0" lvl="0" indent="0" rtl="0">
              <a:spcBef>
                <a:spcPts val="0"/>
              </a:spcBef>
              <a:spcAft>
                <a:spcPts val="0"/>
              </a:spcAft>
              <a:buSzPts val="800"/>
              <a:buNone/>
              <a:defRPr sz="1065"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5" name="Google Shape;529;p35">
            <a:extLst>
              <a:ext uri="{FF2B5EF4-FFF2-40B4-BE49-F238E27FC236}">
                <a16:creationId xmlns:a16="http://schemas.microsoft.com/office/drawing/2014/main" id="{BEE85CE0-3794-8891-A799-BBC3CBBC2483}"/>
              </a:ext>
            </a:extLst>
          </p:cNvPr>
          <p:cNvSpPr>
            <a:spLocks noGrp="1"/>
          </p:cNvSpPr>
          <p:nvPr>
            <p:ph type="pic" idx="21"/>
          </p:nvPr>
        </p:nvSpPr>
        <p:spPr>
          <a:xfrm>
            <a:off x="6070532" y="4164139"/>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419" name="Google Shape;419;p32"/>
          <p:cNvSpPr txBox="1">
            <a:spLocks noGrp="1"/>
          </p:cNvSpPr>
          <p:nvPr>
            <p:ph type="body" idx="9"/>
          </p:nvPr>
        </p:nvSpPr>
        <p:spPr>
          <a:xfrm>
            <a:off x="6986016" y="4145280"/>
            <a:ext cx="2950400" cy="463200"/>
          </a:xfrm>
          <a:prstGeom prst="rect">
            <a:avLst/>
          </a:prstGeom>
        </p:spPr>
        <p:txBody>
          <a:bodyPr spcFirstLastPara="1" wrap="square" lIns="45700" tIns="18275" rIns="45700" bIns="18275" anchor="ctr" anchorCtr="0">
            <a:noAutofit/>
          </a:bodyPr>
          <a:lstStyle>
            <a:lvl1pPr marL="0" lvl="0" indent="0" rtl="0">
              <a:spcBef>
                <a:spcPts val="0"/>
              </a:spcBef>
              <a:spcAft>
                <a:spcPts val="0"/>
              </a:spcAft>
              <a:buSzPts val="800"/>
              <a:buNone/>
              <a:defRPr sz="1065"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6" name="Google Shape;529;p35">
            <a:extLst>
              <a:ext uri="{FF2B5EF4-FFF2-40B4-BE49-F238E27FC236}">
                <a16:creationId xmlns:a16="http://schemas.microsoft.com/office/drawing/2014/main" id="{A65B01E9-D9F8-328D-5B1B-78BC9275ED6D}"/>
              </a:ext>
            </a:extLst>
          </p:cNvPr>
          <p:cNvSpPr>
            <a:spLocks noGrp="1"/>
          </p:cNvSpPr>
          <p:nvPr>
            <p:ph type="pic" idx="22"/>
          </p:nvPr>
        </p:nvSpPr>
        <p:spPr>
          <a:xfrm>
            <a:off x="5100667" y="5319204"/>
            <a:ext cx="438800" cy="438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420" name="Google Shape;420;p32"/>
          <p:cNvSpPr txBox="1">
            <a:spLocks noGrp="1"/>
          </p:cNvSpPr>
          <p:nvPr>
            <p:ph type="body" idx="13"/>
          </p:nvPr>
        </p:nvSpPr>
        <p:spPr>
          <a:xfrm>
            <a:off x="5974081" y="5303520"/>
            <a:ext cx="2950400" cy="463200"/>
          </a:xfrm>
          <a:prstGeom prst="rect">
            <a:avLst/>
          </a:prstGeom>
        </p:spPr>
        <p:txBody>
          <a:bodyPr spcFirstLastPara="1" wrap="square" lIns="45700" tIns="18275" rIns="45700" bIns="18275" anchor="ctr" anchorCtr="0">
            <a:noAutofit/>
          </a:bodyPr>
          <a:lstStyle>
            <a:lvl1pPr marL="0" lvl="0" indent="0" rtl="0">
              <a:spcBef>
                <a:spcPts val="0"/>
              </a:spcBef>
              <a:spcAft>
                <a:spcPts val="0"/>
              </a:spcAft>
              <a:buSzPts val="800"/>
              <a:buNone/>
              <a:defRPr sz="1065" b="0"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9" name="Google Shape;268;p27">
            <a:extLst>
              <a:ext uri="{FF2B5EF4-FFF2-40B4-BE49-F238E27FC236}">
                <a16:creationId xmlns:a16="http://schemas.microsoft.com/office/drawing/2014/main" id="{B3792982-19EA-CA41-8308-2AD5F0D23189}"/>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38944245-D44B-F65F-6B6D-4F2688869F9A}"/>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18289134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matchingName="Timeline" preserve="1">
  <p:cSld name="Timeline">
    <p:spTree>
      <p:nvGrpSpPr>
        <p:cNvPr id="1" name="Shape 423"/>
        <p:cNvGrpSpPr/>
        <p:nvPr/>
      </p:nvGrpSpPr>
      <p:grpSpPr>
        <a:xfrm>
          <a:off x="0" y="0"/>
          <a:ext cx="0" cy="0"/>
          <a:chOff x="0" y="0"/>
          <a:chExt cx="0" cy="0"/>
        </a:xfrm>
      </p:grpSpPr>
      <p:grpSp>
        <p:nvGrpSpPr>
          <p:cNvPr id="2" name="Group 1">
            <a:extLst>
              <a:ext uri="{FF2B5EF4-FFF2-40B4-BE49-F238E27FC236}">
                <a16:creationId xmlns:a16="http://schemas.microsoft.com/office/drawing/2014/main" id="{AE88BE8E-7A9E-0109-4B50-E85B7DB08F4E}"/>
              </a:ext>
              <a:ext uri="{C183D7F6-B498-43B3-948B-1728B52AA6E4}">
                <adec:decorative xmlns:adec="http://schemas.microsoft.com/office/drawing/2017/decorative" val="1"/>
              </a:ext>
            </a:extLst>
          </p:cNvPr>
          <p:cNvGrpSpPr/>
          <p:nvPr userDrawn="1"/>
        </p:nvGrpSpPr>
        <p:grpSpPr>
          <a:xfrm>
            <a:off x="494068" y="5"/>
            <a:ext cx="11697940" cy="6857996"/>
            <a:chOff x="370550" y="3"/>
            <a:chExt cx="8773455" cy="5143497"/>
          </a:xfrm>
        </p:grpSpPr>
        <p:pic>
          <p:nvPicPr>
            <p:cNvPr id="427" name="Google Shape;427;p33">
              <a:extLst>
                <a:ext uri="{C183D7F6-B498-43B3-948B-1728B52AA6E4}">
                  <adec:decorative xmlns:adec="http://schemas.microsoft.com/office/drawing/2017/decorative" val="1"/>
                </a:ext>
              </a:extLst>
            </p:cNvPr>
            <p:cNvPicPr preferRelativeResize="0"/>
            <p:nvPr userDrawn="1"/>
          </p:nvPicPr>
          <p:blipFill rotWithShape="1">
            <a:blip r:embed="rId2">
              <a:alphaModFix amt="40000"/>
            </a:blip>
            <a:srcRect r="33453" b="13524"/>
            <a:stretch/>
          </p:blipFill>
          <p:spPr>
            <a:xfrm>
              <a:off x="4878193" y="3"/>
              <a:ext cx="4265812" cy="5143497"/>
            </a:xfrm>
            <a:prstGeom prst="rect">
              <a:avLst/>
            </a:prstGeom>
            <a:noFill/>
            <a:ln>
              <a:noFill/>
            </a:ln>
          </p:spPr>
        </p:pic>
        <p:cxnSp>
          <p:nvCxnSpPr>
            <p:cNvPr id="428" name="Google Shape;428;p33">
              <a:extLst>
                <a:ext uri="{C183D7F6-B498-43B3-948B-1728B52AA6E4}">
                  <adec:decorative xmlns:adec="http://schemas.microsoft.com/office/drawing/2017/decorative" val="1"/>
                </a:ext>
              </a:extLst>
            </p:cNvPr>
            <p:cNvCxnSpPr/>
            <p:nvPr/>
          </p:nvCxnSpPr>
          <p:spPr>
            <a:xfrm>
              <a:off x="1303867" y="3583747"/>
              <a:ext cx="6536400" cy="0"/>
            </a:xfrm>
            <a:prstGeom prst="straightConnector1">
              <a:avLst/>
            </a:prstGeom>
            <a:noFill/>
            <a:ln w="88900" cap="rnd" cmpd="sng">
              <a:solidFill>
                <a:srgbClr val="D8D8D8">
                  <a:alpha val="24710"/>
                </a:srgbClr>
              </a:solidFill>
              <a:prstDash val="solid"/>
              <a:round/>
              <a:headEnd type="none" w="sm" len="sm"/>
              <a:tailEnd type="none" w="sm" len="sm"/>
            </a:ln>
          </p:spPr>
        </p:cxnSp>
        <p:grpSp>
          <p:nvGrpSpPr>
            <p:cNvPr id="429" name="Google Shape;429;p33">
              <a:extLst>
                <a:ext uri="{C183D7F6-B498-43B3-948B-1728B52AA6E4}">
                  <adec:decorative xmlns:adec="http://schemas.microsoft.com/office/drawing/2017/decorative" val="1"/>
                </a:ext>
              </a:extLst>
            </p:cNvPr>
            <p:cNvGrpSpPr/>
            <p:nvPr/>
          </p:nvGrpSpPr>
          <p:grpSpPr>
            <a:xfrm flipH="1">
              <a:off x="1526314" y="2447680"/>
              <a:ext cx="1811316" cy="863864"/>
              <a:chOff x="1851659" y="5043862"/>
              <a:chExt cx="4393200" cy="2356422"/>
            </a:xfrm>
          </p:grpSpPr>
          <p:sp>
            <p:nvSpPr>
              <p:cNvPr id="430" name="Google Shape;430;p33"/>
              <p:cNvSpPr/>
              <p:nvPr/>
            </p:nvSpPr>
            <p:spPr>
              <a:xfrm flipH="1">
                <a:off x="1851659" y="5043862"/>
                <a:ext cx="4393200" cy="2109000"/>
              </a:xfrm>
              <a:prstGeom prst="roundRect">
                <a:avLst>
                  <a:gd name="adj" fmla="val 3087"/>
                </a:avLst>
              </a:prstGeom>
              <a:gradFill>
                <a:gsLst>
                  <a:gs pos="0">
                    <a:srgbClr val="1F9CF0"/>
                  </a:gs>
                  <a:gs pos="2000">
                    <a:srgbClr val="1F9CF0"/>
                  </a:gs>
                  <a:gs pos="100000">
                    <a:srgbClr val="9477E2">
                      <a:alpha val="29803"/>
                    </a:srgbClr>
                  </a:gs>
                </a:gsLst>
                <a:lin ang="2700006" scaled="0"/>
              </a:gradFill>
              <a:ln>
                <a:noFill/>
              </a:ln>
              <a:effectLst>
                <a:outerShdw blurRad="1270000" dist="1219200" dir="81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31" name="Google Shape;431;p33"/>
              <p:cNvSpPr/>
              <p:nvPr/>
            </p:nvSpPr>
            <p:spPr>
              <a:xfrm rot="10800000">
                <a:off x="3863414" y="7153684"/>
                <a:ext cx="369600" cy="246600"/>
              </a:xfrm>
              <a:prstGeom prst="triangle">
                <a:avLst>
                  <a:gd name="adj" fmla="val 50000"/>
                </a:avLst>
              </a:prstGeom>
              <a:gradFill>
                <a:gsLst>
                  <a:gs pos="0">
                    <a:srgbClr val="1F9CF0"/>
                  </a:gs>
                  <a:gs pos="2000">
                    <a:srgbClr val="1F9CF0"/>
                  </a:gs>
                  <a:gs pos="100000">
                    <a:srgbClr val="9477E2">
                      <a:alpha val="29803"/>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32" name="Google Shape;432;p33">
              <a:extLst>
                <a:ext uri="{C183D7F6-B498-43B3-948B-1728B52AA6E4}">
                  <adec:decorative xmlns:adec="http://schemas.microsoft.com/office/drawing/2017/decorative" val="1"/>
                </a:ext>
              </a:extLst>
            </p:cNvPr>
            <p:cNvGrpSpPr/>
            <p:nvPr/>
          </p:nvGrpSpPr>
          <p:grpSpPr>
            <a:xfrm>
              <a:off x="1290477" y="3525882"/>
              <a:ext cx="116624" cy="116450"/>
              <a:chOff x="2991668" y="6807571"/>
              <a:chExt cx="248400" cy="248400"/>
            </a:xfrm>
          </p:grpSpPr>
          <p:sp>
            <p:nvSpPr>
              <p:cNvPr id="433" name="Google Shape;433;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34" name="Google Shape;434;p33"/>
              <p:cNvSpPr/>
              <p:nvPr/>
            </p:nvSpPr>
            <p:spPr>
              <a:xfrm>
                <a:off x="3049014" y="6864917"/>
                <a:ext cx="133800" cy="133800"/>
              </a:xfrm>
              <a:prstGeom prst="ellipse">
                <a:avLst/>
              </a:prstGeom>
              <a:gradFill>
                <a:gsLst>
                  <a:gs pos="0">
                    <a:schemeClr val="accent2"/>
                  </a:gs>
                  <a:gs pos="2000">
                    <a:schemeClr val="accent2"/>
                  </a:gs>
                  <a:gs pos="100000">
                    <a:srgbClr val="5C2FD2"/>
                  </a:gs>
                </a:gsLst>
                <a:path path="circle">
                  <a:fillToRect l="50000" t="50000" r="50000" b="50000"/>
                </a:path>
                <a:tileRect/>
              </a:gradFill>
              <a:ln>
                <a:noFill/>
              </a:ln>
              <a:effectLst>
                <a:outerShdw blurRad="1270000" algn="ctr" rotWithShape="0">
                  <a:schemeClr val="accen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35" name="Google Shape;435;p33">
              <a:extLst>
                <a:ext uri="{C183D7F6-B498-43B3-948B-1728B52AA6E4}">
                  <adec:decorative xmlns:adec="http://schemas.microsoft.com/office/drawing/2017/decorative" val="1"/>
                </a:ext>
              </a:extLst>
            </p:cNvPr>
            <p:cNvGrpSpPr/>
            <p:nvPr/>
          </p:nvGrpSpPr>
          <p:grpSpPr>
            <a:xfrm>
              <a:off x="2373885" y="3525882"/>
              <a:ext cx="116624" cy="116450"/>
              <a:chOff x="2991668" y="6807571"/>
              <a:chExt cx="248400" cy="248400"/>
            </a:xfrm>
          </p:grpSpPr>
          <p:sp>
            <p:nvSpPr>
              <p:cNvPr id="436" name="Google Shape;436;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37" name="Google Shape;437;p33"/>
              <p:cNvSpPr/>
              <p:nvPr/>
            </p:nvSpPr>
            <p:spPr>
              <a:xfrm>
                <a:off x="3049014" y="6864917"/>
                <a:ext cx="133800" cy="133800"/>
              </a:xfrm>
              <a:prstGeom prst="ellipse">
                <a:avLst/>
              </a:prstGeom>
              <a:gradFill>
                <a:gsLst>
                  <a:gs pos="0">
                    <a:schemeClr val="accent1"/>
                  </a:gs>
                  <a:gs pos="2000">
                    <a:schemeClr val="accent1"/>
                  </a:gs>
                  <a:gs pos="100000">
                    <a:srgbClr val="C01169"/>
                  </a:gs>
                </a:gsLst>
                <a:path path="circle">
                  <a:fillToRect l="50000" t="50000" r="50000" b="50000"/>
                </a:path>
                <a:tileRect/>
              </a:gradFill>
              <a:ln>
                <a:noFill/>
              </a:ln>
              <a:effectLst>
                <a:outerShdw blurRad="1270000" algn="ctr" rotWithShape="0">
                  <a:schemeClr val="accent2">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38" name="Google Shape;438;p33">
              <a:extLst>
                <a:ext uri="{C183D7F6-B498-43B3-948B-1728B52AA6E4}">
                  <adec:decorative xmlns:adec="http://schemas.microsoft.com/office/drawing/2017/decorative" val="1"/>
                </a:ext>
              </a:extLst>
            </p:cNvPr>
            <p:cNvGrpSpPr/>
            <p:nvPr/>
          </p:nvGrpSpPr>
          <p:grpSpPr>
            <a:xfrm>
              <a:off x="3443832" y="3525882"/>
              <a:ext cx="116624" cy="116450"/>
              <a:chOff x="2991668" y="6807571"/>
              <a:chExt cx="248400" cy="248400"/>
            </a:xfrm>
          </p:grpSpPr>
          <p:sp>
            <p:nvSpPr>
              <p:cNvPr id="439" name="Google Shape;439;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40" name="Google Shape;440;p33"/>
              <p:cNvSpPr/>
              <p:nvPr/>
            </p:nvSpPr>
            <p:spPr>
              <a:xfrm>
                <a:off x="3049014" y="6864917"/>
                <a:ext cx="133800" cy="133800"/>
              </a:xfrm>
              <a:prstGeom prst="ellipse">
                <a:avLst/>
              </a:prstGeom>
              <a:gradFill>
                <a:gsLst>
                  <a:gs pos="0">
                    <a:schemeClr val="accent3"/>
                  </a:gs>
                  <a:gs pos="2000">
                    <a:schemeClr val="accent3"/>
                  </a:gs>
                  <a:gs pos="100000">
                    <a:srgbClr val="4F2995"/>
                  </a:gs>
                </a:gsLst>
                <a:path path="circle">
                  <a:fillToRect l="50000" t="50000" r="50000" b="50000"/>
                </a:path>
                <a:tileRect/>
              </a:gradFill>
              <a:ln>
                <a:noFill/>
              </a:ln>
              <a:effectLst>
                <a:outerShdw blurRad="1270000" algn="ctr" rotWithShape="0">
                  <a:schemeClr val="accent3">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41" name="Google Shape;441;p33">
              <a:extLst>
                <a:ext uri="{C183D7F6-B498-43B3-948B-1728B52AA6E4}">
                  <adec:decorative xmlns:adec="http://schemas.microsoft.com/office/drawing/2017/decorative" val="1"/>
                </a:ext>
              </a:extLst>
            </p:cNvPr>
            <p:cNvGrpSpPr/>
            <p:nvPr/>
          </p:nvGrpSpPr>
          <p:grpSpPr>
            <a:xfrm>
              <a:off x="4513778" y="3525882"/>
              <a:ext cx="116624" cy="116450"/>
              <a:chOff x="2991668" y="6807571"/>
              <a:chExt cx="248400" cy="248400"/>
            </a:xfrm>
          </p:grpSpPr>
          <p:sp>
            <p:nvSpPr>
              <p:cNvPr id="442" name="Google Shape;442;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43" name="Google Shape;443;p33"/>
              <p:cNvSpPr/>
              <p:nvPr/>
            </p:nvSpPr>
            <p:spPr>
              <a:xfrm>
                <a:off x="3049014" y="6864917"/>
                <a:ext cx="133800" cy="133800"/>
              </a:xfrm>
              <a:prstGeom prst="ellipse">
                <a:avLst/>
              </a:prstGeom>
              <a:gradFill>
                <a:gsLst>
                  <a:gs pos="0">
                    <a:schemeClr val="accent4"/>
                  </a:gs>
                  <a:gs pos="2000">
                    <a:schemeClr val="accent4"/>
                  </a:gs>
                  <a:gs pos="100000">
                    <a:srgbClr val="0F98B3"/>
                  </a:gs>
                </a:gsLst>
                <a:path path="circle">
                  <a:fillToRect l="50000" t="50000" r="50000" b="50000"/>
                </a:path>
                <a:tileRect/>
              </a:gradFill>
              <a:ln>
                <a:noFill/>
              </a:ln>
              <a:effectLst>
                <a:outerShdw blurRad="1270000" algn="ctr" rotWithShape="0">
                  <a:schemeClr val="accent4">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44" name="Google Shape;444;p33">
              <a:extLst>
                <a:ext uri="{C183D7F6-B498-43B3-948B-1728B52AA6E4}">
                  <adec:decorative xmlns:adec="http://schemas.microsoft.com/office/drawing/2017/decorative" val="1"/>
                </a:ext>
              </a:extLst>
            </p:cNvPr>
            <p:cNvGrpSpPr/>
            <p:nvPr/>
          </p:nvGrpSpPr>
          <p:grpSpPr>
            <a:xfrm>
              <a:off x="5583725" y="3525882"/>
              <a:ext cx="116624" cy="116450"/>
              <a:chOff x="2991668" y="6807571"/>
              <a:chExt cx="248400" cy="248400"/>
            </a:xfrm>
          </p:grpSpPr>
          <p:sp>
            <p:nvSpPr>
              <p:cNvPr id="445" name="Google Shape;445;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46" name="Google Shape;446;p33"/>
              <p:cNvSpPr/>
              <p:nvPr/>
            </p:nvSpPr>
            <p:spPr>
              <a:xfrm>
                <a:off x="3049014" y="6864917"/>
                <a:ext cx="133800" cy="133800"/>
              </a:xfrm>
              <a:prstGeom prst="ellipse">
                <a:avLst/>
              </a:prstGeom>
              <a:gradFill>
                <a:gsLst>
                  <a:gs pos="0">
                    <a:schemeClr val="accent5"/>
                  </a:gs>
                  <a:gs pos="2000">
                    <a:schemeClr val="accent5"/>
                  </a:gs>
                  <a:gs pos="100000">
                    <a:srgbClr val="66196E"/>
                  </a:gs>
                </a:gsLst>
                <a:path path="circle">
                  <a:fillToRect l="50000" t="50000" r="50000" b="50000"/>
                </a:path>
                <a:tileRect/>
              </a:gradFill>
              <a:ln>
                <a:noFill/>
              </a:ln>
              <a:effectLst>
                <a:outerShdw blurRad="1270000" algn="ctr" rotWithShape="0">
                  <a:schemeClr val="accent5">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47" name="Google Shape;447;p33">
              <a:extLst>
                <a:ext uri="{C183D7F6-B498-43B3-948B-1728B52AA6E4}">
                  <adec:decorative xmlns:adec="http://schemas.microsoft.com/office/drawing/2017/decorative" val="1"/>
                </a:ext>
              </a:extLst>
            </p:cNvPr>
            <p:cNvGrpSpPr/>
            <p:nvPr/>
          </p:nvGrpSpPr>
          <p:grpSpPr>
            <a:xfrm>
              <a:off x="6653671" y="3525882"/>
              <a:ext cx="116624" cy="116450"/>
              <a:chOff x="2991668" y="6807571"/>
              <a:chExt cx="248400" cy="248400"/>
            </a:xfrm>
          </p:grpSpPr>
          <p:sp>
            <p:nvSpPr>
              <p:cNvPr id="448" name="Google Shape;448;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49" name="Google Shape;449;p33"/>
              <p:cNvSpPr/>
              <p:nvPr/>
            </p:nvSpPr>
            <p:spPr>
              <a:xfrm>
                <a:off x="3049014" y="6864917"/>
                <a:ext cx="133800" cy="133800"/>
              </a:xfrm>
              <a:prstGeom prst="ellipse">
                <a:avLst/>
              </a:prstGeom>
              <a:gradFill>
                <a:gsLst>
                  <a:gs pos="0">
                    <a:schemeClr val="accent6"/>
                  </a:gs>
                  <a:gs pos="2000">
                    <a:schemeClr val="accent6"/>
                  </a:gs>
                  <a:gs pos="100000">
                    <a:srgbClr val="980B84"/>
                  </a:gs>
                </a:gsLst>
                <a:path path="circle">
                  <a:fillToRect l="50000" t="50000" r="50000" b="50000"/>
                </a:path>
                <a:tileRect/>
              </a:gradFill>
              <a:ln>
                <a:noFill/>
              </a:ln>
              <a:effectLst>
                <a:outerShdw blurRad="1270000" algn="ctr" rotWithShape="0">
                  <a:schemeClr val="accent6">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450" name="Google Shape;450;p33">
              <a:extLst>
                <a:ext uri="{C183D7F6-B498-43B3-948B-1728B52AA6E4}">
                  <adec:decorative xmlns:adec="http://schemas.microsoft.com/office/drawing/2017/decorative" val="1"/>
                </a:ext>
              </a:extLst>
            </p:cNvPr>
            <p:cNvGrpSpPr/>
            <p:nvPr/>
          </p:nvGrpSpPr>
          <p:grpSpPr>
            <a:xfrm>
              <a:off x="7737080" y="3525882"/>
              <a:ext cx="116624" cy="116450"/>
              <a:chOff x="2991668" y="6807571"/>
              <a:chExt cx="248400" cy="248400"/>
            </a:xfrm>
          </p:grpSpPr>
          <p:sp>
            <p:nvSpPr>
              <p:cNvPr id="451" name="Google Shape;451;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52" name="Google Shape;452;p33"/>
              <p:cNvSpPr/>
              <p:nvPr/>
            </p:nvSpPr>
            <p:spPr>
              <a:xfrm>
                <a:off x="3049014" y="6864917"/>
                <a:ext cx="133800" cy="133800"/>
              </a:xfrm>
              <a:prstGeom prst="ellipse">
                <a:avLst/>
              </a:prstGeom>
              <a:gradFill>
                <a:gsLst>
                  <a:gs pos="0">
                    <a:schemeClr val="accent1"/>
                  </a:gs>
                  <a:gs pos="2000">
                    <a:schemeClr val="accent1"/>
                  </a:gs>
                  <a:gs pos="100000">
                    <a:srgbClr val="C01169"/>
                  </a:gs>
                </a:gsLst>
                <a:path path="circle">
                  <a:fillToRect l="50000" t="50000" r="50000" b="50000"/>
                </a:path>
                <a:tileRect/>
              </a:gradFill>
              <a:ln>
                <a:noFill/>
              </a:ln>
              <a:effectLst>
                <a:outerShdw blurRad="1270000" algn="ctr" rotWithShape="0">
                  <a:schemeClr val="accent1">
                    <a:alpha val="40000"/>
                  </a:scheme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cxnSp>
          <p:nvCxnSpPr>
            <p:cNvPr id="453" name="Google Shape;453;p33">
              <a:extLst>
                <a:ext uri="{C183D7F6-B498-43B3-948B-1728B52AA6E4}">
                  <adec:decorative xmlns:adec="http://schemas.microsoft.com/office/drawing/2017/decorative" val="1"/>
                </a:ext>
              </a:extLst>
            </p:cNvPr>
            <p:cNvCxnSpPr/>
            <p:nvPr/>
          </p:nvCxnSpPr>
          <p:spPr>
            <a:xfrm>
              <a:off x="783205" y="613302"/>
              <a:ext cx="2070300" cy="0"/>
            </a:xfrm>
            <a:prstGeom prst="straightConnector1">
              <a:avLst/>
            </a:prstGeom>
            <a:noFill/>
            <a:ln w="12700" cap="flat" cmpd="sng">
              <a:solidFill>
                <a:srgbClr val="627597"/>
              </a:solidFill>
              <a:prstDash val="solid"/>
              <a:miter lim="800000"/>
              <a:headEnd type="none" w="sm" len="sm"/>
              <a:tailEnd type="none" w="sm" len="sm"/>
            </a:ln>
          </p:spPr>
        </p:cxnSp>
        <p:sp>
          <p:nvSpPr>
            <p:cNvPr id="454" name="Google Shape;454;p33">
              <a:extLst>
                <a:ext uri="{C183D7F6-B498-43B3-948B-1728B52AA6E4}">
                  <adec:decorative xmlns:adec="http://schemas.microsoft.com/office/drawing/2017/decorative" val="1"/>
                </a:ext>
              </a:extLst>
            </p:cNvPr>
            <p:cNvSpPr/>
            <p:nvPr/>
          </p:nvSpPr>
          <p:spPr>
            <a:xfrm rot="10800000">
              <a:off x="370550" y="175"/>
              <a:ext cx="75000" cy="17340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52" name="Google Shape;67;p15">
              <a:extLst>
                <a:ext uri="{FF2B5EF4-FFF2-40B4-BE49-F238E27FC236}">
                  <a16:creationId xmlns:a16="http://schemas.microsoft.com/office/drawing/2014/main" id="{1D16FF24-B0F8-B641-AD66-E286C3F257F6}"/>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456" name="Google Shape;456;p33"/>
          <p:cNvSpPr txBox="1">
            <a:spLocks noGrp="1"/>
          </p:cNvSpPr>
          <p:nvPr>
            <p:ph type="title"/>
          </p:nvPr>
        </p:nvSpPr>
        <p:spPr>
          <a:xfrm>
            <a:off x="987552" y="1121664"/>
            <a:ext cx="43768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solidFill>
                  <a:schemeClr val="bg1"/>
                </a:solidFill>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55" name="Google Shape;455;p33"/>
          <p:cNvSpPr txBox="1">
            <a:spLocks noGrp="1"/>
          </p:cNvSpPr>
          <p:nvPr>
            <p:ph type="subTitle" idx="1"/>
          </p:nvPr>
        </p:nvSpPr>
        <p:spPr>
          <a:xfrm>
            <a:off x="999744" y="573024"/>
            <a:ext cx="4035600" cy="2072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457" name="Google Shape;457;p33"/>
          <p:cNvSpPr txBox="1">
            <a:spLocks noGrp="1"/>
          </p:cNvSpPr>
          <p:nvPr>
            <p:ph type="body" idx="2"/>
          </p:nvPr>
        </p:nvSpPr>
        <p:spPr>
          <a:xfrm>
            <a:off x="5364352" y="1121664"/>
            <a:ext cx="3901600" cy="1085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458" name="Google Shape;458;p33"/>
          <p:cNvSpPr txBox="1">
            <a:spLocks noGrp="1"/>
          </p:cNvSpPr>
          <p:nvPr>
            <p:ph type="body" idx="3"/>
          </p:nvPr>
        </p:nvSpPr>
        <p:spPr>
          <a:xfrm>
            <a:off x="2426208" y="3352800"/>
            <a:ext cx="1633600" cy="195200"/>
          </a:xfrm>
          <a:prstGeom prst="rect">
            <a:avLst/>
          </a:prstGeom>
        </p:spPr>
        <p:txBody>
          <a:bodyPr spcFirstLastPara="1" wrap="square" lIns="45700" tIns="18275" rIns="45700" bIns="18275" anchor="t" anchorCtr="0">
            <a:noAutofit/>
          </a:bodyPr>
          <a:lstStyle>
            <a:lvl1pPr marL="1691" lvl="0" indent="0" algn="ctr">
              <a:lnSpc>
                <a:spcPct val="100000"/>
              </a:lnSpc>
              <a:spcBef>
                <a:spcPts val="0"/>
              </a:spcBef>
              <a:spcAft>
                <a:spcPts val="0"/>
              </a:spcAft>
              <a:buSzPts val="700"/>
              <a:buNone/>
              <a:defRPr sz="799" b="0" i="0">
                <a:latin typeface="Helvetica" pitchFamily="2" charset="0"/>
              </a:defRPr>
            </a:lvl1pPr>
            <a:lvl2pPr marL="1217295" lvl="1" indent="-363498" algn="ctr">
              <a:spcBef>
                <a:spcPts val="0"/>
              </a:spcBef>
              <a:spcAft>
                <a:spcPts val="0"/>
              </a:spcAft>
              <a:buSzPts val="700"/>
              <a:buChar char="○"/>
              <a:defRPr sz="932"/>
            </a:lvl2pPr>
            <a:lvl3pPr marL="1825943" lvl="2" indent="-363498" algn="ctr">
              <a:spcBef>
                <a:spcPts val="0"/>
              </a:spcBef>
              <a:spcAft>
                <a:spcPts val="0"/>
              </a:spcAft>
              <a:buSzPts val="700"/>
              <a:buChar char="■"/>
              <a:defRPr sz="932"/>
            </a:lvl3pPr>
            <a:lvl4pPr marL="2434590" lvl="3" indent="-363498" algn="ctr">
              <a:spcBef>
                <a:spcPts val="0"/>
              </a:spcBef>
              <a:spcAft>
                <a:spcPts val="0"/>
              </a:spcAft>
              <a:buSzPts val="700"/>
              <a:buChar char="●"/>
              <a:defRPr sz="932"/>
            </a:lvl4pPr>
            <a:lvl5pPr marL="3043238" lvl="4" indent="-363498" algn="ctr">
              <a:spcBef>
                <a:spcPts val="0"/>
              </a:spcBef>
              <a:spcAft>
                <a:spcPts val="0"/>
              </a:spcAft>
              <a:buSzPts val="700"/>
              <a:buChar char="○"/>
              <a:defRPr sz="932"/>
            </a:lvl5pPr>
            <a:lvl6pPr marL="3651885" lvl="5" indent="-363498" algn="ctr">
              <a:spcBef>
                <a:spcPts val="0"/>
              </a:spcBef>
              <a:spcAft>
                <a:spcPts val="0"/>
              </a:spcAft>
              <a:buSzPts val="700"/>
              <a:buChar char="■"/>
              <a:defRPr sz="932"/>
            </a:lvl6pPr>
            <a:lvl7pPr marL="4260533" lvl="6" indent="-363498" algn="ctr">
              <a:spcBef>
                <a:spcPts val="0"/>
              </a:spcBef>
              <a:spcAft>
                <a:spcPts val="0"/>
              </a:spcAft>
              <a:buSzPts val="700"/>
              <a:buChar char="●"/>
              <a:defRPr sz="932"/>
            </a:lvl7pPr>
            <a:lvl8pPr marL="4869180" lvl="7" indent="-363498" algn="ctr">
              <a:spcBef>
                <a:spcPts val="0"/>
              </a:spcBef>
              <a:spcAft>
                <a:spcPts val="0"/>
              </a:spcAft>
              <a:buSzPts val="700"/>
              <a:buChar char="○"/>
              <a:defRPr sz="932"/>
            </a:lvl8pPr>
            <a:lvl9pPr marL="5477828" lvl="8" indent="-363498" algn="ctr">
              <a:spcBef>
                <a:spcPts val="0"/>
              </a:spcBef>
              <a:spcAft>
                <a:spcPts val="0"/>
              </a:spcAft>
              <a:buSzPts val="700"/>
              <a:buChar char="■"/>
              <a:defRPr sz="932"/>
            </a:lvl9pPr>
          </a:lstStyle>
          <a:p>
            <a:endParaRPr dirty="0"/>
          </a:p>
        </p:txBody>
      </p:sp>
      <p:sp>
        <p:nvSpPr>
          <p:cNvPr id="459" name="Google Shape;459;p33"/>
          <p:cNvSpPr txBox="1">
            <a:spLocks noGrp="1"/>
          </p:cNvSpPr>
          <p:nvPr>
            <p:ph type="body" idx="4"/>
          </p:nvPr>
        </p:nvSpPr>
        <p:spPr>
          <a:xfrm>
            <a:off x="2426208" y="3535680"/>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0" name="Google Shape;460;p33"/>
          <p:cNvSpPr txBox="1">
            <a:spLocks noGrp="1"/>
          </p:cNvSpPr>
          <p:nvPr>
            <p:ph type="body" idx="5"/>
          </p:nvPr>
        </p:nvSpPr>
        <p:spPr>
          <a:xfrm>
            <a:off x="2036064" y="3779520"/>
            <a:ext cx="2414000" cy="41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1" name="Google Shape;461;p33"/>
          <p:cNvSpPr txBox="1">
            <a:spLocks noGrp="1"/>
          </p:cNvSpPr>
          <p:nvPr>
            <p:ph type="body" idx="6"/>
          </p:nvPr>
        </p:nvSpPr>
        <p:spPr>
          <a:xfrm>
            <a:off x="987552"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7" name="Google Shape;467;p33"/>
          <p:cNvSpPr txBox="1">
            <a:spLocks noGrp="1"/>
          </p:cNvSpPr>
          <p:nvPr>
            <p:ph type="body" idx="15"/>
          </p:nvPr>
        </p:nvSpPr>
        <p:spPr>
          <a:xfrm>
            <a:off x="987552"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2" name="Google Shape;462;p33"/>
          <p:cNvSpPr txBox="1">
            <a:spLocks noGrp="1"/>
          </p:cNvSpPr>
          <p:nvPr>
            <p:ph type="body" idx="7"/>
          </p:nvPr>
        </p:nvSpPr>
        <p:spPr>
          <a:xfrm>
            <a:off x="3852703"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8" name="Google Shape;468;p33"/>
          <p:cNvSpPr txBox="1">
            <a:spLocks noGrp="1"/>
          </p:cNvSpPr>
          <p:nvPr>
            <p:ph type="body" idx="16"/>
          </p:nvPr>
        </p:nvSpPr>
        <p:spPr>
          <a:xfrm>
            <a:off x="3852672"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3" name="Google Shape;463;p33"/>
          <p:cNvSpPr txBox="1">
            <a:spLocks noGrp="1"/>
          </p:cNvSpPr>
          <p:nvPr>
            <p:ph type="body" idx="8"/>
          </p:nvPr>
        </p:nvSpPr>
        <p:spPr>
          <a:xfrm>
            <a:off x="5279136" y="3730752"/>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71" name="Google Shape;471;p33"/>
          <p:cNvSpPr txBox="1">
            <a:spLocks noGrp="1"/>
          </p:cNvSpPr>
          <p:nvPr>
            <p:ph type="body" idx="19"/>
          </p:nvPr>
        </p:nvSpPr>
        <p:spPr>
          <a:xfrm>
            <a:off x="5279136" y="3998976"/>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4" name="Google Shape;464;p33"/>
          <p:cNvSpPr txBox="1">
            <a:spLocks noGrp="1"/>
          </p:cNvSpPr>
          <p:nvPr>
            <p:ph type="body" idx="9"/>
          </p:nvPr>
        </p:nvSpPr>
        <p:spPr>
          <a:xfrm>
            <a:off x="6705600"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9" name="Google Shape;469;p33"/>
          <p:cNvSpPr txBox="1">
            <a:spLocks noGrp="1"/>
          </p:cNvSpPr>
          <p:nvPr>
            <p:ph type="body" idx="17"/>
          </p:nvPr>
        </p:nvSpPr>
        <p:spPr>
          <a:xfrm>
            <a:off x="6705600"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5" name="Google Shape;465;p33"/>
          <p:cNvSpPr txBox="1">
            <a:spLocks noGrp="1"/>
          </p:cNvSpPr>
          <p:nvPr>
            <p:ph type="body" idx="13"/>
          </p:nvPr>
        </p:nvSpPr>
        <p:spPr>
          <a:xfrm>
            <a:off x="8132064" y="374294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72" name="Google Shape;472;p33"/>
          <p:cNvSpPr txBox="1">
            <a:spLocks noGrp="1"/>
          </p:cNvSpPr>
          <p:nvPr>
            <p:ph type="body" idx="20"/>
          </p:nvPr>
        </p:nvSpPr>
        <p:spPr>
          <a:xfrm>
            <a:off x="8132064" y="401116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66" name="Google Shape;466;p33"/>
          <p:cNvSpPr txBox="1">
            <a:spLocks noGrp="1"/>
          </p:cNvSpPr>
          <p:nvPr>
            <p:ph type="body" idx="14"/>
          </p:nvPr>
        </p:nvSpPr>
        <p:spPr>
          <a:xfrm>
            <a:off x="9582913"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198" b="1" i="0">
                <a:solidFill>
                  <a:schemeClr val="bg1"/>
                </a:solidFill>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470" name="Google Shape;470;p33"/>
          <p:cNvSpPr txBox="1">
            <a:spLocks noGrp="1"/>
          </p:cNvSpPr>
          <p:nvPr>
            <p:ph type="body" idx="18"/>
          </p:nvPr>
        </p:nvSpPr>
        <p:spPr>
          <a:xfrm>
            <a:off x="9582913"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5" b="0" i="0">
                <a:latin typeface="Helvetica" pitchFamily="2" charset="0"/>
              </a:defRPr>
            </a:lvl1pPr>
            <a:lvl2pPr marL="1217295" lvl="1" indent="-371951" algn="ctr" rtl="0">
              <a:spcBef>
                <a:spcPts val="0"/>
              </a:spcBef>
              <a:spcAft>
                <a:spcPts val="0"/>
              </a:spcAft>
              <a:buSzPts val="800"/>
              <a:buChar char="○"/>
              <a:defRPr sz="1065"/>
            </a:lvl2pPr>
            <a:lvl3pPr marL="1825943" lvl="2" indent="-371951" algn="ctr" rtl="0">
              <a:spcBef>
                <a:spcPts val="0"/>
              </a:spcBef>
              <a:spcAft>
                <a:spcPts val="0"/>
              </a:spcAft>
              <a:buSzPts val="800"/>
              <a:buChar char="■"/>
              <a:defRPr sz="1065"/>
            </a:lvl3pPr>
            <a:lvl4pPr marL="2434590" lvl="3" indent="-371951" algn="ctr" rtl="0">
              <a:spcBef>
                <a:spcPts val="0"/>
              </a:spcBef>
              <a:spcAft>
                <a:spcPts val="0"/>
              </a:spcAft>
              <a:buSzPts val="800"/>
              <a:buChar char="●"/>
              <a:defRPr sz="1065"/>
            </a:lvl4pPr>
            <a:lvl5pPr marL="3043238" lvl="4" indent="-371951" algn="ctr" rtl="0">
              <a:spcBef>
                <a:spcPts val="0"/>
              </a:spcBef>
              <a:spcAft>
                <a:spcPts val="0"/>
              </a:spcAft>
              <a:buSzPts val="800"/>
              <a:buChar char="○"/>
              <a:defRPr sz="1065"/>
            </a:lvl5pPr>
            <a:lvl6pPr marL="3651885" lvl="5" indent="-371951" algn="ctr" rtl="0">
              <a:spcBef>
                <a:spcPts val="0"/>
              </a:spcBef>
              <a:spcAft>
                <a:spcPts val="0"/>
              </a:spcAft>
              <a:buSzPts val="800"/>
              <a:buChar char="■"/>
              <a:defRPr sz="1065"/>
            </a:lvl6pPr>
            <a:lvl7pPr marL="4260533" lvl="6" indent="-371951" algn="ctr" rtl="0">
              <a:spcBef>
                <a:spcPts val="0"/>
              </a:spcBef>
              <a:spcAft>
                <a:spcPts val="0"/>
              </a:spcAft>
              <a:buSzPts val="800"/>
              <a:buChar char="●"/>
              <a:defRPr sz="1065"/>
            </a:lvl7pPr>
            <a:lvl8pPr marL="4869180" lvl="7" indent="-371951" algn="ctr" rtl="0">
              <a:spcBef>
                <a:spcPts val="0"/>
              </a:spcBef>
              <a:spcAft>
                <a:spcPts val="0"/>
              </a:spcAft>
              <a:buSzPts val="800"/>
              <a:buChar char="○"/>
              <a:defRPr sz="1065"/>
            </a:lvl8pPr>
            <a:lvl9pPr marL="5477828" lvl="8" indent="-371951" algn="ctr" rtl="0">
              <a:spcBef>
                <a:spcPts val="0"/>
              </a:spcBef>
              <a:spcAft>
                <a:spcPts val="0"/>
              </a:spcAft>
              <a:buSzPts val="800"/>
              <a:buChar char="■"/>
              <a:defRPr sz="1065"/>
            </a:lvl9pPr>
          </a:lstStyle>
          <a:p>
            <a:endParaRPr dirty="0"/>
          </a:p>
        </p:txBody>
      </p:sp>
      <p:sp>
        <p:nvSpPr>
          <p:cNvPr id="51" name="Google Shape;268;p27">
            <a:extLst>
              <a:ext uri="{FF2B5EF4-FFF2-40B4-BE49-F238E27FC236}">
                <a16:creationId xmlns:a16="http://schemas.microsoft.com/office/drawing/2014/main" id="{BD598AAA-EC64-E247-A143-0FD7003A5EBE}"/>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044726ED-490C-4E25-5D29-B1C2282C9679}"/>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72122544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matchingName="Left-side Three Features" preserve="1" userDrawn="1">
  <p:cSld name="Left-side Three Features">
    <p:spTree>
      <p:nvGrpSpPr>
        <p:cNvPr id="1" name="Shape 473"/>
        <p:cNvGrpSpPr/>
        <p:nvPr/>
      </p:nvGrpSpPr>
      <p:grpSpPr>
        <a:xfrm>
          <a:off x="0" y="0"/>
          <a:ext cx="0" cy="0"/>
          <a:chOff x="0" y="0"/>
          <a:chExt cx="0" cy="0"/>
        </a:xfrm>
      </p:grpSpPr>
      <p:grpSp>
        <p:nvGrpSpPr>
          <p:cNvPr id="3" name="Group 2">
            <a:extLst>
              <a:ext uri="{FF2B5EF4-FFF2-40B4-BE49-F238E27FC236}">
                <a16:creationId xmlns:a16="http://schemas.microsoft.com/office/drawing/2014/main" id="{6918A15B-1B0C-3FEA-A206-165286B4C386}"/>
              </a:ext>
              <a:ext uri="{C183D7F6-B498-43B3-948B-1728B52AA6E4}">
                <adec:decorative xmlns:adec="http://schemas.microsoft.com/office/drawing/2017/decorative" val="1"/>
              </a:ext>
            </a:extLst>
          </p:cNvPr>
          <p:cNvGrpSpPr/>
          <p:nvPr userDrawn="1"/>
        </p:nvGrpSpPr>
        <p:grpSpPr>
          <a:xfrm>
            <a:off x="840272" y="-1396268"/>
            <a:ext cx="16560620" cy="9094818"/>
            <a:chOff x="630203" y="-1047201"/>
            <a:chExt cx="12420465" cy="6821113"/>
          </a:xfrm>
        </p:grpSpPr>
        <p:grpSp>
          <p:nvGrpSpPr>
            <p:cNvPr id="2" name="Group 1">
              <a:extLst>
                <a:ext uri="{FF2B5EF4-FFF2-40B4-BE49-F238E27FC236}">
                  <a16:creationId xmlns:a16="http://schemas.microsoft.com/office/drawing/2014/main" id="{CEC1B788-A994-4CB3-5A96-6C8835D4CE39}"/>
                </a:ext>
                <a:ext uri="{C183D7F6-B498-43B3-948B-1728B52AA6E4}">
                  <adec:decorative xmlns:adec="http://schemas.microsoft.com/office/drawing/2017/decorative" val="1"/>
                </a:ext>
              </a:extLst>
            </p:cNvPr>
            <p:cNvGrpSpPr/>
            <p:nvPr userDrawn="1"/>
          </p:nvGrpSpPr>
          <p:grpSpPr>
            <a:xfrm>
              <a:off x="630203" y="-1047201"/>
              <a:ext cx="12420465" cy="6821113"/>
              <a:chOff x="630203" y="-1047201"/>
              <a:chExt cx="12420465" cy="6821113"/>
            </a:xfrm>
          </p:grpSpPr>
          <p:sp>
            <p:nvSpPr>
              <p:cNvPr id="477" name="Google Shape;477;p34">
                <a:extLst>
                  <a:ext uri="{C183D7F6-B498-43B3-948B-1728B52AA6E4}">
                    <adec:decorative xmlns:adec="http://schemas.microsoft.com/office/drawing/2017/decorative" val="1"/>
                  </a:ext>
                </a:extLst>
              </p:cNvPr>
              <p:cNvSpPr/>
              <p:nvPr/>
            </p:nvSpPr>
            <p:spPr>
              <a:xfrm>
                <a:off x="6636368" y="-630488"/>
                <a:ext cx="6414300" cy="6404400"/>
              </a:xfrm>
              <a:prstGeom prst="ellipse">
                <a:avLst/>
              </a:prstGeom>
              <a:gradFill>
                <a:gsLst>
                  <a:gs pos="0">
                    <a:srgbClr val="1F9CF0"/>
                  </a:gs>
                  <a:gs pos="100000">
                    <a:srgbClr val="D59DFF">
                      <a:alpha val="42352"/>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78" name="Google Shape;478;p34">
                <a:extLst>
                  <a:ext uri="{C183D7F6-B498-43B3-948B-1728B52AA6E4}">
                    <adec:decorative xmlns:adec="http://schemas.microsoft.com/office/drawing/2017/decorative" val="1"/>
                  </a:ext>
                </a:extLst>
              </p:cNvPr>
              <p:cNvSpPr/>
              <p:nvPr/>
            </p:nvSpPr>
            <p:spPr>
              <a:xfrm>
                <a:off x="5273946" y="2868323"/>
                <a:ext cx="1612500" cy="1609800"/>
              </a:xfrm>
              <a:prstGeom prst="ellipse">
                <a:avLst/>
              </a:prstGeom>
              <a:gradFill>
                <a:gsLst>
                  <a:gs pos="0">
                    <a:srgbClr val="8661C5"/>
                  </a:gs>
                  <a:gs pos="100000">
                    <a:srgbClr val="161828"/>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479" name="Google Shape;479;p34">
                <a:extLst>
                  <a:ext uri="{C183D7F6-B498-43B3-948B-1728B52AA6E4}">
                    <adec:decorative xmlns:adec="http://schemas.microsoft.com/office/drawing/2017/decorative" val="1"/>
                  </a:ext>
                </a:extLst>
              </p:cNvPr>
              <p:cNvGrpSpPr/>
              <p:nvPr/>
            </p:nvGrpSpPr>
            <p:grpSpPr>
              <a:xfrm>
                <a:off x="1180602" y="1274407"/>
                <a:ext cx="3531098" cy="1087061"/>
                <a:chOff x="1981200" y="3575359"/>
                <a:chExt cx="6892330" cy="2368500"/>
              </a:xfrm>
            </p:grpSpPr>
            <p:sp>
              <p:nvSpPr>
                <p:cNvPr id="480" name="Google Shape;480;p34"/>
                <p:cNvSpPr/>
                <p:nvPr/>
              </p:nvSpPr>
              <p:spPr>
                <a:xfrm>
                  <a:off x="1981200" y="3575359"/>
                  <a:ext cx="6630300" cy="2368500"/>
                </a:xfrm>
                <a:prstGeom prst="roundRect">
                  <a:avLst>
                    <a:gd name="adj" fmla="val 3188"/>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731" b="0" i="0">
                    <a:solidFill>
                      <a:schemeClr val="lt1"/>
                    </a:solidFill>
                    <a:latin typeface="Helvetica" pitchFamily="2" charset="0"/>
                    <a:ea typeface="Calibri"/>
                    <a:cs typeface="Calibri"/>
                    <a:sym typeface="Calibri"/>
                  </a:endParaRPr>
                </a:p>
              </p:txBody>
            </p:sp>
            <p:sp>
              <p:nvSpPr>
                <p:cNvPr id="481" name="Google Shape;481;p34"/>
                <p:cNvSpPr/>
                <p:nvPr/>
              </p:nvSpPr>
              <p:spPr>
                <a:xfrm rot="5400000">
                  <a:off x="8503930" y="4648452"/>
                  <a:ext cx="477000" cy="262200"/>
                </a:xfrm>
                <a:prstGeom prst="triangle">
                  <a:avLst>
                    <a:gd name="adj" fmla="val 50000"/>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pic>
            <p:nvPicPr>
              <p:cNvPr id="482" name="Google Shape;482;p34">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5523874" y="-1047201"/>
                <a:ext cx="3762369" cy="3762369"/>
              </a:xfrm>
              <a:prstGeom prst="rect">
                <a:avLst/>
              </a:prstGeom>
              <a:noFill/>
              <a:ln>
                <a:noFill/>
              </a:ln>
            </p:spPr>
          </p:pic>
          <p:grpSp>
            <p:nvGrpSpPr>
              <p:cNvPr id="483" name="Google Shape;483;p34">
                <a:extLst>
                  <a:ext uri="{C183D7F6-B498-43B3-948B-1728B52AA6E4}">
                    <adec:decorative xmlns:adec="http://schemas.microsoft.com/office/drawing/2017/decorative" val="1"/>
                  </a:ext>
                </a:extLst>
              </p:cNvPr>
              <p:cNvGrpSpPr/>
              <p:nvPr/>
            </p:nvGrpSpPr>
            <p:grpSpPr>
              <a:xfrm>
                <a:off x="820220" y="1469444"/>
                <a:ext cx="705748" cy="704283"/>
                <a:chOff x="1551767" y="2937134"/>
                <a:chExt cx="1535400" cy="1534500"/>
              </a:xfrm>
            </p:grpSpPr>
            <p:sp>
              <p:nvSpPr>
                <p:cNvPr id="484" name="Google Shape;484;p34"/>
                <p:cNvSpPr/>
                <p:nvPr/>
              </p:nvSpPr>
              <p:spPr>
                <a:xfrm>
                  <a:off x="1551767" y="2937134"/>
                  <a:ext cx="1535400" cy="15345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85" name="Google Shape;485;p34"/>
                <p:cNvSpPr/>
                <p:nvPr/>
              </p:nvSpPr>
              <p:spPr>
                <a:xfrm>
                  <a:off x="1811292" y="3198537"/>
                  <a:ext cx="1017600" cy="10170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486" name="Google Shape;486;p34">
                <a:extLst>
                  <a:ext uri="{C183D7F6-B498-43B3-948B-1728B52AA6E4}">
                    <adec:decorative xmlns:adec="http://schemas.microsoft.com/office/drawing/2017/decorative" val="1"/>
                  </a:ext>
                </a:extLst>
              </p:cNvPr>
              <p:cNvSpPr/>
              <p:nvPr/>
            </p:nvSpPr>
            <p:spPr>
              <a:xfrm>
                <a:off x="820063" y="2601735"/>
                <a:ext cx="705778" cy="704309"/>
              </a:xfrm>
              <a:prstGeom prst="ellipse">
                <a:avLst/>
              </a:prstGeom>
              <a:solidFill>
                <a:schemeClr val="accent3">
                  <a:alpha val="56860"/>
                </a:scheme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88" name="Google Shape;488;p34">
                <a:extLst>
                  <a:ext uri="{C183D7F6-B498-43B3-948B-1728B52AA6E4}">
                    <adec:decorative xmlns:adec="http://schemas.microsoft.com/office/drawing/2017/decorative" val="1"/>
                  </a:ext>
                </a:extLst>
              </p:cNvPr>
              <p:cNvSpPr/>
              <p:nvPr/>
            </p:nvSpPr>
            <p:spPr>
              <a:xfrm>
                <a:off x="1180459" y="2445158"/>
                <a:ext cx="3396721" cy="1087009"/>
              </a:xfrm>
              <a:prstGeom prst="roundRect">
                <a:avLst>
                  <a:gd name="adj" fmla="val 3188"/>
                </a:avLst>
              </a:prstGeom>
              <a:gradFill>
                <a:gsLst>
                  <a:gs pos="0">
                    <a:srgbClr val="6A37C7">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731" b="0" i="0">
                  <a:solidFill>
                    <a:schemeClr val="lt1"/>
                  </a:solidFill>
                  <a:latin typeface="Helvetica" pitchFamily="2" charset="0"/>
                  <a:ea typeface="Calibri"/>
                  <a:cs typeface="Calibri"/>
                  <a:sym typeface="Calibri"/>
                </a:endParaRPr>
              </a:p>
            </p:txBody>
          </p:sp>
          <p:sp>
            <p:nvSpPr>
              <p:cNvPr id="489" name="Google Shape;489;p34">
                <a:extLst>
                  <a:ext uri="{C183D7F6-B498-43B3-948B-1728B52AA6E4}">
                    <adec:decorative xmlns:adec="http://schemas.microsoft.com/office/drawing/2017/decorative" val="1"/>
                  </a:ext>
                </a:extLst>
              </p:cNvPr>
              <p:cNvSpPr/>
              <p:nvPr/>
            </p:nvSpPr>
            <p:spPr>
              <a:xfrm>
                <a:off x="820063" y="3772667"/>
                <a:ext cx="705778" cy="704309"/>
              </a:xfrm>
              <a:prstGeom prst="ellipse">
                <a:avLst/>
              </a:prstGeom>
              <a:solidFill>
                <a:schemeClr val="accent3">
                  <a:alpha val="56860"/>
                </a:scheme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91" name="Google Shape;491;p34">
                <a:extLst>
                  <a:ext uri="{C183D7F6-B498-43B3-948B-1728B52AA6E4}">
                    <adec:decorative xmlns:adec="http://schemas.microsoft.com/office/drawing/2017/decorative" val="1"/>
                  </a:ext>
                </a:extLst>
              </p:cNvPr>
              <p:cNvSpPr/>
              <p:nvPr/>
            </p:nvSpPr>
            <p:spPr>
              <a:xfrm>
                <a:off x="1180459" y="3616090"/>
                <a:ext cx="3396721" cy="1087009"/>
              </a:xfrm>
              <a:prstGeom prst="roundRect">
                <a:avLst>
                  <a:gd name="adj" fmla="val 3188"/>
                </a:avLst>
              </a:prstGeom>
              <a:gradFill>
                <a:gsLst>
                  <a:gs pos="0">
                    <a:srgbClr val="6A37C7">
                      <a:alpha val="20000"/>
                    </a:srgbClr>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731" b="0" i="0">
                  <a:solidFill>
                    <a:schemeClr val="lt1"/>
                  </a:solidFill>
                  <a:latin typeface="Helvetica" pitchFamily="2" charset="0"/>
                  <a:ea typeface="Calibri"/>
                  <a:cs typeface="Calibri"/>
                  <a:sym typeface="Calibri"/>
                </a:endParaRPr>
              </a:p>
            </p:txBody>
          </p:sp>
          <p:cxnSp>
            <p:nvCxnSpPr>
              <p:cNvPr id="32" name="Google Shape;67;p15">
                <a:extLst>
                  <a:ext uri="{FF2B5EF4-FFF2-40B4-BE49-F238E27FC236}">
                    <a16:creationId xmlns:a16="http://schemas.microsoft.com/office/drawing/2014/main" id="{70CFA9DA-9887-894C-9497-56E08226B48E}"/>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sp>
            <p:nvSpPr>
              <p:cNvPr id="34" name="Google Shape;261;p26">
                <a:extLst>
                  <a:ext uri="{FF2B5EF4-FFF2-40B4-BE49-F238E27FC236}">
                    <a16:creationId xmlns:a16="http://schemas.microsoft.com/office/drawing/2014/main" id="{CB6BFF36-3ECF-608B-68CB-D8F4A3277BCC}"/>
                  </a:ext>
                  <a:ext uri="{C183D7F6-B498-43B3-948B-1728B52AA6E4}">
                    <adec:decorative xmlns:adec="http://schemas.microsoft.com/office/drawing/2017/decorative" val="1"/>
                  </a:ext>
                </a:extLst>
              </p:cNvPr>
              <p:cNvSpPr/>
              <p:nvPr userDrawn="1"/>
            </p:nvSpPr>
            <p:spPr>
              <a:xfrm rot="10800000">
                <a:off x="998900" y="0"/>
                <a:ext cx="73200" cy="1002821"/>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grpSp>
        <p:sp>
          <p:nvSpPr>
            <p:cNvPr id="487" name="Google Shape;487;p34">
              <a:extLst>
                <a:ext uri="{C183D7F6-B498-43B3-948B-1728B52AA6E4}">
                  <adec:decorative xmlns:adec="http://schemas.microsoft.com/office/drawing/2017/decorative" val="1"/>
                </a:ext>
              </a:extLst>
            </p:cNvPr>
            <p:cNvSpPr/>
            <p:nvPr/>
          </p:nvSpPr>
          <p:spPr>
            <a:xfrm>
              <a:off x="941843" y="2719176"/>
              <a:ext cx="467582" cy="466701"/>
            </a:xfrm>
            <a:prstGeom prst="ellipse">
              <a:avLst/>
            </a:prstGeom>
            <a:solidFill>
              <a:schemeClr val="accent3"/>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490" name="Google Shape;490;p34">
              <a:extLst>
                <a:ext uri="{C183D7F6-B498-43B3-948B-1728B52AA6E4}">
                  <adec:decorative xmlns:adec="http://schemas.microsoft.com/office/drawing/2017/decorative" val="1"/>
                </a:ext>
              </a:extLst>
            </p:cNvPr>
            <p:cNvSpPr/>
            <p:nvPr/>
          </p:nvSpPr>
          <p:spPr>
            <a:xfrm>
              <a:off x="941843" y="3890108"/>
              <a:ext cx="467582" cy="466701"/>
            </a:xfrm>
            <a:prstGeom prst="ellipse">
              <a:avLst/>
            </a:prstGeom>
            <a:solidFill>
              <a:schemeClr val="accent3"/>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sp>
        <p:nvSpPr>
          <p:cNvPr id="35" name="Google Shape;262;p26">
            <a:extLst>
              <a:ext uri="{FF2B5EF4-FFF2-40B4-BE49-F238E27FC236}">
                <a16:creationId xmlns:a16="http://schemas.microsoft.com/office/drawing/2014/main" id="{AB25E7C3-F3BF-0722-EC0A-A83C1769E129}"/>
              </a:ext>
            </a:extLst>
          </p:cNvPr>
          <p:cNvSpPr txBox="1">
            <a:spLocks noGrp="1"/>
          </p:cNvSpPr>
          <p:nvPr>
            <p:ph type="title"/>
          </p:nvPr>
        </p:nvSpPr>
        <p:spPr>
          <a:xfrm>
            <a:off x="1633734" y="103749"/>
            <a:ext cx="5364400" cy="1219200"/>
          </a:xfrm>
          <a:prstGeom prst="rect">
            <a:avLst/>
          </a:prstGeom>
        </p:spPr>
        <p:txBody>
          <a:bodyPr spcFirstLastPara="1" wrap="square" lIns="45700" tIns="18275" rIns="45700" bIns="18275" anchor="b" anchorCtr="0">
            <a:noAutofit/>
          </a:bodyPr>
          <a:lstStyle>
            <a:lvl1pPr lvl="0">
              <a:spcBef>
                <a:spcPts val="0"/>
              </a:spcBef>
              <a:spcAft>
                <a:spcPts val="0"/>
              </a:spcAft>
              <a:buSzPts val="3400"/>
              <a:buNone/>
              <a:defRPr sz="3195"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92" name="Google Shape;492;p34"/>
          <p:cNvSpPr>
            <a:spLocks noGrp="1"/>
          </p:cNvSpPr>
          <p:nvPr>
            <p:ph type="pic" idx="2"/>
          </p:nvPr>
        </p:nvSpPr>
        <p:spPr>
          <a:xfrm>
            <a:off x="1308348" y="2171852"/>
            <a:ext cx="520453" cy="506149"/>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495" name="Google Shape;495;p34"/>
          <p:cNvSpPr txBox="1">
            <a:spLocks noGrp="1"/>
          </p:cNvSpPr>
          <p:nvPr>
            <p:ph type="body" idx="1"/>
          </p:nvPr>
        </p:nvSpPr>
        <p:spPr>
          <a:xfrm>
            <a:off x="2274299" y="1877881"/>
            <a:ext cx="2029320" cy="286659"/>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a:lnSpc>
                <a:spcPct val="100000"/>
              </a:lnSpc>
              <a:spcBef>
                <a:spcPts val="0"/>
              </a:spcBef>
              <a:spcAft>
                <a:spcPts val="0"/>
              </a:spcAft>
              <a:buSzPts val="1100"/>
              <a:buChar char="○"/>
              <a:defRPr sz="1464"/>
            </a:lvl2pPr>
            <a:lvl3pPr marL="1825943" lvl="2" indent="-397312">
              <a:lnSpc>
                <a:spcPct val="100000"/>
              </a:lnSpc>
              <a:spcBef>
                <a:spcPts val="0"/>
              </a:spcBef>
              <a:spcAft>
                <a:spcPts val="0"/>
              </a:spcAft>
              <a:buSzPts val="1100"/>
              <a:buChar char="■"/>
              <a:defRPr sz="1464"/>
            </a:lvl3pPr>
            <a:lvl4pPr marL="2434590" lvl="3" indent="-397312">
              <a:lnSpc>
                <a:spcPct val="100000"/>
              </a:lnSpc>
              <a:spcBef>
                <a:spcPts val="0"/>
              </a:spcBef>
              <a:spcAft>
                <a:spcPts val="0"/>
              </a:spcAft>
              <a:buSzPts val="1100"/>
              <a:buChar char="●"/>
              <a:defRPr sz="1464"/>
            </a:lvl4pPr>
            <a:lvl5pPr marL="3043238" lvl="4" indent="-397312">
              <a:lnSpc>
                <a:spcPct val="100000"/>
              </a:lnSpc>
              <a:spcBef>
                <a:spcPts val="0"/>
              </a:spcBef>
              <a:spcAft>
                <a:spcPts val="0"/>
              </a:spcAft>
              <a:buSzPts val="1100"/>
              <a:buChar char="○"/>
              <a:defRPr sz="1464"/>
            </a:lvl5pPr>
            <a:lvl6pPr marL="3651885" lvl="5" indent="-397312">
              <a:lnSpc>
                <a:spcPct val="100000"/>
              </a:lnSpc>
              <a:spcBef>
                <a:spcPts val="0"/>
              </a:spcBef>
              <a:spcAft>
                <a:spcPts val="0"/>
              </a:spcAft>
              <a:buSzPts val="1100"/>
              <a:buChar char="■"/>
              <a:defRPr sz="1464"/>
            </a:lvl6pPr>
            <a:lvl7pPr marL="4260533" lvl="6" indent="-397312">
              <a:lnSpc>
                <a:spcPct val="100000"/>
              </a:lnSpc>
              <a:spcBef>
                <a:spcPts val="0"/>
              </a:spcBef>
              <a:spcAft>
                <a:spcPts val="0"/>
              </a:spcAft>
              <a:buSzPts val="1100"/>
              <a:buChar char="●"/>
              <a:defRPr sz="1464"/>
            </a:lvl7pPr>
            <a:lvl8pPr marL="4869180" lvl="7" indent="-397312">
              <a:lnSpc>
                <a:spcPct val="100000"/>
              </a:lnSpc>
              <a:spcBef>
                <a:spcPts val="0"/>
              </a:spcBef>
              <a:spcAft>
                <a:spcPts val="0"/>
              </a:spcAft>
              <a:buSzPts val="1100"/>
              <a:buChar char="○"/>
              <a:defRPr sz="1464"/>
            </a:lvl8pPr>
            <a:lvl9pPr marL="5477828" lvl="8" indent="-397312">
              <a:lnSpc>
                <a:spcPct val="100000"/>
              </a:lnSpc>
              <a:spcBef>
                <a:spcPts val="0"/>
              </a:spcBef>
              <a:spcAft>
                <a:spcPts val="0"/>
              </a:spcAft>
              <a:buSzPts val="1100"/>
              <a:buChar char="■"/>
              <a:defRPr sz="1464"/>
            </a:lvl9pPr>
          </a:lstStyle>
          <a:p>
            <a:endParaRPr dirty="0"/>
          </a:p>
        </p:txBody>
      </p:sp>
      <p:sp>
        <p:nvSpPr>
          <p:cNvPr id="496" name="Google Shape;496;p34"/>
          <p:cNvSpPr txBox="1">
            <a:spLocks noGrp="1"/>
          </p:cNvSpPr>
          <p:nvPr>
            <p:ph type="body" idx="5"/>
          </p:nvPr>
        </p:nvSpPr>
        <p:spPr>
          <a:xfrm>
            <a:off x="2274299" y="2227178"/>
            <a:ext cx="3341994" cy="656338"/>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29" name="Google Shape;492;p34">
            <a:extLst>
              <a:ext uri="{FF2B5EF4-FFF2-40B4-BE49-F238E27FC236}">
                <a16:creationId xmlns:a16="http://schemas.microsoft.com/office/drawing/2014/main" id="{B2961469-D98A-3946-8147-3909918D86A6}"/>
              </a:ext>
            </a:extLst>
          </p:cNvPr>
          <p:cNvSpPr>
            <a:spLocks noGrp="1"/>
          </p:cNvSpPr>
          <p:nvPr>
            <p:ph type="pic" idx="10"/>
          </p:nvPr>
        </p:nvSpPr>
        <p:spPr>
          <a:xfrm>
            <a:off x="1308348" y="3679989"/>
            <a:ext cx="520453" cy="506149"/>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497" name="Google Shape;497;p34"/>
          <p:cNvSpPr txBox="1">
            <a:spLocks noGrp="1"/>
          </p:cNvSpPr>
          <p:nvPr>
            <p:ph type="body" idx="6"/>
          </p:nvPr>
        </p:nvSpPr>
        <p:spPr>
          <a:xfrm>
            <a:off x="2274299" y="3438457"/>
            <a:ext cx="2029320" cy="286659"/>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rtl="0">
              <a:lnSpc>
                <a:spcPct val="100000"/>
              </a:lnSpc>
              <a:spcBef>
                <a:spcPts val="0"/>
              </a:spcBef>
              <a:spcAft>
                <a:spcPts val="0"/>
              </a:spcAft>
              <a:buSzPts val="1100"/>
              <a:buChar char="○"/>
              <a:defRPr sz="1464"/>
            </a:lvl2pPr>
            <a:lvl3pPr marL="1825943" lvl="2" indent="-397312" rtl="0">
              <a:lnSpc>
                <a:spcPct val="100000"/>
              </a:lnSpc>
              <a:spcBef>
                <a:spcPts val="0"/>
              </a:spcBef>
              <a:spcAft>
                <a:spcPts val="0"/>
              </a:spcAft>
              <a:buSzPts val="1100"/>
              <a:buChar char="■"/>
              <a:defRPr sz="1464"/>
            </a:lvl3pPr>
            <a:lvl4pPr marL="2434590" lvl="3" indent="-397312" rtl="0">
              <a:lnSpc>
                <a:spcPct val="100000"/>
              </a:lnSpc>
              <a:spcBef>
                <a:spcPts val="0"/>
              </a:spcBef>
              <a:spcAft>
                <a:spcPts val="0"/>
              </a:spcAft>
              <a:buSzPts val="1100"/>
              <a:buChar char="●"/>
              <a:defRPr sz="1464"/>
            </a:lvl4pPr>
            <a:lvl5pPr marL="3043238" lvl="4" indent="-397312" rtl="0">
              <a:lnSpc>
                <a:spcPct val="100000"/>
              </a:lnSpc>
              <a:spcBef>
                <a:spcPts val="0"/>
              </a:spcBef>
              <a:spcAft>
                <a:spcPts val="0"/>
              </a:spcAft>
              <a:buSzPts val="1100"/>
              <a:buChar char="○"/>
              <a:defRPr sz="1464"/>
            </a:lvl5pPr>
            <a:lvl6pPr marL="3651885" lvl="5" indent="-397312" rtl="0">
              <a:lnSpc>
                <a:spcPct val="100000"/>
              </a:lnSpc>
              <a:spcBef>
                <a:spcPts val="0"/>
              </a:spcBef>
              <a:spcAft>
                <a:spcPts val="0"/>
              </a:spcAft>
              <a:buSzPts val="1100"/>
              <a:buChar char="■"/>
              <a:defRPr sz="1464"/>
            </a:lvl6pPr>
            <a:lvl7pPr marL="4260533" lvl="6" indent="-397312" rtl="0">
              <a:lnSpc>
                <a:spcPct val="100000"/>
              </a:lnSpc>
              <a:spcBef>
                <a:spcPts val="0"/>
              </a:spcBef>
              <a:spcAft>
                <a:spcPts val="0"/>
              </a:spcAft>
              <a:buSzPts val="1100"/>
              <a:buChar char="●"/>
              <a:defRPr sz="1464"/>
            </a:lvl7pPr>
            <a:lvl8pPr marL="4869180" lvl="7" indent="-397312" rtl="0">
              <a:lnSpc>
                <a:spcPct val="100000"/>
              </a:lnSpc>
              <a:spcBef>
                <a:spcPts val="0"/>
              </a:spcBef>
              <a:spcAft>
                <a:spcPts val="0"/>
              </a:spcAft>
              <a:buSzPts val="1100"/>
              <a:buChar char="○"/>
              <a:defRPr sz="1464"/>
            </a:lvl8pPr>
            <a:lvl9pPr marL="5477828" lvl="8" indent="-397312" rtl="0">
              <a:lnSpc>
                <a:spcPct val="100000"/>
              </a:lnSpc>
              <a:spcBef>
                <a:spcPts val="0"/>
              </a:spcBef>
              <a:spcAft>
                <a:spcPts val="0"/>
              </a:spcAft>
              <a:buSzPts val="1100"/>
              <a:buChar char="■"/>
              <a:defRPr sz="1464"/>
            </a:lvl9pPr>
          </a:lstStyle>
          <a:p>
            <a:endParaRPr dirty="0"/>
          </a:p>
        </p:txBody>
      </p:sp>
      <p:sp>
        <p:nvSpPr>
          <p:cNvPr id="498" name="Google Shape;498;p34"/>
          <p:cNvSpPr txBox="1">
            <a:spLocks noGrp="1"/>
          </p:cNvSpPr>
          <p:nvPr>
            <p:ph type="body" idx="7"/>
          </p:nvPr>
        </p:nvSpPr>
        <p:spPr>
          <a:xfrm>
            <a:off x="2274299" y="3787754"/>
            <a:ext cx="3341994" cy="656338"/>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0" name="Google Shape;492;p34">
            <a:extLst>
              <a:ext uri="{FF2B5EF4-FFF2-40B4-BE49-F238E27FC236}">
                <a16:creationId xmlns:a16="http://schemas.microsoft.com/office/drawing/2014/main" id="{196967CD-4856-9243-9EFE-A327D7763891}"/>
              </a:ext>
            </a:extLst>
          </p:cNvPr>
          <p:cNvSpPr>
            <a:spLocks noGrp="1"/>
          </p:cNvSpPr>
          <p:nvPr>
            <p:ph type="pic" idx="11"/>
          </p:nvPr>
        </p:nvSpPr>
        <p:spPr>
          <a:xfrm>
            <a:off x="1308348" y="5241231"/>
            <a:ext cx="520453" cy="506149"/>
          </a:xfrm>
          <a:prstGeom prst="ellipse">
            <a:avLst/>
          </a:prstGeom>
          <a:noFill/>
          <a:ln>
            <a:noFill/>
          </a:ln>
        </p:spPr>
        <p:txBody>
          <a:bodyPr lIns="0" tIns="0" rIns="0" bIns="0" anchor="ctr"/>
          <a:lstStyle>
            <a:lvl1pPr marL="0" indent="0" algn="ctr">
              <a:buNone/>
              <a:defRPr sz="399" b="0" i="0">
                <a:latin typeface="Helvetica" pitchFamily="2" charset="0"/>
              </a:defRPr>
            </a:lvl1pPr>
          </a:lstStyle>
          <a:p>
            <a:endParaRPr lang="en-US" dirty="0"/>
          </a:p>
        </p:txBody>
      </p:sp>
      <p:sp>
        <p:nvSpPr>
          <p:cNvPr id="499" name="Google Shape;499;p34"/>
          <p:cNvSpPr txBox="1">
            <a:spLocks noGrp="1"/>
          </p:cNvSpPr>
          <p:nvPr>
            <p:ph type="body" idx="8"/>
          </p:nvPr>
        </p:nvSpPr>
        <p:spPr>
          <a:xfrm>
            <a:off x="2274299" y="4999033"/>
            <a:ext cx="2029320" cy="286659"/>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1100"/>
              <a:buNone/>
              <a:defRPr sz="1464" b="1" i="0">
                <a:solidFill>
                  <a:schemeClr val="bg1"/>
                </a:solidFill>
                <a:latin typeface="Helvetica" pitchFamily="2" charset="0"/>
              </a:defRPr>
            </a:lvl1pPr>
            <a:lvl2pPr marL="1217295" lvl="1" indent="-397312" rtl="0">
              <a:lnSpc>
                <a:spcPct val="100000"/>
              </a:lnSpc>
              <a:spcBef>
                <a:spcPts val="0"/>
              </a:spcBef>
              <a:spcAft>
                <a:spcPts val="0"/>
              </a:spcAft>
              <a:buSzPts val="1100"/>
              <a:buChar char="○"/>
              <a:defRPr sz="1464"/>
            </a:lvl2pPr>
            <a:lvl3pPr marL="1825943" lvl="2" indent="-397312" rtl="0">
              <a:lnSpc>
                <a:spcPct val="100000"/>
              </a:lnSpc>
              <a:spcBef>
                <a:spcPts val="0"/>
              </a:spcBef>
              <a:spcAft>
                <a:spcPts val="0"/>
              </a:spcAft>
              <a:buSzPts val="1100"/>
              <a:buChar char="■"/>
              <a:defRPr sz="1464"/>
            </a:lvl3pPr>
            <a:lvl4pPr marL="2434590" lvl="3" indent="-397312" rtl="0">
              <a:lnSpc>
                <a:spcPct val="100000"/>
              </a:lnSpc>
              <a:spcBef>
                <a:spcPts val="0"/>
              </a:spcBef>
              <a:spcAft>
                <a:spcPts val="0"/>
              </a:spcAft>
              <a:buSzPts val="1100"/>
              <a:buChar char="●"/>
              <a:defRPr sz="1464"/>
            </a:lvl4pPr>
            <a:lvl5pPr marL="3043238" lvl="4" indent="-397312" rtl="0">
              <a:lnSpc>
                <a:spcPct val="100000"/>
              </a:lnSpc>
              <a:spcBef>
                <a:spcPts val="0"/>
              </a:spcBef>
              <a:spcAft>
                <a:spcPts val="0"/>
              </a:spcAft>
              <a:buSzPts val="1100"/>
              <a:buChar char="○"/>
              <a:defRPr sz="1464"/>
            </a:lvl5pPr>
            <a:lvl6pPr marL="3651885" lvl="5" indent="-397312" rtl="0">
              <a:lnSpc>
                <a:spcPct val="100000"/>
              </a:lnSpc>
              <a:spcBef>
                <a:spcPts val="0"/>
              </a:spcBef>
              <a:spcAft>
                <a:spcPts val="0"/>
              </a:spcAft>
              <a:buSzPts val="1100"/>
              <a:buChar char="■"/>
              <a:defRPr sz="1464"/>
            </a:lvl6pPr>
            <a:lvl7pPr marL="4260533" lvl="6" indent="-397312" rtl="0">
              <a:lnSpc>
                <a:spcPct val="100000"/>
              </a:lnSpc>
              <a:spcBef>
                <a:spcPts val="0"/>
              </a:spcBef>
              <a:spcAft>
                <a:spcPts val="0"/>
              </a:spcAft>
              <a:buSzPts val="1100"/>
              <a:buChar char="●"/>
              <a:defRPr sz="1464"/>
            </a:lvl7pPr>
            <a:lvl8pPr marL="4869180" lvl="7" indent="-397312" rtl="0">
              <a:lnSpc>
                <a:spcPct val="100000"/>
              </a:lnSpc>
              <a:spcBef>
                <a:spcPts val="0"/>
              </a:spcBef>
              <a:spcAft>
                <a:spcPts val="0"/>
              </a:spcAft>
              <a:buSzPts val="1100"/>
              <a:buChar char="○"/>
              <a:defRPr sz="1464"/>
            </a:lvl8pPr>
            <a:lvl9pPr marL="5477828" lvl="8" indent="-397312" rtl="0">
              <a:lnSpc>
                <a:spcPct val="100000"/>
              </a:lnSpc>
              <a:spcBef>
                <a:spcPts val="0"/>
              </a:spcBef>
              <a:spcAft>
                <a:spcPts val="0"/>
              </a:spcAft>
              <a:buSzPts val="1100"/>
              <a:buChar char="■"/>
              <a:defRPr sz="1464"/>
            </a:lvl9pPr>
          </a:lstStyle>
          <a:p>
            <a:endParaRPr dirty="0"/>
          </a:p>
        </p:txBody>
      </p:sp>
      <p:sp>
        <p:nvSpPr>
          <p:cNvPr id="500" name="Google Shape;500;p34"/>
          <p:cNvSpPr txBox="1">
            <a:spLocks noGrp="1"/>
          </p:cNvSpPr>
          <p:nvPr>
            <p:ph type="body" idx="9"/>
          </p:nvPr>
        </p:nvSpPr>
        <p:spPr>
          <a:xfrm>
            <a:off x="2274299" y="5348330"/>
            <a:ext cx="3341994" cy="656338"/>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1" name="Google Shape;268;p27">
            <a:extLst>
              <a:ext uri="{FF2B5EF4-FFF2-40B4-BE49-F238E27FC236}">
                <a16:creationId xmlns:a16="http://schemas.microsoft.com/office/drawing/2014/main" id="{5366E105-BBFE-6A48-9C65-CFF9CF06D742}"/>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7" name="Google Shape;56;p14">
            <a:extLst>
              <a:ext uri="{FF2B5EF4-FFF2-40B4-BE49-F238E27FC236}">
                <a16:creationId xmlns:a16="http://schemas.microsoft.com/office/drawing/2014/main" id="{E0FDE52B-0AA1-510D-2474-6DEE866C23EB}"/>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22288983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matchingName="Four Features - Right" preserve="1" userDrawn="1">
  <p:cSld name="Four Features - Right">
    <p:spTree>
      <p:nvGrpSpPr>
        <p:cNvPr id="1" name="Shape 501"/>
        <p:cNvGrpSpPr/>
        <p:nvPr/>
      </p:nvGrpSpPr>
      <p:grpSpPr>
        <a:xfrm>
          <a:off x="0" y="0"/>
          <a:ext cx="0" cy="0"/>
          <a:chOff x="0" y="0"/>
          <a:chExt cx="0" cy="0"/>
        </a:xfrm>
      </p:grpSpPr>
      <p:grpSp>
        <p:nvGrpSpPr>
          <p:cNvPr id="3" name="Group 2">
            <a:extLst>
              <a:ext uri="{FF2B5EF4-FFF2-40B4-BE49-F238E27FC236}">
                <a16:creationId xmlns:a16="http://schemas.microsoft.com/office/drawing/2014/main" id="{B4028172-C77B-BDC7-911D-9C09143BB692}"/>
              </a:ext>
              <a:ext uri="{C183D7F6-B498-43B3-948B-1728B52AA6E4}">
                <adec:decorative xmlns:adec="http://schemas.microsoft.com/office/drawing/2017/decorative" val="1"/>
              </a:ext>
            </a:extLst>
          </p:cNvPr>
          <p:cNvGrpSpPr/>
          <p:nvPr userDrawn="1"/>
        </p:nvGrpSpPr>
        <p:grpSpPr>
          <a:xfrm>
            <a:off x="-2658759" y="-3905034"/>
            <a:ext cx="14849830" cy="11912234"/>
            <a:chOff x="-1994069" y="-2928776"/>
            <a:chExt cx="11137372" cy="8934176"/>
          </a:xfrm>
        </p:grpSpPr>
        <p:sp>
          <p:nvSpPr>
            <p:cNvPr id="505" name="Google Shape;505;p35">
              <a:extLst>
                <a:ext uri="{C183D7F6-B498-43B3-948B-1728B52AA6E4}">
                  <adec:decorative xmlns:adec="http://schemas.microsoft.com/office/drawing/2017/decorative" val="1"/>
                </a:ext>
              </a:extLst>
            </p:cNvPr>
            <p:cNvSpPr/>
            <p:nvPr/>
          </p:nvSpPr>
          <p:spPr>
            <a:xfrm>
              <a:off x="-1994069" y="-399000"/>
              <a:ext cx="6414300" cy="6404400"/>
            </a:xfrm>
            <a:prstGeom prst="ellipse">
              <a:avLst/>
            </a:prstGeom>
            <a:gradFill>
              <a:gsLst>
                <a:gs pos="0">
                  <a:srgbClr val="1F9CF0">
                    <a:alpha val="74901"/>
                  </a:srgbClr>
                </a:gs>
                <a:gs pos="72000">
                  <a:srgbClr val="D59DFF">
                    <a:alpha val="0"/>
                  </a:srgbClr>
                </a:gs>
                <a:gs pos="100000">
                  <a:srgbClr val="D59DFF">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cxnSp>
          <p:nvCxnSpPr>
            <p:cNvPr id="506" name="Google Shape;506;p35">
              <a:extLst>
                <a:ext uri="{C183D7F6-B498-43B3-948B-1728B52AA6E4}">
                  <adec:decorative xmlns:adec="http://schemas.microsoft.com/office/drawing/2017/decorative" val="1"/>
                </a:ext>
              </a:extLst>
            </p:cNvPr>
            <p:cNvCxnSpPr>
              <a:cxnSpLocks/>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pic>
          <p:nvPicPr>
            <p:cNvPr id="507" name="Google Shape;507;p35">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4723729" y="-2928776"/>
              <a:ext cx="3762369" cy="3762369"/>
            </a:xfrm>
            <a:prstGeom prst="rect">
              <a:avLst/>
            </a:prstGeom>
            <a:noFill/>
            <a:ln>
              <a:noFill/>
            </a:ln>
          </p:spPr>
        </p:pic>
        <p:sp>
          <p:nvSpPr>
            <p:cNvPr id="508" name="Google Shape;508;p35">
              <a:extLst>
                <a:ext uri="{C183D7F6-B498-43B3-948B-1728B52AA6E4}">
                  <adec:decorative xmlns:adec="http://schemas.microsoft.com/office/drawing/2017/decorative" val="1"/>
                </a:ext>
              </a:extLst>
            </p:cNvPr>
            <p:cNvSpPr/>
            <p:nvPr/>
          </p:nvSpPr>
          <p:spPr>
            <a:xfrm>
              <a:off x="-807350" y="3339348"/>
              <a:ext cx="1410000" cy="1407900"/>
            </a:xfrm>
            <a:prstGeom prst="ellipse">
              <a:avLst/>
            </a:prstGeom>
            <a:gradFill>
              <a:gsLst>
                <a:gs pos="0">
                  <a:srgbClr val="8661C5"/>
                </a:gs>
                <a:gs pos="100000">
                  <a:srgbClr val="161828">
                    <a:alpha val="74901"/>
                  </a:srgbClr>
                </a:gs>
              </a:gsLst>
              <a:path path="circle">
                <a:fillToRect l="50000" t="50000" r="50000" b="50000"/>
              </a:path>
              <a:tileRect/>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nvGrpSpPr>
            <p:cNvPr id="509" name="Google Shape;509;p35">
              <a:extLst>
                <a:ext uri="{C183D7F6-B498-43B3-948B-1728B52AA6E4}">
                  <adec:decorative xmlns:adec="http://schemas.microsoft.com/office/drawing/2017/decorative" val="1"/>
                </a:ext>
              </a:extLst>
            </p:cNvPr>
            <p:cNvGrpSpPr/>
            <p:nvPr/>
          </p:nvGrpSpPr>
          <p:grpSpPr>
            <a:xfrm>
              <a:off x="4959237" y="1033679"/>
              <a:ext cx="488257" cy="487204"/>
              <a:chOff x="9522579" y="1481845"/>
              <a:chExt cx="1535400" cy="1534500"/>
            </a:xfrm>
          </p:grpSpPr>
          <p:sp>
            <p:nvSpPr>
              <p:cNvPr id="510" name="Google Shape;510;p35"/>
              <p:cNvSpPr/>
              <p:nvPr/>
            </p:nvSpPr>
            <p:spPr>
              <a:xfrm>
                <a:off x="9522579" y="1481845"/>
                <a:ext cx="1535400" cy="15345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11" name="Google Shape;511;p35"/>
              <p:cNvSpPr/>
              <p:nvPr/>
            </p:nvSpPr>
            <p:spPr>
              <a:xfrm>
                <a:off x="9782104" y="1743248"/>
                <a:ext cx="1017600" cy="10170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512" name="Google Shape;512;p35">
              <a:extLst>
                <a:ext uri="{C183D7F6-B498-43B3-948B-1728B52AA6E4}">
                  <adec:decorative xmlns:adec="http://schemas.microsoft.com/office/drawing/2017/decorative" val="1"/>
                </a:ext>
              </a:extLst>
            </p:cNvPr>
            <p:cNvGrpSpPr/>
            <p:nvPr/>
          </p:nvGrpSpPr>
          <p:grpSpPr>
            <a:xfrm>
              <a:off x="6926359" y="1038076"/>
              <a:ext cx="488257" cy="487204"/>
              <a:chOff x="9522579" y="1481845"/>
              <a:chExt cx="1535400" cy="1534500"/>
            </a:xfrm>
          </p:grpSpPr>
          <p:sp>
            <p:nvSpPr>
              <p:cNvPr id="513" name="Google Shape;513;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14" name="Google Shape;514;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515" name="Google Shape;515;p35">
              <a:extLst>
                <a:ext uri="{C183D7F6-B498-43B3-948B-1728B52AA6E4}">
                  <adec:decorative xmlns:adec="http://schemas.microsoft.com/office/drawing/2017/decorative" val="1"/>
                </a:ext>
              </a:extLst>
            </p:cNvPr>
            <p:cNvGrpSpPr/>
            <p:nvPr/>
          </p:nvGrpSpPr>
          <p:grpSpPr>
            <a:xfrm>
              <a:off x="4959237" y="2814668"/>
              <a:ext cx="488257" cy="487204"/>
              <a:chOff x="9522579" y="1481845"/>
              <a:chExt cx="1535400" cy="1534500"/>
            </a:xfrm>
          </p:grpSpPr>
          <p:sp>
            <p:nvSpPr>
              <p:cNvPr id="516" name="Google Shape;516;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17" name="Google Shape;517;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grpSp>
          <p:nvGrpSpPr>
            <p:cNvPr id="518" name="Google Shape;518;p35">
              <a:extLst>
                <a:ext uri="{C183D7F6-B498-43B3-948B-1728B52AA6E4}">
                  <adec:decorative xmlns:adec="http://schemas.microsoft.com/office/drawing/2017/decorative" val="1"/>
                </a:ext>
              </a:extLst>
            </p:cNvPr>
            <p:cNvGrpSpPr/>
            <p:nvPr/>
          </p:nvGrpSpPr>
          <p:grpSpPr>
            <a:xfrm>
              <a:off x="6926359" y="2819066"/>
              <a:ext cx="488257" cy="487204"/>
              <a:chOff x="9522579" y="1481845"/>
              <a:chExt cx="1535400" cy="1534500"/>
            </a:xfrm>
          </p:grpSpPr>
          <p:sp>
            <p:nvSpPr>
              <p:cNvPr id="519" name="Google Shape;519;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20" name="Google Shape;520;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grpSp>
        <p:cxnSp>
          <p:nvCxnSpPr>
            <p:cNvPr id="521" name="Google Shape;521;p35">
              <a:extLst>
                <a:ext uri="{C183D7F6-B498-43B3-948B-1728B52AA6E4}">
                  <adec:decorative xmlns:adec="http://schemas.microsoft.com/office/drawing/2017/decorative" val="1"/>
                </a:ext>
              </a:extLst>
            </p:cNvPr>
            <p:cNvCxnSpPr/>
            <p:nvPr/>
          </p:nvCxnSpPr>
          <p:spPr>
            <a:xfrm>
              <a:off x="6635633" y="1050271"/>
              <a:ext cx="0" cy="1466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2" name="Google Shape;522;p35">
              <a:extLst>
                <a:ext uri="{C183D7F6-B498-43B3-948B-1728B52AA6E4}">
                  <adec:decorative xmlns:adec="http://schemas.microsoft.com/office/drawing/2017/decorative" val="1"/>
                </a:ext>
              </a:extLst>
            </p:cNvPr>
            <p:cNvCxnSpPr/>
            <p:nvPr/>
          </p:nvCxnSpPr>
          <p:spPr>
            <a:xfrm>
              <a:off x="6635633" y="2843507"/>
              <a:ext cx="0" cy="1466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3" name="Google Shape;523;p35">
              <a:extLst>
                <a:ext uri="{C183D7F6-B498-43B3-948B-1728B52AA6E4}">
                  <adec:decorative xmlns:adec="http://schemas.microsoft.com/office/drawing/2017/decorative" val="1"/>
                </a:ext>
              </a:extLst>
            </p:cNvPr>
            <p:cNvCxnSpPr/>
            <p:nvPr/>
          </p:nvCxnSpPr>
          <p:spPr>
            <a:xfrm>
              <a:off x="4723729" y="1050271"/>
              <a:ext cx="0" cy="14664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4" name="Google Shape;524;p35">
              <a:extLst>
                <a:ext uri="{C183D7F6-B498-43B3-948B-1728B52AA6E4}">
                  <adec:decorative xmlns:adec="http://schemas.microsoft.com/office/drawing/2017/decorative" val="1"/>
                </a:ext>
              </a:extLst>
            </p:cNvPr>
            <p:cNvCxnSpPr/>
            <p:nvPr/>
          </p:nvCxnSpPr>
          <p:spPr>
            <a:xfrm>
              <a:off x="4723729" y="2843507"/>
              <a:ext cx="0" cy="1466400"/>
            </a:xfrm>
            <a:prstGeom prst="straightConnector1">
              <a:avLst/>
            </a:prstGeom>
            <a:noFill/>
            <a:ln w="12700" cap="flat" cmpd="sng">
              <a:solidFill>
                <a:srgbClr val="627597">
                  <a:alpha val="49800"/>
                </a:srgbClr>
              </a:solidFill>
              <a:prstDash val="solid"/>
              <a:miter lim="800000"/>
              <a:headEnd type="none" w="sm" len="sm"/>
              <a:tailEnd type="none" w="sm" len="sm"/>
            </a:ln>
          </p:spPr>
        </p:cxnSp>
        <p:sp>
          <p:nvSpPr>
            <p:cNvPr id="525" name="Google Shape;525;p35">
              <a:extLst>
                <a:ext uri="{C183D7F6-B498-43B3-948B-1728B52AA6E4}">
                  <adec:decorative xmlns:adec="http://schemas.microsoft.com/office/drawing/2017/decorative" val="1"/>
                </a:ext>
              </a:extLst>
            </p:cNvPr>
            <p:cNvSpPr/>
            <p:nvPr/>
          </p:nvSpPr>
          <p:spPr>
            <a:xfrm rot="10800000">
              <a:off x="407925" y="525"/>
              <a:ext cx="73200" cy="2172900"/>
            </a:xfrm>
            <a:prstGeom prst="rect">
              <a:avLst/>
            </a:prstGeom>
            <a:gradFill>
              <a:gsLst>
                <a:gs pos="0">
                  <a:srgbClr val="D59DFF"/>
                </a:gs>
                <a:gs pos="100000">
                  <a:srgbClr val="28AFEA"/>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396" b="0" i="0">
                <a:latin typeface="Helvetica" pitchFamily="2" charset="0"/>
              </a:endParaRPr>
            </a:p>
          </p:txBody>
        </p:sp>
        <p:cxnSp>
          <p:nvCxnSpPr>
            <p:cNvPr id="45" name="Google Shape;67;p15">
              <a:extLst>
                <a:ext uri="{FF2B5EF4-FFF2-40B4-BE49-F238E27FC236}">
                  <a16:creationId xmlns:a16="http://schemas.microsoft.com/office/drawing/2014/main" id="{DB2924D4-10FD-B348-BB9C-408508AD0696}"/>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527" name="Google Shape;527;p35"/>
          <p:cNvSpPr txBox="1">
            <a:spLocks noGrp="1"/>
          </p:cNvSpPr>
          <p:nvPr>
            <p:ph type="title"/>
          </p:nvPr>
        </p:nvSpPr>
        <p:spPr>
          <a:xfrm>
            <a:off x="1072896" y="1377696"/>
            <a:ext cx="3243200" cy="1036400"/>
          </a:xfrm>
          <a:prstGeom prst="rect">
            <a:avLst/>
          </a:prstGeom>
        </p:spPr>
        <p:txBody>
          <a:bodyPr spcFirstLastPara="1" wrap="square" lIns="45700" tIns="18275" rIns="45700" bIns="18275" anchor="t" anchorCtr="0">
            <a:noAutofit/>
          </a:bodyPr>
          <a:lstStyle>
            <a:lvl1pPr lvl="0" rtl="0">
              <a:spcBef>
                <a:spcPts val="0"/>
              </a:spcBef>
              <a:spcAft>
                <a:spcPts val="0"/>
              </a:spcAft>
              <a:buSzPts val="1700"/>
              <a:buNone/>
              <a:defRPr sz="2263" b="0"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526" name="Google Shape;526;p35"/>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528" name="Google Shape;528;p35"/>
          <p:cNvSpPr txBox="1">
            <a:spLocks noGrp="1"/>
          </p:cNvSpPr>
          <p:nvPr>
            <p:ph type="body" idx="2"/>
          </p:nvPr>
        </p:nvSpPr>
        <p:spPr>
          <a:xfrm>
            <a:off x="1072896" y="3182112"/>
            <a:ext cx="3243200" cy="212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29" name="Google Shape;529;p35"/>
          <p:cNvSpPr>
            <a:spLocks noGrp="1"/>
          </p:cNvSpPr>
          <p:nvPr>
            <p:ph type="pic" idx="3"/>
          </p:nvPr>
        </p:nvSpPr>
        <p:spPr>
          <a:xfrm>
            <a:off x="6790944" y="1560576"/>
            <a:ext cx="304800" cy="304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534" name="Google Shape;534;p35"/>
          <p:cNvSpPr txBox="1">
            <a:spLocks noGrp="1"/>
          </p:cNvSpPr>
          <p:nvPr>
            <p:ph type="body" idx="8"/>
          </p:nvPr>
        </p:nvSpPr>
        <p:spPr>
          <a:xfrm>
            <a:off x="6608064" y="2194560"/>
            <a:ext cx="1536000" cy="200798"/>
          </a:xfrm>
          <a:prstGeom prst="rect">
            <a:avLst/>
          </a:prstGeom>
        </p:spPr>
        <p:txBody>
          <a:bodyPr spcFirstLastPara="1" wrap="square" lIns="45700" tIns="18275" rIns="45700" bIns="18275" anchor="t" anchorCtr="0">
            <a:spAutoFit/>
          </a:bodyPr>
          <a:lstStyle>
            <a:lvl1pPr marL="0" lvl="0" indent="0" rtl="0">
              <a:lnSpc>
                <a:spcPct val="100000"/>
              </a:lnSpc>
              <a:spcBef>
                <a:spcPts val="0"/>
              </a:spcBef>
              <a:spcAft>
                <a:spcPts val="0"/>
              </a:spcAft>
              <a:buSzPts val="800"/>
              <a:buNone/>
              <a:defRPr sz="1065"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33" name="Google Shape;533;p35"/>
          <p:cNvSpPr txBox="1">
            <a:spLocks noGrp="1"/>
          </p:cNvSpPr>
          <p:nvPr>
            <p:ph type="body" idx="7"/>
          </p:nvPr>
        </p:nvSpPr>
        <p:spPr>
          <a:xfrm>
            <a:off x="6608064" y="2438400"/>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7" name="Google Shape;529;p35">
            <a:extLst>
              <a:ext uri="{FF2B5EF4-FFF2-40B4-BE49-F238E27FC236}">
                <a16:creationId xmlns:a16="http://schemas.microsoft.com/office/drawing/2014/main" id="{729EA799-ABE1-53C2-EEAF-D65055BB3DE1}"/>
              </a:ext>
            </a:extLst>
          </p:cNvPr>
          <p:cNvSpPr>
            <a:spLocks noGrp="1"/>
          </p:cNvSpPr>
          <p:nvPr>
            <p:ph type="pic" idx="21"/>
          </p:nvPr>
        </p:nvSpPr>
        <p:spPr>
          <a:xfrm>
            <a:off x="9408250" y="1560576"/>
            <a:ext cx="304800" cy="304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538" name="Google Shape;538;p35"/>
          <p:cNvSpPr txBox="1">
            <a:spLocks noGrp="1"/>
          </p:cNvSpPr>
          <p:nvPr>
            <p:ph type="body" idx="15"/>
          </p:nvPr>
        </p:nvSpPr>
        <p:spPr>
          <a:xfrm>
            <a:off x="9192768" y="2194560"/>
            <a:ext cx="1536000" cy="2316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065" b="1" i="0">
                <a:solidFill>
                  <a:schemeClr val="bg1"/>
                </a:solidFill>
                <a:latin typeface="Helvetica" pitchFamily="2" charset="0"/>
              </a:defRPr>
            </a:lvl1pPr>
            <a:lvl2pPr marL="1217295" lvl="1" indent="-371951">
              <a:lnSpc>
                <a:spcPct val="100000"/>
              </a:lnSpc>
              <a:spcBef>
                <a:spcPts val="0"/>
              </a:spcBef>
              <a:spcAft>
                <a:spcPts val="0"/>
              </a:spcAft>
              <a:buSzPts val="800"/>
              <a:buChar char="○"/>
              <a:defRPr sz="1065"/>
            </a:lvl2pPr>
            <a:lvl3pPr marL="1825943" lvl="2" indent="-371951">
              <a:lnSpc>
                <a:spcPct val="100000"/>
              </a:lnSpc>
              <a:spcBef>
                <a:spcPts val="0"/>
              </a:spcBef>
              <a:spcAft>
                <a:spcPts val="0"/>
              </a:spcAft>
              <a:buSzPts val="800"/>
              <a:buChar char="■"/>
              <a:defRPr sz="1065"/>
            </a:lvl3pPr>
            <a:lvl4pPr marL="2434590" lvl="3" indent="-371951">
              <a:lnSpc>
                <a:spcPct val="100000"/>
              </a:lnSpc>
              <a:spcBef>
                <a:spcPts val="0"/>
              </a:spcBef>
              <a:spcAft>
                <a:spcPts val="0"/>
              </a:spcAft>
              <a:buSzPts val="800"/>
              <a:buChar char="●"/>
              <a:defRPr sz="1065"/>
            </a:lvl4pPr>
            <a:lvl5pPr marL="3043238" lvl="4" indent="-371951">
              <a:lnSpc>
                <a:spcPct val="100000"/>
              </a:lnSpc>
              <a:spcBef>
                <a:spcPts val="0"/>
              </a:spcBef>
              <a:spcAft>
                <a:spcPts val="0"/>
              </a:spcAft>
              <a:buSzPts val="800"/>
              <a:buChar char="○"/>
              <a:defRPr sz="1065"/>
            </a:lvl5pPr>
            <a:lvl6pPr marL="3651885" lvl="5" indent="-371951">
              <a:lnSpc>
                <a:spcPct val="100000"/>
              </a:lnSpc>
              <a:spcBef>
                <a:spcPts val="0"/>
              </a:spcBef>
              <a:spcAft>
                <a:spcPts val="0"/>
              </a:spcAft>
              <a:buSzPts val="800"/>
              <a:buChar char="■"/>
              <a:defRPr sz="1065"/>
            </a:lvl6pPr>
            <a:lvl7pPr marL="4260533" lvl="6" indent="-371951">
              <a:lnSpc>
                <a:spcPct val="100000"/>
              </a:lnSpc>
              <a:spcBef>
                <a:spcPts val="0"/>
              </a:spcBef>
              <a:spcAft>
                <a:spcPts val="0"/>
              </a:spcAft>
              <a:buSzPts val="800"/>
              <a:buChar char="●"/>
              <a:defRPr sz="1065"/>
            </a:lvl7pPr>
            <a:lvl8pPr marL="4869180" lvl="7" indent="-371951">
              <a:lnSpc>
                <a:spcPct val="100000"/>
              </a:lnSpc>
              <a:spcBef>
                <a:spcPts val="0"/>
              </a:spcBef>
              <a:spcAft>
                <a:spcPts val="0"/>
              </a:spcAft>
              <a:buSzPts val="800"/>
              <a:buChar char="○"/>
              <a:defRPr sz="1065"/>
            </a:lvl8pPr>
            <a:lvl9pPr marL="5477828" lvl="8" indent="-371951">
              <a:lnSpc>
                <a:spcPct val="100000"/>
              </a:lnSpc>
              <a:spcBef>
                <a:spcPts val="0"/>
              </a:spcBef>
              <a:spcAft>
                <a:spcPts val="0"/>
              </a:spcAft>
              <a:buSzPts val="800"/>
              <a:buChar char="■"/>
              <a:defRPr sz="1065"/>
            </a:lvl9pPr>
          </a:lstStyle>
          <a:p>
            <a:endParaRPr dirty="0"/>
          </a:p>
        </p:txBody>
      </p:sp>
      <p:sp>
        <p:nvSpPr>
          <p:cNvPr id="535" name="Google Shape;535;p35"/>
          <p:cNvSpPr txBox="1">
            <a:spLocks noGrp="1"/>
          </p:cNvSpPr>
          <p:nvPr>
            <p:ph type="body" idx="9"/>
          </p:nvPr>
        </p:nvSpPr>
        <p:spPr>
          <a:xfrm>
            <a:off x="9192768" y="2438400"/>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8" name="Google Shape;529;p35">
            <a:extLst>
              <a:ext uri="{FF2B5EF4-FFF2-40B4-BE49-F238E27FC236}">
                <a16:creationId xmlns:a16="http://schemas.microsoft.com/office/drawing/2014/main" id="{F69F98B3-729F-58A4-712C-0D35F0AE5418}"/>
              </a:ext>
            </a:extLst>
          </p:cNvPr>
          <p:cNvSpPr>
            <a:spLocks noGrp="1"/>
          </p:cNvSpPr>
          <p:nvPr>
            <p:ph type="pic" idx="22"/>
          </p:nvPr>
        </p:nvSpPr>
        <p:spPr>
          <a:xfrm>
            <a:off x="6790944" y="3925951"/>
            <a:ext cx="304800" cy="304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539" name="Google Shape;539;p35"/>
          <p:cNvSpPr txBox="1">
            <a:spLocks noGrp="1"/>
          </p:cNvSpPr>
          <p:nvPr>
            <p:ph type="body" idx="16"/>
          </p:nvPr>
        </p:nvSpPr>
        <p:spPr>
          <a:xfrm>
            <a:off x="6583680" y="4584192"/>
            <a:ext cx="15360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5"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36" name="Google Shape;536;p35"/>
          <p:cNvSpPr txBox="1">
            <a:spLocks noGrp="1"/>
          </p:cNvSpPr>
          <p:nvPr>
            <p:ph type="body" idx="13"/>
          </p:nvPr>
        </p:nvSpPr>
        <p:spPr>
          <a:xfrm>
            <a:off x="6608064" y="4828032"/>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9" name="Google Shape;529;p35">
            <a:extLst>
              <a:ext uri="{FF2B5EF4-FFF2-40B4-BE49-F238E27FC236}">
                <a16:creationId xmlns:a16="http://schemas.microsoft.com/office/drawing/2014/main" id="{22E7ED28-AC2C-AD47-BE45-C32830409176}"/>
              </a:ext>
            </a:extLst>
          </p:cNvPr>
          <p:cNvSpPr>
            <a:spLocks noGrp="1"/>
          </p:cNvSpPr>
          <p:nvPr>
            <p:ph type="pic" idx="23"/>
          </p:nvPr>
        </p:nvSpPr>
        <p:spPr>
          <a:xfrm>
            <a:off x="9408250" y="3925951"/>
            <a:ext cx="304800" cy="304800"/>
          </a:xfrm>
          <a:prstGeom prst="ellipse">
            <a:avLst/>
          </a:prstGeom>
          <a:noFill/>
          <a:ln>
            <a:noFill/>
          </a:ln>
        </p:spPr>
        <p:txBody>
          <a:bodyPr wrap="square" lIns="0" tIns="0" rIns="0" bIns="0" anchor="ctr"/>
          <a:lstStyle>
            <a:lvl1pPr marL="0" indent="0" algn="ctr">
              <a:buNone/>
              <a:defRPr sz="266" b="0" i="0">
                <a:latin typeface="Helvetica" pitchFamily="2" charset="0"/>
              </a:defRPr>
            </a:lvl1pPr>
          </a:lstStyle>
          <a:p>
            <a:endParaRPr lang="en-US" dirty="0"/>
          </a:p>
        </p:txBody>
      </p:sp>
      <p:sp>
        <p:nvSpPr>
          <p:cNvPr id="540" name="Google Shape;540;p35"/>
          <p:cNvSpPr txBox="1">
            <a:spLocks noGrp="1"/>
          </p:cNvSpPr>
          <p:nvPr>
            <p:ph type="body" idx="17"/>
          </p:nvPr>
        </p:nvSpPr>
        <p:spPr>
          <a:xfrm>
            <a:off x="9156192" y="4584192"/>
            <a:ext cx="15360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5" b="1" i="0">
                <a:solidFill>
                  <a:schemeClr val="bg1"/>
                </a:solidFill>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537" name="Google Shape;537;p35"/>
          <p:cNvSpPr txBox="1">
            <a:spLocks noGrp="1"/>
          </p:cNvSpPr>
          <p:nvPr>
            <p:ph type="body" idx="14"/>
          </p:nvPr>
        </p:nvSpPr>
        <p:spPr>
          <a:xfrm>
            <a:off x="9192768" y="4828032"/>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44" name="Google Shape;268;p27">
            <a:extLst>
              <a:ext uri="{FF2B5EF4-FFF2-40B4-BE49-F238E27FC236}">
                <a16:creationId xmlns:a16="http://schemas.microsoft.com/office/drawing/2014/main" id="{2A6E29A0-D670-464E-AA55-EA5B586AC6CB}"/>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9E5BA92F-1ADB-99FD-C648-36D8C6D19C9D}"/>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384663440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matchingName="Monitor Graphic" preserve="1">
  <p:cSld name="Monitor Graphic">
    <p:spTree>
      <p:nvGrpSpPr>
        <p:cNvPr id="1" name="Shape 541"/>
        <p:cNvGrpSpPr/>
        <p:nvPr/>
      </p:nvGrpSpPr>
      <p:grpSpPr>
        <a:xfrm>
          <a:off x="0" y="0"/>
          <a:ext cx="0" cy="0"/>
          <a:chOff x="0" y="0"/>
          <a:chExt cx="0" cy="0"/>
        </a:xfrm>
      </p:grpSpPr>
      <p:grpSp>
        <p:nvGrpSpPr>
          <p:cNvPr id="2" name="Group 1">
            <a:extLst>
              <a:ext uri="{FF2B5EF4-FFF2-40B4-BE49-F238E27FC236}">
                <a16:creationId xmlns:a16="http://schemas.microsoft.com/office/drawing/2014/main" id="{BF03BAE5-7898-A7A2-D1A5-B19F83DA9EBD}"/>
              </a:ext>
              <a:ext uri="{C183D7F6-B498-43B3-948B-1728B52AA6E4}">
                <adec:decorative xmlns:adec="http://schemas.microsoft.com/office/drawing/2017/decorative" val="1"/>
              </a:ext>
            </a:extLst>
          </p:cNvPr>
          <p:cNvGrpSpPr/>
          <p:nvPr userDrawn="1"/>
        </p:nvGrpSpPr>
        <p:grpSpPr>
          <a:xfrm>
            <a:off x="-4192616" y="-532000"/>
            <a:ext cx="20633934" cy="8539200"/>
            <a:chOff x="-3144462" y="-399000"/>
            <a:chExt cx="15475450" cy="6404400"/>
          </a:xfrm>
        </p:grpSpPr>
        <p:sp>
          <p:nvSpPr>
            <p:cNvPr id="545" name="Google Shape;545;p36">
              <a:extLst>
                <a:ext uri="{C183D7F6-B498-43B3-948B-1728B52AA6E4}">
                  <adec:decorative xmlns:adec="http://schemas.microsoft.com/office/drawing/2017/decorative" val="1"/>
                </a:ext>
              </a:extLst>
            </p:cNvPr>
            <p:cNvSpPr/>
            <p:nvPr/>
          </p:nvSpPr>
          <p:spPr>
            <a:xfrm>
              <a:off x="-1994069" y="-399000"/>
              <a:ext cx="6414300" cy="6404400"/>
            </a:xfrm>
            <a:prstGeom prst="ellipse">
              <a:avLst/>
            </a:prstGeom>
            <a:gradFill>
              <a:gsLst>
                <a:gs pos="0">
                  <a:schemeClr val="accent3"/>
                </a:gs>
                <a:gs pos="72000">
                  <a:srgbClr val="D59DFF">
                    <a:alpha val="0"/>
                  </a:srgbClr>
                </a:gs>
                <a:gs pos="100000">
                  <a:srgbClr val="D59DFF">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cxnSp>
          <p:nvCxnSpPr>
            <p:cNvPr id="546" name="Google Shape;546;p36">
              <a:extLst>
                <a:ext uri="{C183D7F6-B498-43B3-948B-1728B52AA6E4}">
                  <adec:decorative xmlns:adec="http://schemas.microsoft.com/office/drawing/2017/decorative" val="1"/>
                </a:ext>
              </a:extLst>
            </p:cNvPr>
            <p:cNvCxnSpPr/>
            <p:nvPr/>
          </p:nvCxnSpPr>
          <p:spPr>
            <a:xfrm>
              <a:off x="5579309" y="896053"/>
              <a:ext cx="2070300" cy="0"/>
            </a:xfrm>
            <a:prstGeom prst="straightConnector1">
              <a:avLst/>
            </a:prstGeom>
            <a:noFill/>
            <a:ln w="12700" cap="flat" cmpd="sng">
              <a:solidFill>
                <a:srgbClr val="627597"/>
              </a:solidFill>
              <a:prstDash val="solid"/>
              <a:miter lim="800000"/>
              <a:headEnd type="none" w="sm" len="sm"/>
              <a:tailEnd type="none" w="sm" len="sm"/>
            </a:ln>
          </p:spPr>
        </p:cxnSp>
        <p:pic>
          <p:nvPicPr>
            <p:cNvPr id="547" name="Google Shape;547;p36">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3144462" y="580234"/>
              <a:ext cx="3762369" cy="3762369"/>
            </a:xfrm>
            <a:prstGeom prst="rect">
              <a:avLst/>
            </a:prstGeom>
            <a:noFill/>
            <a:ln>
              <a:noFill/>
            </a:ln>
          </p:spPr>
        </p:pic>
        <p:pic>
          <p:nvPicPr>
            <p:cNvPr id="548" name="Google Shape;548;p36">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568619" y="580234"/>
              <a:ext cx="3762369" cy="3762369"/>
            </a:xfrm>
            <a:prstGeom prst="rect">
              <a:avLst/>
            </a:prstGeom>
            <a:noFill/>
            <a:ln>
              <a:noFill/>
            </a:ln>
          </p:spPr>
        </p:pic>
        <p:cxnSp>
          <p:nvCxnSpPr>
            <p:cNvPr id="13" name="Google Shape;67;p15">
              <a:extLst>
                <a:ext uri="{FF2B5EF4-FFF2-40B4-BE49-F238E27FC236}">
                  <a16:creationId xmlns:a16="http://schemas.microsoft.com/office/drawing/2014/main" id="{5ECC4230-B1D7-1545-A24E-C3E5EC1F8A3C}"/>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550" name="Google Shape;550;p36"/>
          <p:cNvSpPr txBox="1">
            <a:spLocks noGrp="1"/>
          </p:cNvSpPr>
          <p:nvPr>
            <p:ph type="title"/>
          </p:nvPr>
        </p:nvSpPr>
        <p:spPr>
          <a:xfrm>
            <a:off x="7388352" y="1584960"/>
            <a:ext cx="3243200" cy="1036400"/>
          </a:xfrm>
          <a:prstGeom prst="rect">
            <a:avLst/>
          </a:prstGeom>
        </p:spPr>
        <p:txBody>
          <a:bodyPr spcFirstLastPara="1" wrap="square" lIns="45700" tIns="18275" rIns="45700" bIns="18275" anchor="t" anchorCtr="0">
            <a:noAutofit/>
          </a:bodyPr>
          <a:lstStyle>
            <a:lvl1pPr lvl="0" rtl="0">
              <a:spcBef>
                <a:spcPts val="0"/>
              </a:spcBef>
              <a:spcAft>
                <a:spcPts val="0"/>
              </a:spcAft>
              <a:buSzPts val="1700"/>
              <a:buNone/>
              <a:defRPr sz="2263" b="0"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549" name="Google Shape;549;p36"/>
          <p:cNvSpPr txBox="1">
            <a:spLocks noGrp="1"/>
          </p:cNvSpPr>
          <p:nvPr>
            <p:ph type="subTitle" idx="1"/>
          </p:nvPr>
        </p:nvSpPr>
        <p:spPr>
          <a:xfrm>
            <a:off x="7388352" y="938784"/>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551" name="Google Shape;551;p36"/>
          <p:cNvSpPr txBox="1">
            <a:spLocks noGrp="1"/>
          </p:cNvSpPr>
          <p:nvPr>
            <p:ph type="body" idx="2"/>
          </p:nvPr>
        </p:nvSpPr>
        <p:spPr>
          <a:xfrm>
            <a:off x="7388352" y="3389376"/>
            <a:ext cx="3243200" cy="212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12" name="Google Shape;268;p27">
            <a:extLst>
              <a:ext uri="{FF2B5EF4-FFF2-40B4-BE49-F238E27FC236}">
                <a16:creationId xmlns:a16="http://schemas.microsoft.com/office/drawing/2014/main" id="{268F1A49-11B7-8F40-B03E-43CCD03FF414}"/>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01A97538-6AA1-9E0E-CA0F-581D3693EECF}"/>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9595083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matchingName="Left-side Copy" preserve="1">
  <p:cSld name="Left-side Copy">
    <p:spTree>
      <p:nvGrpSpPr>
        <p:cNvPr id="1" name="Shape 552"/>
        <p:cNvGrpSpPr/>
        <p:nvPr/>
      </p:nvGrpSpPr>
      <p:grpSpPr>
        <a:xfrm>
          <a:off x="0" y="0"/>
          <a:ext cx="0" cy="0"/>
          <a:chOff x="0" y="0"/>
          <a:chExt cx="0" cy="0"/>
        </a:xfrm>
      </p:grpSpPr>
      <p:grpSp>
        <p:nvGrpSpPr>
          <p:cNvPr id="2" name="Group 1">
            <a:extLst>
              <a:ext uri="{FF2B5EF4-FFF2-40B4-BE49-F238E27FC236}">
                <a16:creationId xmlns:a16="http://schemas.microsoft.com/office/drawing/2014/main" id="{6826CC8A-2169-C1C2-F991-0F061299EE93}"/>
              </a:ext>
              <a:ext uri="{C183D7F6-B498-43B3-948B-1728B52AA6E4}">
                <adec:decorative xmlns:adec="http://schemas.microsoft.com/office/drawing/2017/decorative" val="1"/>
              </a:ext>
            </a:extLst>
          </p:cNvPr>
          <p:cNvGrpSpPr/>
          <p:nvPr userDrawn="1"/>
        </p:nvGrpSpPr>
        <p:grpSpPr>
          <a:xfrm>
            <a:off x="-4192616" y="773647"/>
            <a:ext cx="18277464" cy="5603569"/>
            <a:chOff x="-3144462" y="580234"/>
            <a:chExt cx="13708098" cy="4202677"/>
          </a:xfrm>
        </p:grpSpPr>
        <p:sp>
          <p:nvSpPr>
            <p:cNvPr id="556" name="Google Shape;556;p37">
              <a:extLst>
                <a:ext uri="{C183D7F6-B498-43B3-948B-1728B52AA6E4}">
                  <adec:decorative xmlns:adec="http://schemas.microsoft.com/office/drawing/2017/decorative" val="1"/>
                </a:ext>
              </a:extLst>
            </p:cNvPr>
            <p:cNvSpPr/>
            <p:nvPr/>
          </p:nvSpPr>
          <p:spPr>
            <a:xfrm>
              <a:off x="6071966" y="1395327"/>
              <a:ext cx="1363500" cy="1008900"/>
            </a:xfrm>
            <a:prstGeom prst="roundRect">
              <a:avLst>
                <a:gd name="adj" fmla="val 6753"/>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57" name="Google Shape;557;p37">
              <a:extLst>
                <a:ext uri="{C183D7F6-B498-43B3-948B-1728B52AA6E4}">
                  <adec:decorative xmlns:adec="http://schemas.microsoft.com/office/drawing/2017/decorative" val="1"/>
                </a:ext>
              </a:extLst>
            </p:cNvPr>
            <p:cNvSpPr/>
            <p:nvPr/>
          </p:nvSpPr>
          <p:spPr>
            <a:xfrm>
              <a:off x="4886802" y="2954245"/>
              <a:ext cx="996600" cy="737400"/>
            </a:xfrm>
            <a:prstGeom prst="roundRect">
              <a:avLst>
                <a:gd name="adj" fmla="val 6753"/>
              </a:avLst>
            </a:prstGeom>
            <a:gradFill>
              <a:gsLst>
                <a:gs pos="0">
                  <a:srgbClr val="9477E2"/>
                </a:gs>
                <a:gs pos="100000">
                  <a:srgbClr val="9477E2">
                    <a:alpha val="0"/>
                  </a:srgbClr>
                </a:gs>
              </a:gsLst>
              <a:lin ang="2700006" scaled="0"/>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cxnSp>
          <p:nvCxnSpPr>
            <p:cNvPr id="558" name="Google Shape;558;p37">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pic>
          <p:nvPicPr>
            <p:cNvPr id="559" name="Google Shape;559;p37">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3144462" y="580234"/>
              <a:ext cx="3762369" cy="3762369"/>
            </a:xfrm>
            <a:prstGeom prst="rect">
              <a:avLst/>
            </a:prstGeom>
            <a:noFill/>
            <a:ln>
              <a:noFill/>
            </a:ln>
          </p:spPr>
        </p:pic>
        <p:pic>
          <p:nvPicPr>
            <p:cNvPr id="560" name="Google Shape;560;p37">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6801267" y="580234"/>
              <a:ext cx="3762369" cy="3762369"/>
            </a:xfrm>
            <a:prstGeom prst="rect">
              <a:avLst/>
            </a:prstGeom>
            <a:noFill/>
            <a:ln>
              <a:noFill/>
            </a:ln>
          </p:spPr>
        </p:pic>
        <p:cxnSp>
          <p:nvCxnSpPr>
            <p:cNvPr id="14" name="Google Shape;67;p15">
              <a:extLst>
                <a:ext uri="{FF2B5EF4-FFF2-40B4-BE49-F238E27FC236}">
                  <a16:creationId xmlns:a16="http://schemas.microsoft.com/office/drawing/2014/main" id="{B560FB97-8D77-9349-A3B4-AF64D75E5332}"/>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sp>
        <p:nvSpPr>
          <p:cNvPr id="562" name="Google Shape;562;p37"/>
          <p:cNvSpPr txBox="1">
            <a:spLocks noGrp="1"/>
          </p:cNvSpPr>
          <p:nvPr>
            <p:ph type="title"/>
          </p:nvPr>
        </p:nvSpPr>
        <p:spPr>
          <a:xfrm>
            <a:off x="1072896" y="1377696"/>
            <a:ext cx="3243200" cy="1036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3" b="0"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561" name="Google Shape;561;p37"/>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a:lnSpc>
                <a:spcPct val="100000"/>
              </a:lnSpc>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dirty="0"/>
          </a:p>
        </p:txBody>
      </p:sp>
      <p:sp>
        <p:nvSpPr>
          <p:cNvPr id="563" name="Google Shape;563;p37"/>
          <p:cNvSpPr txBox="1">
            <a:spLocks noGrp="1"/>
          </p:cNvSpPr>
          <p:nvPr>
            <p:ph type="body" idx="2"/>
          </p:nvPr>
        </p:nvSpPr>
        <p:spPr>
          <a:xfrm>
            <a:off x="1072896" y="3182112"/>
            <a:ext cx="3243200" cy="21216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13" name="Google Shape;268;p27">
            <a:extLst>
              <a:ext uri="{FF2B5EF4-FFF2-40B4-BE49-F238E27FC236}">
                <a16:creationId xmlns:a16="http://schemas.microsoft.com/office/drawing/2014/main" id="{4E669A2D-7E59-9049-9F3F-0BD200EFF36C}"/>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dirty="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8D941120-C5EC-CC0D-73E9-7FCE4C5ECCD7}"/>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54957835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matchingName="Four Features - Bottom" preserve="1" userDrawn="1">
  <p:cSld name="Four Features - Bottom">
    <p:spTree>
      <p:nvGrpSpPr>
        <p:cNvPr id="1" name="Shape 564"/>
        <p:cNvGrpSpPr/>
        <p:nvPr/>
      </p:nvGrpSpPr>
      <p:grpSpPr>
        <a:xfrm>
          <a:off x="0" y="0"/>
          <a:ext cx="0" cy="0"/>
          <a:chOff x="0" y="0"/>
          <a:chExt cx="0" cy="0"/>
        </a:xfrm>
      </p:grpSpPr>
      <p:grpSp>
        <p:nvGrpSpPr>
          <p:cNvPr id="3" name="Group 2">
            <a:extLst>
              <a:ext uri="{FF2B5EF4-FFF2-40B4-BE49-F238E27FC236}">
                <a16:creationId xmlns:a16="http://schemas.microsoft.com/office/drawing/2014/main" id="{EC6DA645-FC1C-E3FE-5DCA-858CD8798D3A}"/>
              </a:ext>
              <a:ext uri="{C183D7F6-B498-43B3-948B-1728B52AA6E4}">
                <adec:decorative xmlns:adec="http://schemas.microsoft.com/office/drawing/2017/decorative" val="1"/>
              </a:ext>
            </a:extLst>
          </p:cNvPr>
          <p:cNvGrpSpPr/>
          <p:nvPr userDrawn="1"/>
        </p:nvGrpSpPr>
        <p:grpSpPr>
          <a:xfrm>
            <a:off x="-4225468" y="-2535898"/>
            <a:ext cx="20395564" cy="8913113"/>
            <a:chOff x="-3169102" y="-1901924"/>
            <a:chExt cx="15296673" cy="6684835"/>
          </a:xfrm>
        </p:grpSpPr>
        <p:cxnSp>
          <p:nvCxnSpPr>
            <p:cNvPr id="572" name="Google Shape;572;p38">
              <a:extLst>
                <a:ext uri="{C183D7F6-B498-43B3-948B-1728B52AA6E4}">
                  <adec:decorative xmlns:adec="http://schemas.microsoft.com/office/drawing/2017/decorative" val="1"/>
                </a:ext>
              </a:extLst>
            </p:cNvPr>
            <p:cNvCxnSpPr/>
            <p:nvPr/>
          </p:nvCxnSpPr>
          <p:spPr>
            <a:xfrm>
              <a:off x="630203" y="2528886"/>
              <a:ext cx="0" cy="1928700"/>
            </a:xfrm>
            <a:prstGeom prst="straightConnector1">
              <a:avLst/>
            </a:prstGeom>
            <a:noFill/>
            <a:ln w="12700" cap="flat" cmpd="sng">
              <a:solidFill>
                <a:srgbClr val="627597">
                  <a:alpha val="24710"/>
                </a:srgbClr>
              </a:solidFill>
              <a:prstDash val="solid"/>
              <a:miter lim="800000"/>
              <a:headEnd type="none" w="sm" len="sm"/>
              <a:tailEnd type="none" w="sm" len="sm"/>
            </a:ln>
          </p:spPr>
        </p:cxnSp>
        <p:grpSp>
          <p:nvGrpSpPr>
            <p:cNvPr id="2" name="Group 1">
              <a:extLst>
                <a:ext uri="{FF2B5EF4-FFF2-40B4-BE49-F238E27FC236}">
                  <a16:creationId xmlns:a16="http://schemas.microsoft.com/office/drawing/2014/main" id="{76FFB995-1AC2-92C8-CB79-0E6080742B7C}"/>
                </a:ext>
                <a:ext uri="{C183D7F6-B498-43B3-948B-1728B52AA6E4}">
                  <adec:decorative xmlns:adec="http://schemas.microsoft.com/office/drawing/2017/decorative" val="1"/>
                </a:ext>
              </a:extLst>
            </p:cNvPr>
            <p:cNvGrpSpPr/>
            <p:nvPr userDrawn="1"/>
          </p:nvGrpSpPr>
          <p:grpSpPr>
            <a:xfrm>
              <a:off x="-3169102" y="-1901924"/>
              <a:ext cx="15296673" cy="6684835"/>
              <a:chOff x="-3169102" y="-1901924"/>
              <a:chExt cx="15296673" cy="6684835"/>
            </a:xfrm>
          </p:grpSpPr>
          <p:sp>
            <p:nvSpPr>
              <p:cNvPr id="568" name="Google Shape;568;p38">
                <a:extLst>
                  <a:ext uri="{C183D7F6-B498-43B3-948B-1728B52AA6E4}">
                    <adec:decorative xmlns:adec="http://schemas.microsoft.com/office/drawing/2017/decorative" val="1"/>
                  </a:ext>
                </a:extLst>
              </p:cNvPr>
              <p:cNvSpPr/>
              <p:nvPr/>
            </p:nvSpPr>
            <p:spPr>
              <a:xfrm>
                <a:off x="873365" y="2363101"/>
                <a:ext cx="1515900" cy="67800"/>
              </a:xfrm>
              <a:prstGeom prst="rect">
                <a:avLst/>
              </a:prstGeom>
              <a:gradFill>
                <a:gsLst>
                  <a:gs pos="0">
                    <a:srgbClr val="EC2B8C"/>
                  </a:gs>
                  <a:gs pos="2000">
                    <a:srgbClr val="EC2B8C"/>
                  </a:gs>
                  <a:gs pos="99000">
                    <a:srgbClr val="9477E2"/>
                  </a:gs>
                  <a:gs pos="100000">
                    <a:srgbClr val="9477E2"/>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69" name="Google Shape;569;p38">
                <a:extLst>
                  <a:ext uri="{C183D7F6-B498-43B3-948B-1728B52AA6E4}">
                    <adec:decorative xmlns:adec="http://schemas.microsoft.com/office/drawing/2017/decorative" val="1"/>
                  </a:ext>
                </a:extLst>
              </p:cNvPr>
              <p:cNvSpPr/>
              <p:nvPr/>
            </p:nvSpPr>
            <p:spPr>
              <a:xfrm>
                <a:off x="2805017" y="2363101"/>
                <a:ext cx="1515900" cy="67800"/>
              </a:xfrm>
              <a:prstGeom prst="rect">
                <a:avLst/>
              </a:prstGeom>
              <a:gradFill>
                <a:gsLst>
                  <a:gs pos="0">
                    <a:srgbClr val="9477E2"/>
                  </a:gs>
                  <a:gs pos="100000">
                    <a:srgbClr val="5C30D3"/>
                  </a:gs>
                </a:gsLst>
                <a:lin ang="0" scaled="0"/>
              </a:gradFill>
              <a:ln>
                <a:noFill/>
              </a:ln>
            </p:spPr>
            <p:txBody>
              <a:bodyPr spcFirstLastPara="1" wrap="square" lIns="42900" tIns="21450" rIns="42900" bIns="21450" anchor="ctr" anchorCtr="0">
                <a:noAutofit/>
              </a:bodyPr>
              <a:lstStyle/>
              <a:p>
                <a:pPr marL="0" lvl="0" indent="0" algn="ctr" defTabSz="1217295" eaLnBrk="1" fontAlgn="auto" latinLnBrk="0" hangingPunct="1">
                  <a:buClrTx/>
                  <a:buSzTx/>
                  <a:buFontTx/>
                  <a:buNone/>
                  <a:tabLst/>
                </a:pPr>
                <a:endParaRPr kumimoji="0" sz="1065" kern="0" spc="0" normalizeH="0" baseline="0">
                  <a:ln>
                    <a:noFill/>
                  </a:ln>
                  <a:solidFill>
                    <a:srgbClr val="FFFFFF"/>
                  </a:solidFill>
                  <a:effectLst/>
                  <a:uLnTx/>
                  <a:uFillTx/>
                  <a:latin typeface="Helvetica" pitchFamily="2" charset="0"/>
                  <a:ea typeface="Calibri"/>
                  <a:cs typeface="Calibri"/>
                  <a:sym typeface="Calibri"/>
                </a:endParaRPr>
              </a:p>
            </p:txBody>
          </p:sp>
          <p:sp>
            <p:nvSpPr>
              <p:cNvPr id="570" name="Google Shape;570;p38">
                <a:extLst>
                  <a:ext uri="{C183D7F6-B498-43B3-948B-1728B52AA6E4}">
                    <adec:decorative xmlns:adec="http://schemas.microsoft.com/office/drawing/2017/decorative" val="1"/>
                  </a:ext>
                </a:extLst>
              </p:cNvPr>
              <p:cNvSpPr/>
              <p:nvPr/>
            </p:nvSpPr>
            <p:spPr>
              <a:xfrm>
                <a:off x="4736670" y="2363101"/>
                <a:ext cx="1515900" cy="67800"/>
              </a:xfrm>
              <a:prstGeom prst="rect">
                <a:avLst/>
              </a:prstGeom>
              <a:gradFill>
                <a:gsLst>
                  <a:gs pos="0">
                    <a:schemeClr val="accent3"/>
                  </a:gs>
                  <a:gs pos="100000">
                    <a:srgbClr val="0070C0"/>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sp>
            <p:nvSpPr>
              <p:cNvPr id="571" name="Google Shape;571;p38">
                <a:extLst>
                  <a:ext uri="{C183D7F6-B498-43B3-948B-1728B52AA6E4}">
                    <adec:decorative xmlns:adec="http://schemas.microsoft.com/office/drawing/2017/decorative" val="1"/>
                  </a:ext>
                </a:extLst>
              </p:cNvPr>
              <p:cNvSpPr/>
              <p:nvPr/>
            </p:nvSpPr>
            <p:spPr>
              <a:xfrm>
                <a:off x="6668322" y="2363101"/>
                <a:ext cx="1515900" cy="67800"/>
              </a:xfrm>
              <a:prstGeom prst="rect">
                <a:avLst/>
              </a:prstGeom>
              <a:gradFill>
                <a:gsLst>
                  <a:gs pos="0">
                    <a:srgbClr val="0070C0"/>
                  </a:gs>
                  <a:gs pos="2000">
                    <a:srgbClr val="0070C0"/>
                  </a:gs>
                  <a:gs pos="100000">
                    <a:srgbClr val="1098B3"/>
                  </a:gs>
                </a:gsLst>
                <a:lin ang="0" scaled="0"/>
              </a:gradFill>
              <a:ln>
                <a:noFill/>
              </a:ln>
            </p:spPr>
            <p:txBody>
              <a:bodyPr spcFirstLastPara="1" wrap="square" lIns="42900" tIns="21450" rIns="42900" bIns="21450" anchor="ctr" anchorCtr="0">
                <a:noAutofit/>
              </a:bodyPr>
              <a:lstStyle/>
              <a:p>
                <a:pPr marL="0" marR="0" lvl="0" indent="0" algn="ctr" rtl="0">
                  <a:spcBef>
                    <a:spcPts val="0"/>
                  </a:spcBef>
                  <a:spcAft>
                    <a:spcPts val="0"/>
                  </a:spcAft>
                  <a:buNone/>
                </a:pPr>
                <a:endParaRPr sz="1065" b="0" i="0">
                  <a:solidFill>
                    <a:schemeClr val="lt1"/>
                  </a:solidFill>
                  <a:latin typeface="Helvetica" pitchFamily="2" charset="0"/>
                  <a:ea typeface="Calibri"/>
                  <a:cs typeface="Calibri"/>
                  <a:sym typeface="Calibri"/>
                </a:endParaRPr>
              </a:p>
            </p:txBody>
          </p:sp>
          <p:cxnSp>
            <p:nvCxnSpPr>
              <p:cNvPr id="573" name="Google Shape;573;p38">
                <a:extLst>
                  <a:ext uri="{C183D7F6-B498-43B3-948B-1728B52AA6E4}">
                    <adec:decorative xmlns:adec="http://schemas.microsoft.com/office/drawing/2017/decorative" val="1"/>
                  </a:ext>
                </a:extLst>
              </p:cNvPr>
              <p:cNvCxnSpPr/>
              <p:nvPr/>
            </p:nvCxnSpPr>
            <p:spPr>
              <a:xfrm>
                <a:off x="2557387" y="2528886"/>
                <a:ext cx="0" cy="1928700"/>
              </a:xfrm>
              <a:prstGeom prst="straightConnector1">
                <a:avLst/>
              </a:prstGeom>
              <a:noFill/>
              <a:ln w="12700" cap="flat" cmpd="sng">
                <a:solidFill>
                  <a:srgbClr val="627597">
                    <a:alpha val="24710"/>
                  </a:srgbClr>
                </a:solidFill>
                <a:prstDash val="solid"/>
                <a:miter lim="800000"/>
                <a:headEnd type="none" w="sm" len="sm"/>
                <a:tailEnd type="none" w="sm" len="sm"/>
              </a:ln>
            </p:spPr>
          </p:cxnSp>
          <p:cxnSp>
            <p:nvCxnSpPr>
              <p:cNvPr id="574" name="Google Shape;574;p38">
                <a:extLst>
                  <a:ext uri="{C183D7F6-B498-43B3-948B-1728B52AA6E4}">
                    <adec:decorative xmlns:adec="http://schemas.microsoft.com/office/drawing/2017/decorative" val="1"/>
                  </a:ext>
                </a:extLst>
              </p:cNvPr>
              <p:cNvCxnSpPr/>
              <p:nvPr/>
            </p:nvCxnSpPr>
            <p:spPr>
              <a:xfrm>
                <a:off x="4470724" y="2528886"/>
                <a:ext cx="0" cy="1928700"/>
              </a:xfrm>
              <a:prstGeom prst="straightConnector1">
                <a:avLst/>
              </a:prstGeom>
              <a:noFill/>
              <a:ln w="12700" cap="flat" cmpd="sng">
                <a:solidFill>
                  <a:srgbClr val="627597">
                    <a:alpha val="24710"/>
                  </a:srgbClr>
                </a:solidFill>
                <a:prstDash val="solid"/>
                <a:miter lim="800000"/>
                <a:headEnd type="none" w="sm" len="sm"/>
                <a:tailEnd type="none" w="sm" len="sm"/>
              </a:ln>
            </p:spPr>
          </p:cxnSp>
          <p:cxnSp>
            <p:nvCxnSpPr>
              <p:cNvPr id="575" name="Google Shape;575;p38">
                <a:extLst>
                  <a:ext uri="{C183D7F6-B498-43B3-948B-1728B52AA6E4}">
                    <adec:decorative xmlns:adec="http://schemas.microsoft.com/office/drawing/2017/decorative" val="1"/>
                  </a:ext>
                </a:extLst>
              </p:cNvPr>
              <p:cNvCxnSpPr/>
              <p:nvPr/>
            </p:nvCxnSpPr>
            <p:spPr>
              <a:xfrm>
                <a:off x="6425604" y="2528886"/>
                <a:ext cx="0" cy="1928700"/>
              </a:xfrm>
              <a:prstGeom prst="straightConnector1">
                <a:avLst/>
              </a:prstGeom>
              <a:noFill/>
              <a:ln w="12700" cap="flat" cmpd="sng">
                <a:solidFill>
                  <a:srgbClr val="627597">
                    <a:alpha val="24710"/>
                  </a:srgbClr>
                </a:solidFill>
                <a:prstDash val="solid"/>
                <a:miter lim="800000"/>
                <a:headEnd type="none" w="sm" len="sm"/>
                <a:tailEnd type="none" w="sm" len="sm"/>
              </a:ln>
            </p:spPr>
          </p:cxnSp>
          <p:pic>
            <p:nvPicPr>
              <p:cNvPr id="576" name="Google Shape;576;p38">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8365202" y="580234"/>
                <a:ext cx="3762369" cy="3762369"/>
              </a:xfrm>
              <a:prstGeom prst="rect">
                <a:avLst/>
              </a:prstGeom>
              <a:noFill/>
              <a:ln>
                <a:noFill/>
              </a:ln>
            </p:spPr>
          </p:pic>
          <p:cxnSp>
            <p:nvCxnSpPr>
              <p:cNvPr id="577" name="Google Shape;577;p38">
                <a:extLst>
                  <a:ext uri="{C183D7F6-B498-43B3-948B-1728B52AA6E4}">
                    <adec:decorative xmlns:adec="http://schemas.microsoft.com/office/drawing/2017/decorative" val="1"/>
                  </a:ext>
                </a:extLst>
              </p:cNvPr>
              <p:cNvCxnSpPr/>
              <p:nvPr/>
            </p:nvCxnSpPr>
            <p:spPr>
              <a:xfrm>
                <a:off x="836471" y="737356"/>
                <a:ext cx="2070300" cy="0"/>
              </a:xfrm>
              <a:prstGeom prst="straightConnector1">
                <a:avLst/>
              </a:prstGeom>
              <a:noFill/>
              <a:ln w="12700" cap="flat" cmpd="sng">
                <a:solidFill>
                  <a:srgbClr val="627597"/>
                </a:solidFill>
                <a:prstDash val="solid"/>
                <a:miter lim="800000"/>
                <a:headEnd type="none" w="sm" len="sm"/>
                <a:tailEnd type="none" w="sm" len="sm"/>
              </a:ln>
            </p:spPr>
          </p:cxnSp>
          <p:pic>
            <p:nvPicPr>
              <p:cNvPr id="578" name="Google Shape;578;p38">
                <a:extLst>
                  <a:ext uri="{C183D7F6-B498-43B3-948B-1728B52AA6E4}">
                    <adec:decorative xmlns:adec="http://schemas.microsoft.com/office/drawing/2017/decorative" val="1"/>
                  </a:ext>
                </a:extLst>
              </p:cNvPr>
              <p:cNvPicPr preferRelativeResize="0"/>
              <p:nvPr/>
            </p:nvPicPr>
            <p:blipFill rotWithShape="1">
              <a:blip r:embed="rId2">
                <a:alphaModFix amt="30000"/>
              </a:blip>
              <a:srcRect/>
              <a:stretch/>
            </p:blipFill>
            <p:spPr>
              <a:xfrm>
                <a:off x="-3169102" y="-1901924"/>
                <a:ext cx="3762369" cy="3762369"/>
              </a:xfrm>
              <a:prstGeom prst="rect">
                <a:avLst/>
              </a:prstGeom>
              <a:noFill/>
              <a:ln>
                <a:noFill/>
              </a:ln>
            </p:spPr>
          </p:pic>
          <p:cxnSp>
            <p:nvCxnSpPr>
              <p:cNvPr id="35" name="Google Shape;67;p15">
                <a:extLst>
                  <a:ext uri="{FF2B5EF4-FFF2-40B4-BE49-F238E27FC236}">
                    <a16:creationId xmlns:a16="http://schemas.microsoft.com/office/drawing/2014/main" id="{1C406079-9924-AB4F-BE36-22D2C3846BDD}"/>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grpSp>
      </p:grpSp>
      <p:sp>
        <p:nvSpPr>
          <p:cNvPr id="580" name="Google Shape;580;p38"/>
          <p:cNvSpPr txBox="1">
            <a:spLocks noGrp="1"/>
          </p:cNvSpPr>
          <p:nvPr>
            <p:ph type="title"/>
          </p:nvPr>
        </p:nvSpPr>
        <p:spPr>
          <a:xfrm>
            <a:off x="1072896" y="1377696"/>
            <a:ext cx="39744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579" name="Google Shape;579;p38"/>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spcBef>
                <a:spcPts val="0"/>
              </a:spcBef>
              <a:spcAft>
                <a:spcPts val="0"/>
              </a:spcAft>
              <a:buSzPts val="800"/>
              <a:buNone/>
              <a:defRPr sz="1065"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dirty="0"/>
          </a:p>
        </p:txBody>
      </p:sp>
      <p:sp>
        <p:nvSpPr>
          <p:cNvPr id="581" name="Google Shape;581;p38"/>
          <p:cNvSpPr txBox="1">
            <a:spLocks noGrp="1"/>
          </p:cNvSpPr>
          <p:nvPr>
            <p:ph type="body" idx="2"/>
          </p:nvPr>
        </p:nvSpPr>
        <p:spPr>
          <a:xfrm>
            <a:off x="5254752" y="1487424"/>
            <a:ext cx="4047600" cy="1085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590" name="Google Shape;590;p38"/>
          <p:cNvSpPr>
            <a:spLocks noGrp="1"/>
          </p:cNvSpPr>
          <p:nvPr>
            <p:ph type="pic" idx="14"/>
          </p:nvPr>
        </p:nvSpPr>
        <p:spPr>
          <a:xfrm>
            <a:off x="1170432" y="3352800"/>
            <a:ext cx="890000" cy="890000"/>
          </a:xfrm>
          <a:prstGeom prst="ellipse">
            <a:avLst/>
          </a:prstGeom>
          <a:noFill/>
          <a:ln>
            <a:noFill/>
          </a:ln>
        </p:spPr>
        <p:txBody>
          <a:bodyPr anchor="ctr"/>
          <a:lstStyle>
            <a:lvl1pPr marL="0" indent="0" algn="ctr">
              <a:buNone/>
              <a:defRPr sz="932" b="0" i="0">
                <a:latin typeface="Helvetica" pitchFamily="2" charset="0"/>
              </a:defRPr>
            </a:lvl1pPr>
          </a:lstStyle>
          <a:p>
            <a:endParaRPr lang="en-US" dirty="0"/>
          </a:p>
        </p:txBody>
      </p:sp>
      <p:sp>
        <p:nvSpPr>
          <p:cNvPr id="586" name="Google Shape;586;p38"/>
          <p:cNvSpPr txBox="1">
            <a:spLocks noGrp="1"/>
          </p:cNvSpPr>
          <p:nvPr>
            <p:ph type="subTitle" idx="7"/>
          </p:nvPr>
        </p:nvSpPr>
        <p:spPr>
          <a:xfrm>
            <a:off x="2194560" y="3706368"/>
            <a:ext cx="1012000" cy="231600"/>
          </a:xfrm>
          <a:prstGeom prst="rect">
            <a:avLst/>
          </a:prstGeom>
        </p:spPr>
        <p:txBody>
          <a:bodyPr spcFirstLastPara="1" wrap="square" lIns="45700" tIns="18275" rIns="45700" bIns="18275" anchor="t" anchorCtr="0">
            <a:noAutofit/>
          </a:bodyPr>
          <a:lstStyle>
            <a:lvl1pPr marL="0" lvl="0" indent="0">
              <a:spcBef>
                <a:spcPts val="0"/>
              </a:spcBef>
              <a:spcAft>
                <a:spcPts val="0"/>
              </a:spcAft>
              <a:buClr>
                <a:schemeClr val="lt1"/>
              </a:buClr>
              <a:buSzPts val="800"/>
              <a:buNone/>
              <a:defRPr sz="1065" b="1" i="0">
                <a:solidFill>
                  <a:schemeClr val="lt1"/>
                </a:solidFill>
                <a:latin typeface="Helvetica" pitchFamily="2" charset="0"/>
              </a:defRPr>
            </a:lvl1pPr>
            <a:lvl2pPr lvl="1">
              <a:spcBef>
                <a:spcPts val="0"/>
              </a:spcBef>
              <a:spcAft>
                <a:spcPts val="0"/>
              </a:spcAft>
              <a:buClr>
                <a:schemeClr val="lt1"/>
              </a:buClr>
              <a:buSzPts val="800"/>
              <a:buNone/>
              <a:defRPr sz="1065">
                <a:solidFill>
                  <a:schemeClr val="lt1"/>
                </a:solidFill>
              </a:defRPr>
            </a:lvl2pPr>
            <a:lvl3pPr lvl="2">
              <a:spcBef>
                <a:spcPts val="0"/>
              </a:spcBef>
              <a:spcAft>
                <a:spcPts val="0"/>
              </a:spcAft>
              <a:buClr>
                <a:schemeClr val="lt1"/>
              </a:buClr>
              <a:buSzPts val="800"/>
              <a:buNone/>
              <a:defRPr sz="1065">
                <a:solidFill>
                  <a:schemeClr val="lt1"/>
                </a:solidFill>
              </a:defRPr>
            </a:lvl3pPr>
            <a:lvl4pPr lvl="3">
              <a:spcBef>
                <a:spcPts val="0"/>
              </a:spcBef>
              <a:spcAft>
                <a:spcPts val="0"/>
              </a:spcAft>
              <a:buClr>
                <a:schemeClr val="lt1"/>
              </a:buClr>
              <a:buSzPts val="800"/>
              <a:buNone/>
              <a:defRPr sz="1065">
                <a:solidFill>
                  <a:schemeClr val="lt1"/>
                </a:solidFill>
              </a:defRPr>
            </a:lvl4pPr>
            <a:lvl5pPr lvl="4">
              <a:spcBef>
                <a:spcPts val="0"/>
              </a:spcBef>
              <a:spcAft>
                <a:spcPts val="0"/>
              </a:spcAft>
              <a:buClr>
                <a:schemeClr val="lt1"/>
              </a:buClr>
              <a:buSzPts val="800"/>
              <a:buNone/>
              <a:defRPr sz="1065">
                <a:solidFill>
                  <a:schemeClr val="lt1"/>
                </a:solidFill>
              </a:defRPr>
            </a:lvl5pPr>
            <a:lvl6pPr lvl="5">
              <a:spcBef>
                <a:spcPts val="0"/>
              </a:spcBef>
              <a:spcAft>
                <a:spcPts val="0"/>
              </a:spcAft>
              <a:buClr>
                <a:schemeClr val="lt1"/>
              </a:buClr>
              <a:buSzPts val="800"/>
              <a:buNone/>
              <a:defRPr sz="1065">
                <a:solidFill>
                  <a:schemeClr val="lt1"/>
                </a:solidFill>
              </a:defRPr>
            </a:lvl6pPr>
            <a:lvl7pPr lvl="6">
              <a:spcBef>
                <a:spcPts val="0"/>
              </a:spcBef>
              <a:spcAft>
                <a:spcPts val="0"/>
              </a:spcAft>
              <a:buClr>
                <a:schemeClr val="lt1"/>
              </a:buClr>
              <a:buSzPts val="800"/>
              <a:buNone/>
              <a:defRPr sz="1065">
                <a:solidFill>
                  <a:schemeClr val="lt1"/>
                </a:solidFill>
              </a:defRPr>
            </a:lvl7pPr>
            <a:lvl8pPr lvl="7">
              <a:spcBef>
                <a:spcPts val="0"/>
              </a:spcBef>
              <a:spcAft>
                <a:spcPts val="0"/>
              </a:spcAft>
              <a:buClr>
                <a:schemeClr val="lt1"/>
              </a:buClr>
              <a:buSzPts val="800"/>
              <a:buNone/>
              <a:defRPr sz="1065">
                <a:solidFill>
                  <a:schemeClr val="lt1"/>
                </a:solidFill>
              </a:defRPr>
            </a:lvl8pPr>
            <a:lvl9pPr lvl="8">
              <a:spcBef>
                <a:spcPts val="0"/>
              </a:spcBef>
              <a:spcAft>
                <a:spcPts val="0"/>
              </a:spcAft>
              <a:buClr>
                <a:schemeClr val="lt1"/>
              </a:buClr>
              <a:buSzPts val="800"/>
              <a:buNone/>
              <a:defRPr sz="1065">
                <a:solidFill>
                  <a:schemeClr val="lt1"/>
                </a:solidFill>
              </a:defRPr>
            </a:lvl9pPr>
          </a:lstStyle>
          <a:p>
            <a:endParaRPr dirty="0"/>
          </a:p>
        </p:txBody>
      </p:sp>
      <p:sp>
        <p:nvSpPr>
          <p:cNvPr id="582" name="Google Shape;582;p38"/>
          <p:cNvSpPr txBox="1">
            <a:spLocks noGrp="1"/>
          </p:cNvSpPr>
          <p:nvPr>
            <p:ph type="body" idx="3"/>
          </p:nvPr>
        </p:nvSpPr>
        <p:spPr>
          <a:xfrm>
            <a:off x="1170432"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1" name="Google Shape;590;p38">
            <a:extLst>
              <a:ext uri="{FF2B5EF4-FFF2-40B4-BE49-F238E27FC236}">
                <a16:creationId xmlns:a16="http://schemas.microsoft.com/office/drawing/2014/main" id="{2C3D5224-D6CC-3846-AA09-356860C31786}"/>
              </a:ext>
            </a:extLst>
          </p:cNvPr>
          <p:cNvSpPr>
            <a:spLocks noGrp="1"/>
          </p:cNvSpPr>
          <p:nvPr>
            <p:ph type="pic" idx="15"/>
          </p:nvPr>
        </p:nvSpPr>
        <p:spPr>
          <a:xfrm>
            <a:off x="3742944" y="3352800"/>
            <a:ext cx="890000" cy="890000"/>
          </a:xfrm>
          <a:prstGeom prst="ellipse">
            <a:avLst/>
          </a:prstGeom>
          <a:noFill/>
          <a:ln>
            <a:noFill/>
          </a:ln>
        </p:spPr>
        <p:txBody>
          <a:bodyPr anchor="ctr"/>
          <a:lstStyle>
            <a:lvl1pPr marL="0" indent="0" algn="ctr">
              <a:buNone/>
              <a:defRPr sz="932" b="0" i="0">
                <a:latin typeface="Helvetica" pitchFamily="2" charset="0"/>
              </a:defRPr>
            </a:lvl1pPr>
          </a:lstStyle>
          <a:p>
            <a:endParaRPr lang="en-US" dirty="0"/>
          </a:p>
        </p:txBody>
      </p:sp>
      <p:sp>
        <p:nvSpPr>
          <p:cNvPr id="587" name="Google Shape;587;p38"/>
          <p:cNvSpPr txBox="1">
            <a:spLocks noGrp="1"/>
          </p:cNvSpPr>
          <p:nvPr>
            <p:ph type="subTitle" idx="8"/>
          </p:nvPr>
        </p:nvSpPr>
        <p:spPr>
          <a:xfrm>
            <a:off x="4767072"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1" i="0">
                <a:solidFill>
                  <a:schemeClr val="lt1"/>
                </a:solidFill>
                <a:latin typeface="Helvetica" pitchFamily="2" charset="0"/>
              </a:defRPr>
            </a:lvl1pPr>
            <a:lvl2pPr lvl="1" rtl="0">
              <a:spcBef>
                <a:spcPts val="0"/>
              </a:spcBef>
              <a:spcAft>
                <a:spcPts val="0"/>
              </a:spcAft>
              <a:buClr>
                <a:schemeClr val="lt1"/>
              </a:buClr>
              <a:buSzPts val="800"/>
              <a:buNone/>
              <a:defRPr sz="1065">
                <a:solidFill>
                  <a:schemeClr val="lt1"/>
                </a:solidFill>
              </a:defRPr>
            </a:lvl2pPr>
            <a:lvl3pPr lvl="2" rtl="0">
              <a:spcBef>
                <a:spcPts val="0"/>
              </a:spcBef>
              <a:spcAft>
                <a:spcPts val="0"/>
              </a:spcAft>
              <a:buClr>
                <a:schemeClr val="lt1"/>
              </a:buClr>
              <a:buSzPts val="800"/>
              <a:buNone/>
              <a:defRPr sz="1065">
                <a:solidFill>
                  <a:schemeClr val="lt1"/>
                </a:solidFill>
              </a:defRPr>
            </a:lvl3pPr>
            <a:lvl4pPr lvl="3" rtl="0">
              <a:spcBef>
                <a:spcPts val="0"/>
              </a:spcBef>
              <a:spcAft>
                <a:spcPts val="0"/>
              </a:spcAft>
              <a:buClr>
                <a:schemeClr val="lt1"/>
              </a:buClr>
              <a:buSzPts val="800"/>
              <a:buNone/>
              <a:defRPr sz="1065">
                <a:solidFill>
                  <a:schemeClr val="lt1"/>
                </a:solidFill>
              </a:defRPr>
            </a:lvl4pPr>
            <a:lvl5pPr lvl="4" rtl="0">
              <a:spcBef>
                <a:spcPts val="0"/>
              </a:spcBef>
              <a:spcAft>
                <a:spcPts val="0"/>
              </a:spcAft>
              <a:buClr>
                <a:schemeClr val="lt1"/>
              </a:buClr>
              <a:buSzPts val="800"/>
              <a:buNone/>
              <a:defRPr sz="1065">
                <a:solidFill>
                  <a:schemeClr val="lt1"/>
                </a:solidFill>
              </a:defRPr>
            </a:lvl5pPr>
            <a:lvl6pPr lvl="5" rtl="0">
              <a:spcBef>
                <a:spcPts val="0"/>
              </a:spcBef>
              <a:spcAft>
                <a:spcPts val="0"/>
              </a:spcAft>
              <a:buClr>
                <a:schemeClr val="lt1"/>
              </a:buClr>
              <a:buSzPts val="800"/>
              <a:buNone/>
              <a:defRPr sz="1065">
                <a:solidFill>
                  <a:schemeClr val="lt1"/>
                </a:solidFill>
              </a:defRPr>
            </a:lvl6pPr>
            <a:lvl7pPr lvl="6" rtl="0">
              <a:spcBef>
                <a:spcPts val="0"/>
              </a:spcBef>
              <a:spcAft>
                <a:spcPts val="0"/>
              </a:spcAft>
              <a:buClr>
                <a:schemeClr val="lt1"/>
              </a:buClr>
              <a:buSzPts val="800"/>
              <a:buNone/>
              <a:defRPr sz="1065">
                <a:solidFill>
                  <a:schemeClr val="lt1"/>
                </a:solidFill>
              </a:defRPr>
            </a:lvl7pPr>
            <a:lvl8pPr lvl="7" rtl="0">
              <a:spcBef>
                <a:spcPts val="0"/>
              </a:spcBef>
              <a:spcAft>
                <a:spcPts val="0"/>
              </a:spcAft>
              <a:buClr>
                <a:schemeClr val="lt1"/>
              </a:buClr>
              <a:buSzPts val="800"/>
              <a:buNone/>
              <a:defRPr sz="1065">
                <a:solidFill>
                  <a:schemeClr val="lt1"/>
                </a:solidFill>
              </a:defRPr>
            </a:lvl8pPr>
            <a:lvl9pPr lvl="8" rtl="0">
              <a:spcBef>
                <a:spcPts val="0"/>
              </a:spcBef>
              <a:spcAft>
                <a:spcPts val="0"/>
              </a:spcAft>
              <a:buClr>
                <a:schemeClr val="lt1"/>
              </a:buClr>
              <a:buSzPts val="800"/>
              <a:buNone/>
              <a:defRPr sz="1065">
                <a:solidFill>
                  <a:schemeClr val="lt1"/>
                </a:solidFill>
              </a:defRPr>
            </a:lvl9pPr>
          </a:lstStyle>
          <a:p>
            <a:endParaRPr dirty="0"/>
          </a:p>
        </p:txBody>
      </p:sp>
      <p:sp>
        <p:nvSpPr>
          <p:cNvPr id="583" name="Google Shape;583;p38"/>
          <p:cNvSpPr txBox="1">
            <a:spLocks noGrp="1"/>
          </p:cNvSpPr>
          <p:nvPr>
            <p:ph type="body" idx="4"/>
          </p:nvPr>
        </p:nvSpPr>
        <p:spPr>
          <a:xfrm>
            <a:off x="3742944"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2" name="Google Shape;590;p38">
            <a:extLst>
              <a:ext uri="{FF2B5EF4-FFF2-40B4-BE49-F238E27FC236}">
                <a16:creationId xmlns:a16="http://schemas.microsoft.com/office/drawing/2014/main" id="{BEAD86EF-61D2-F442-9F95-4C0EE4385E46}"/>
              </a:ext>
            </a:extLst>
          </p:cNvPr>
          <p:cNvSpPr>
            <a:spLocks noGrp="1"/>
          </p:cNvSpPr>
          <p:nvPr>
            <p:ph type="pic" idx="16"/>
          </p:nvPr>
        </p:nvSpPr>
        <p:spPr>
          <a:xfrm>
            <a:off x="6266688" y="3352800"/>
            <a:ext cx="890000" cy="890000"/>
          </a:xfrm>
          <a:prstGeom prst="ellipse">
            <a:avLst/>
          </a:prstGeom>
          <a:noFill/>
          <a:ln>
            <a:noFill/>
          </a:ln>
        </p:spPr>
        <p:txBody>
          <a:bodyPr anchor="ctr"/>
          <a:lstStyle>
            <a:lvl1pPr marL="0" indent="0" algn="ctr">
              <a:buNone/>
              <a:defRPr sz="932" b="0" i="0">
                <a:latin typeface="Helvetica" pitchFamily="2" charset="0"/>
              </a:defRPr>
            </a:lvl1pPr>
          </a:lstStyle>
          <a:p>
            <a:endParaRPr lang="en-US" dirty="0"/>
          </a:p>
        </p:txBody>
      </p:sp>
      <p:sp>
        <p:nvSpPr>
          <p:cNvPr id="588" name="Google Shape;588;p38"/>
          <p:cNvSpPr txBox="1">
            <a:spLocks noGrp="1"/>
          </p:cNvSpPr>
          <p:nvPr>
            <p:ph type="subTitle" idx="9"/>
          </p:nvPr>
        </p:nvSpPr>
        <p:spPr>
          <a:xfrm>
            <a:off x="7327392"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1" i="0">
                <a:solidFill>
                  <a:schemeClr val="lt1"/>
                </a:solidFill>
                <a:latin typeface="Helvetica" pitchFamily="2" charset="0"/>
              </a:defRPr>
            </a:lvl1pPr>
            <a:lvl2pPr lvl="1" rtl="0">
              <a:spcBef>
                <a:spcPts val="0"/>
              </a:spcBef>
              <a:spcAft>
                <a:spcPts val="0"/>
              </a:spcAft>
              <a:buClr>
                <a:schemeClr val="lt1"/>
              </a:buClr>
              <a:buSzPts val="800"/>
              <a:buNone/>
              <a:defRPr sz="1065">
                <a:solidFill>
                  <a:schemeClr val="lt1"/>
                </a:solidFill>
              </a:defRPr>
            </a:lvl2pPr>
            <a:lvl3pPr lvl="2" rtl="0">
              <a:spcBef>
                <a:spcPts val="0"/>
              </a:spcBef>
              <a:spcAft>
                <a:spcPts val="0"/>
              </a:spcAft>
              <a:buClr>
                <a:schemeClr val="lt1"/>
              </a:buClr>
              <a:buSzPts val="800"/>
              <a:buNone/>
              <a:defRPr sz="1065">
                <a:solidFill>
                  <a:schemeClr val="lt1"/>
                </a:solidFill>
              </a:defRPr>
            </a:lvl3pPr>
            <a:lvl4pPr lvl="3" rtl="0">
              <a:spcBef>
                <a:spcPts val="0"/>
              </a:spcBef>
              <a:spcAft>
                <a:spcPts val="0"/>
              </a:spcAft>
              <a:buClr>
                <a:schemeClr val="lt1"/>
              </a:buClr>
              <a:buSzPts val="800"/>
              <a:buNone/>
              <a:defRPr sz="1065">
                <a:solidFill>
                  <a:schemeClr val="lt1"/>
                </a:solidFill>
              </a:defRPr>
            </a:lvl4pPr>
            <a:lvl5pPr lvl="4" rtl="0">
              <a:spcBef>
                <a:spcPts val="0"/>
              </a:spcBef>
              <a:spcAft>
                <a:spcPts val="0"/>
              </a:spcAft>
              <a:buClr>
                <a:schemeClr val="lt1"/>
              </a:buClr>
              <a:buSzPts val="800"/>
              <a:buNone/>
              <a:defRPr sz="1065">
                <a:solidFill>
                  <a:schemeClr val="lt1"/>
                </a:solidFill>
              </a:defRPr>
            </a:lvl5pPr>
            <a:lvl6pPr lvl="5" rtl="0">
              <a:spcBef>
                <a:spcPts val="0"/>
              </a:spcBef>
              <a:spcAft>
                <a:spcPts val="0"/>
              </a:spcAft>
              <a:buClr>
                <a:schemeClr val="lt1"/>
              </a:buClr>
              <a:buSzPts val="800"/>
              <a:buNone/>
              <a:defRPr sz="1065">
                <a:solidFill>
                  <a:schemeClr val="lt1"/>
                </a:solidFill>
              </a:defRPr>
            </a:lvl6pPr>
            <a:lvl7pPr lvl="6" rtl="0">
              <a:spcBef>
                <a:spcPts val="0"/>
              </a:spcBef>
              <a:spcAft>
                <a:spcPts val="0"/>
              </a:spcAft>
              <a:buClr>
                <a:schemeClr val="lt1"/>
              </a:buClr>
              <a:buSzPts val="800"/>
              <a:buNone/>
              <a:defRPr sz="1065">
                <a:solidFill>
                  <a:schemeClr val="lt1"/>
                </a:solidFill>
              </a:defRPr>
            </a:lvl7pPr>
            <a:lvl8pPr lvl="7" rtl="0">
              <a:spcBef>
                <a:spcPts val="0"/>
              </a:spcBef>
              <a:spcAft>
                <a:spcPts val="0"/>
              </a:spcAft>
              <a:buClr>
                <a:schemeClr val="lt1"/>
              </a:buClr>
              <a:buSzPts val="800"/>
              <a:buNone/>
              <a:defRPr sz="1065">
                <a:solidFill>
                  <a:schemeClr val="lt1"/>
                </a:solidFill>
              </a:defRPr>
            </a:lvl8pPr>
            <a:lvl9pPr lvl="8" rtl="0">
              <a:spcBef>
                <a:spcPts val="0"/>
              </a:spcBef>
              <a:spcAft>
                <a:spcPts val="0"/>
              </a:spcAft>
              <a:buClr>
                <a:schemeClr val="lt1"/>
              </a:buClr>
              <a:buSzPts val="800"/>
              <a:buNone/>
              <a:defRPr sz="1065">
                <a:solidFill>
                  <a:schemeClr val="lt1"/>
                </a:solidFill>
              </a:defRPr>
            </a:lvl9pPr>
          </a:lstStyle>
          <a:p>
            <a:endParaRPr dirty="0"/>
          </a:p>
        </p:txBody>
      </p:sp>
      <p:sp>
        <p:nvSpPr>
          <p:cNvPr id="584" name="Google Shape;584;p38"/>
          <p:cNvSpPr txBox="1">
            <a:spLocks noGrp="1"/>
          </p:cNvSpPr>
          <p:nvPr>
            <p:ph type="body" idx="5"/>
          </p:nvPr>
        </p:nvSpPr>
        <p:spPr>
          <a:xfrm>
            <a:off x="6266688"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3" name="Google Shape;590;p38">
            <a:extLst>
              <a:ext uri="{FF2B5EF4-FFF2-40B4-BE49-F238E27FC236}">
                <a16:creationId xmlns:a16="http://schemas.microsoft.com/office/drawing/2014/main" id="{4979726F-DCA6-4C48-B0E4-43DF0E5998B1}"/>
              </a:ext>
            </a:extLst>
          </p:cNvPr>
          <p:cNvSpPr>
            <a:spLocks noGrp="1"/>
          </p:cNvSpPr>
          <p:nvPr>
            <p:ph type="pic" idx="17"/>
          </p:nvPr>
        </p:nvSpPr>
        <p:spPr>
          <a:xfrm>
            <a:off x="8887968" y="3352800"/>
            <a:ext cx="890000" cy="890000"/>
          </a:xfrm>
          <a:prstGeom prst="ellipse">
            <a:avLst/>
          </a:prstGeom>
          <a:noFill/>
          <a:ln>
            <a:noFill/>
          </a:ln>
        </p:spPr>
        <p:txBody>
          <a:bodyPr anchor="ctr"/>
          <a:lstStyle>
            <a:lvl1pPr marL="0" indent="0" algn="ctr">
              <a:buNone/>
              <a:defRPr sz="932" b="0" i="0">
                <a:latin typeface="Helvetica" pitchFamily="2" charset="0"/>
              </a:defRPr>
            </a:lvl1pPr>
          </a:lstStyle>
          <a:p>
            <a:endParaRPr lang="en-US" dirty="0"/>
          </a:p>
        </p:txBody>
      </p:sp>
      <p:sp>
        <p:nvSpPr>
          <p:cNvPr id="589" name="Google Shape;589;p38"/>
          <p:cNvSpPr txBox="1">
            <a:spLocks noGrp="1"/>
          </p:cNvSpPr>
          <p:nvPr>
            <p:ph type="subTitle" idx="13"/>
          </p:nvPr>
        </p:nvSpPr>
        <p:spPr>
          <a:xfrm>
            <a:off x="9899904"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5" b="1" i="0">
                <a:solidFill>
                  <a:schemeClr val="lt1"/>
                </a:solidFill>
                <a:latin typeface="Helvetica" pitchFamily="2" charset="0"/>
              </a:defRPr>
            </a:lvl1pPr>
            <a:lvl2pPr lvl="1" rtl="0">
              <a:spcBef>
                <a:spcPts val="0"/>
              </a:spcBef>
              <a:spcAft>
                <a:spcPts val="0"/>
              </a:spcAft>
              <a:buClr>
                <a:schemeClr val="lt1"/>
              </a:buClr>
              <a:buSzPts val="800"/>
              <a:buNone/>
              <a:defRPr sz="1065">
                <a:solidFill>
                  <a:schemeClr val="lt1"/>
                </a:solidFill>
              </a:defRPr>
            </a:lvl2pPr>
            <a:lvl3pPr lvl="2" rtl="0">
              <a:spcBef>
                <a:spcPts val="0"/>
              </a:spcBef>
              <a:spcAft>
                <a:spcPts val="0"/>
              </a:spcAft>
              <a:buClr>
                <a:schemeClr val="lt1"/>
              </a:buClr>
              <a:buSzPts val="800"/>
              <a:buNone/>
              <a:defRPr sz="1065">
                <a:solidFill>
                  <a:schemeClr val="lt1"/>
                </a:solidFill>
              </a:defRPr>
            </a:lvl3pPr>
            <a:lvl4pPr lvl="3" rtl="0">
              <a:spcBef>
                <a:spcPts val="0"/>
              </a:spcBef>
              <a:spcAft>
                <a:spcPts val="0"/>
              </a:spcAft>
              <a:buClr>
                <a:schemeClr val="lt1"/>
              </a:buClr>
              <a:buSzPts val="800"/>
              <a:buNone/>
              <a:defRPr sz="1065">
                <a:solidFill>
                  <a:schemeClr val="lt1"/>
                </a:solidFill>
              </a:defRPr>
            </a:lvl4pPr>
            <a:lvl5pPr lvl="4" rtl="0">
              <a:spcBef>
                <a:spcPts val="0"/>
              </a:spcBef>
              <a:spcAft>
                <a:spcPts val="0"/>
              </a:spcAft>
              <a:buClr>
                <a:schemeClr val="lt1"/>
              </a:buClr>
              <a:buSzPts val="800"/>
              <a:buNone/>
              <a:defRPr sz="1065">
                <a:solidFill>
                  <a:schemeClr val="lt1"/>
                </a:solidFill>
              </a:defRPr>
            </a:lvl5pPr>
            <a:lvl6pPr lvl="5" rtl="0">
              <a:spcBef>
                <a:spcPts val="0"/>
              </a:spcBef>
              <a:spcAft>
                <a:spcPts val="0"/>
              </a:spcAft>
              <a:buClr>
                <a:schemeClr val="lt1"/>
              </a:buClr>
              <a:buSzPts val="800"/>
              <a:buNone/>
              <a:defRPr sz="1065">
                <a:solidFill>
                  <a:schemeClr val="lt1"/>
                </a:solidFill>
              </a:defRPr>
            </a:lvl6pPr>
            <a:lvl7pPr lvl="6" rtl="0">
              <a:spcBef>
                <a:spcPts val="0"/>
              </a:spcBef>
              <a:spcAft>
                <a:spcPts val="0"/>
              </a:spcAft>
              <a:buClr>
                <a:schemeClr val="lt1"/>
              </a:buClr>
              <a:buSzPts val="800"/>
              <a:buNone/>
              <a:defRPr sz="1065">
                <a:solidFill>
                  <a:schemeClr val="lt1"/>
                </a:solidFill>
              </a:defRPr>
            </a:lvl7pPr>
            <a:lvl8pPr lvl="7" rtl="0">
              <a:spcBef>
                <a:spcPts val="0"/>
              </a:spcBef>
              <a:spcAft>
                <a:spcPts val="0"/>
              </a:spcAft>
              <a:buClr>
                <a:schemeClr val="lt1"/>
              </a:buClr>
              <a:buSzPts val="800"/>
              <a:buNone/>
              <a:defRPr sz="1065">
                <a:solidFill>
                  <a:schemeClr val="lt1"/>
                </a:solidFill>
              </a:defRPr>
            </a:lvl8pPr>
            <a:lvl9pPr lvl="8" rtl="0">
              <a:spcBef>
                <a:spcPts val="0"/>
              </a:spcBef>
              <a:spcAft>
                <a:spcPts val="0"/>
              </a:spcAft>
              <a:buClr>
                <a:schemeClr val="lt1"/>
              </a:buClr>
              <a:buSzPts val="800"/>
              <a:buNone/>
              <a:defRPr sz="1065">
                <a:solidFill>
                  <a:schemeClr val="lt1"/>
                </a:solidFill>
              </a:defRPr>
            </a:lvl9pPr>
          </a:lstStyle>
          <a:p>
            <a:endParaRPr dirty="0"/>
          </a:p>
        </p:txBody>
      </p:sp>
      <p:sp>
        <p:nvSpPr>
          <p:cNvPr id="585" name="Google Shape;585;p38"/>
          <p:cNvSpPr txBox="1">
            <a:spLocks noGrp="1"/>
          </p:cNvSpPr>
          <p:nvPr>
            <p:ph type="body" idx="6"/>
          </p:nvPr>
        </p:nvSpPr>
        <p:spPr>
          <a:xfrm>
            <a:off x="8887968"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5" b="0" i="0">
                <a:latin typeface="Helvetica" pitchFamily="2" charset="0"/>
              </a:defRPr>
            </a:lvl1pPr>
            <a:lvl2pPr marL="1217295" lvl="1" indent="-371951" rtl="0">
              <a:spcBef>
                <a:spcPts val="0"/>
              </a:spcBef>
              <a:spcAft>
                <a:spcPts val="0"/>
              </a:spcAft>
              <a:buSzPts val="800"/>
              <a:buChar char="○"/>
              <a:defRPr sz="1065"/>
            </a:lvl2pPr>
            <a:lvl3pPr marL="1825943" lvl="2" indent="-371951" rtl="0">
              <a:spcBef>
                <a:spcPts val="0"/>
              </a:spcBef>
              <a:spcAft>
                <a:spcPts val="0"/>
              </a:spcAft>
              <a:buSzPts val="800"/>
              <a:buChar char="■"/>
              <a:defRPr sz="1065"/>
            </a:lvl3pPr>
            <a:lvl4pPr marL="2434590" lvl="3" indent="-371951" rtl="0">
              <a:spcBef>
                <a:spcPts val="0"/>
              </a:spcBef>
              <a:spcAft>
                <a:spcPts val="0"/>
              </a:spcAft>
              <a:buSzPts val="800"/>
              <a:buChar char="●"/>
              <a:defRPr sz="1065"/>
            </a:lvl4pPr>
            <a:lvl5pPr marL="3043238" lvl="4" indent="-371951" rtl="0">
              <a:spcBef>
                <a:spcPts val="0"/>
              </a:spcBef>
              <a:spcAft>
                <a:spcPts val="0"/>
              </a:spcAft>
              <a:buSzPts val="800"/>
              <a:buChar char="○"/>
              <a:defRPr sz="1065"/>
            </a:lvl5pPr>
            <a:lvl6pPr marL="3651885" lvl="5" indent="-371951" rtl="0">
              <a:spcBef>
                <a:spcPts val="0"/>
              </a:spcBef>
              <a:spcAft>
                <a:spcPts val="0"/>
              </a:spcAft>
              <a:buSzPts val="800"/>
              <a:buChar char="■"/>
              <a:defRPr sz="1065"/>
            </a:lvl6pPr>
            <a:lvl7pPr marL="4260533" lvl="6" indent="-371951" rtl="0">
              <a:spcBef>
                <a:spcPts val="0"/>
              </a:spcBef>
              <a:spcAft>
                <a:spcPts val="0"/>
              </a:spcAft>
              <a:buSzPts val="800"/>
              <a:buChar char="●"/>
              <a:defRPr sz="1065"/>
            </a:lvl7pPr>
            <a:lvl8pPr marL="4869180" lvl="7" indent="-371951" rtl="0">
              <a:spcBef>
                <a:spcPts val="0"/>
              </a:spcBef>
              <a:spcAft>
                <a:spcPts val="0"/>
              </a:spcAft>
              <a:buSzPts val="800"/>
              <a:buChar char="○"/>
              <a:defRPr sz="1065"/>
            </a:lvl8pPr>
            <a:lvl9pPr marL="5477828" lvl="8" indent="-371951" rtl="0">
              <a:spcBef>
                <a:spcPts val="0"/>
              </a:spcBef>
              <a:spcAft>
                <a:spcPts val="0"/>
              </a:spcAft>
              <a:buSzPts val="800"/>
              <a:buChar char="■"/>
              <a:defRPr sz="1065"/>
            </a:lvl9pPr>
          </a:lstStyle>
          <a:p>
            <a:endParaRPr dirty="0"/>
          </a:p>
        </p:txBody>
      </p:sp>
      <p:sp>
        <p:nvSpPr>
          <p:cNvPr id="34" name="Google Shape;268;p27">
            <a:extLst>
              <a:ext uri="{FF2B5EF4-FFF2-40B4-BE49-F238E27FC236}">
                <a16:creationId xmlns:a16="http://schemas.microsoft.com/office/drawing/2014/main" id="{928080BF-F9DA-2E4C-A63D-D9BE35945435}"/>
              </a:ext>
              <a:ext uri="{C183D7F6-B498-43B3-948B-1728B52AA6E4}">
                <adec:decorative xmlns:adec="http://schemas.microsoft.com/office/drawing/2017/decorative" val="0"/>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sp>
        <p:nvSpPr>
          <p:cNvPr id="7" name="Google Shape;56;p14">
            <a:extLst>
              <a:ext uri="{FF2B5EF4-FFF2-40B4-BE49-F238E27FC236}">
                <a16:creationId xmlns:a16="http://schemas.microsoft.com/office/drawing/2014/main" id="{0D5E0013-1CA4-5182-42FD-75D35EE4664C}"/>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408600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matchingName="Right-Side Copy" preserve="1">
  <p:cSld name="Right-Side Copy">
    <p:spTree>
      <p:nvGrpSpPr>
        <p:cNvPr id="1" name="Shape 594"/>
        <p:cNvGrpSpPr/>
        <p:nvPr/>
      </p:nvGrpSpPr>
      <p:grpSpPr>
        <a:xfrm>
          <a:off x="0" y="0"/>
          <a:ext cx="0" cy="0"/>
          <a:chOff x="0" y="0"/>
          <a:chExt cx="0" cy="0"/>
        </a:xfrm>
      </p:grpSpPr>
      <p:grpSp>
        <p:nvGrpSpPr>
          <p:cNvPr id="2" name="Group 1">
            <a:extLst>
              <a:ext uri="{FF2B5EF4-FFF2-40B4-BE49-F238E27FC236}">
                <a16:creationId xmlns:a16="http://schemas.microsoft.com/office/drawing/2014/main" id="{F2D515E8-7154-2EDF-C4E8-77D5DEFB17FA}"/>
              </a:ext>
              <a:ext uri="{C183D7F6-B498-43B3-948B-1728B52AA6E4}">
                <adec:decorative xmlns:adec="http://schemas.microsoft.com/office/drawing/2017/decorative" val="1"/>
              </a:ext>
            </a:extLst>
          </p:cNvPr>
          <p:cNvGrpSpPr/>
          <p:nvPr userDrawn="1"/>
        </p:nvGrpSpPr>
        <p:grpSpPr>
          <a:xfrm>
            <a:off x="-6206732" y="-1465367"/>
            <a:ext cx="18397804" cy="9788731"/>
            <a:chOff x="-4655050" y="-1099025"/>
            <a:chExt cx="13798353" cy="7341548"/>
          </a:xfrm>
        </p:grpSpPr>
        <p:cxnSp>
          <p:nvCxnSpPr>
            <p:cNvPr id="13" name="Google Shape;67;p15">
              <a:extLst>
                <a:ext uri="{FF2B5EF4-FFF2-40B4-BE49-F238E27FC236}">
                  <a16:creationId xmlns:a16="http://schemas.microsoft.com/office/drawing/2014/main" id="{F9E1473B-9611-444E-B16A-C1BD19C6ECA1}"/>
                </a:ext>
                <a:ext uri="{C183D7F6-B498-43B3-948B-1728B52AA6E4}">
                  <adec:decorative xmlns:adec="http://schemas.microsoft.com/office/drawing/2017/decorative" val="1"/>
                </a:ext>
              </a:extLst>
            </p:cNvPr>
            <p:cNvCxnSpPr/>
            <p:nvPr userDrawn="1"/>
          </p:nvCxnSpPr>
          <p:spPr>
            <a:xfrm>
              <a:off x="630203" y="4782911"/>
              <a:ext cx="8513100" cy="0"/>
            </a:xfrm>
            <a:prstGeom prst="straightConnector1">
              <a:avLst/>
            </a:prstGeom>
            <a:noFill/>
            <a:ln w="12700" cap="flat" cmpd="sng">
              <a:solidFill>
                <a:srgbClr val="627597"/>
              </a:solidFill>
              <a:prstDash val="solid"/>
              <a:miter lim="800000"/>
              <a:headEnd type="none" w="sm" len="sm"/>
              <a:tailEnd type="none" w="sm" len="sm"/>
            </a:ln>
          </p:spPr>
        </p:cxnSp>
        <p:pic>
          <p:nvPicPr>
            <p:cNvPr id="598" name="Google Shape;598;p39">
              <a:extLst>
                <a:ext uri="{C183D7F6-B498-43B3-948B-1728B52AA6E4}">
                  <adec:decorative xmlns:adec="http://schemas.microsoft.com/office/drawing/2017/decorative" val="1"/>
                </a:ext>
              </a:extLst>
            </p:cNvPr>
            <p:cNvPicPr preferRelativeResize="0"/>
            <p:nvPr/>
          </p:nvPicPr>
          <p:blipFill>
            <a:blip r:embed="rId2">
              <a:alphaModFix/>
            </a:blip>
            <a:stretch>
              <a:fillRect/>
            </a:stretch>
          </p:blipFill>
          <p:spPr>
            <a:xfrm>
              <a:off x="-4655050" y="-1099025"/>
              <a:ext cx="7341548" cy="7341548"/>
            </a:xfrm>
            <a:prstGeom prst="rect">
              <a:avLst/>
            </a:prstGeom>
            <a:noFill/>
            <a:ln>
              <a:noFill/>
            </a:ln>
          </p:spPr>
        </p:pic>
        <p:pic>
          <p:nvPicPr>
            <p:cNvPr id="599" name="Google Shape;599;p39">
              <a:extLst>
                <a:ext uri="{C183D7F6-B498-43B3-948B-1728B52AA6E4}">
                  <adec:decorative xmlns:adec="http://schemas.microsoft.com/office/drawing/2017/decorative" val="1"/>
                </a:ext>
              </a:extLst>
            </p:cNvPr>
            <p:cNvPicPr preferRelativeResize="0"/>
            <p:nvPr/>
          </p:nvPicPr>
          <p:blipFill rotWithShape="1">
            <a:blip r:embed="rId3">
              <a:alphaModFix amt="30000"/>
            </a:blip>
            <a:srcRect/>
            <a:stretch/>
          </p:blipFill>
          <p:spPr>
            <a:xfrm>
              <a:off x="-120597" y="690565"/>
              <a:ext cx="3762369" cy="3762369"/>
            </a:xfrm>
            <a:prstGeom prst="rect">
              <a:avLst/>
            </a:prstGeom>
            <a:noFill/>
            <a:ln>
              <a:noFill/>
            </a:ln>
          </p:spPr>
        </p:pic>
        <p:pic>
          <p:nvPicPr>
            <p:cNvPr id="600" name="Google Shape;600;p39">
              <a:extLst>
                <a:ext uri="{C183D7F6-B498-43B3-948B-1728B52AA6E4}">
                  <adec:decorative xmlns:adec="http://schemas.microsoft.com/office/drawing/2017/decorative" val="1"/>
                </a:ext>
              </a:extLst>
            </p:cNvPr>
            <p:cNvPicPr preferRelativeResize="0"/>
            <p:nvPr/>
          </p:nvPicPr>
          <p:blipFill>
            <a:blip r:embed="rId4">
              <a:alphaModFix/>
            </a:blip>
            <a:stretch>
              <a:fillRect/>
            </a:stretch>
          </p:blipFill>
          <p:spPr>
            <a:xfrm>
              <a:off x="1959275" y="313900"/>
              <a:ext cx="1847725" cy="1847725"/>
            </a:xfrm>
            <a:prstGeom prst="rect">
              <a:avLst/>
            </a:prstGeom>
            <a:noFill/>
            <a:ln>
              <a:noFill/>
            </a:ln>
          </p:spPr>
        </p:pic>
        <p:cxnSp>
          <p:nvCxnSpPr>
            <p:cNvPr id="601" name="Google Shape;601;p39">
              <a:extLst>
                <a:ext uri="{C183D7F6-B498-43B3-948B-1728B52AA6E4}">
                  <adec:decorative xmlns:adec="http://schemas.microsoft.com/office/drawing/2017/decorative" val="1"/>
                </a:ext>
              </a:extLst>
            </p:cNvPr>
            <p:cNvCxnSpPr/>
            <p:nvPr/>
          </p:nvCxnSpPr>
          <p:spPr>
            <a:xfrm>
              <a:off x="4438234" y="933293"/>
              <a:ext cx="2070300" cy="0"/>
            </a:xfrm>
            <a:prstGeom prst="straightConnector1">
              <a:avLst/>
            </a:prstGeom>
            <a:noFill/>
            <a:ln w="12700" cap="flat" cmpd="sng">
              <a:solidFill>
                <a:srgbClr val="627597"/>
              </a:solidFill>
              <a:prstDash val="solid"/>
              <a:miter lim="800000"/>
              <a:headEnd type="none" w="sm" len="sm"/>
              <a:tailEnd type="none" w="sm" len="sm"/>
            </a:ln>
          </p:spPr>
        </p:cxnSp>
      </p:grpSp>
      <p:sp>
        <p:nvSpPr>
          <p:cNvPr id="603" name="Google Shape;603;p39"/>
          <p:cNvSpPr txBox="1">
            <a:spLocks noGrp="1"/>
          </p:cNvSpPr>
          <p:nvPr>
            <p:ph type="title"/>
          </p:nvPr>
        </p:nvSpPr>
        <p:spPr>
          <a:xfrm>
            <a:off x="5852160" y="1548384"/>
            <a:ext cx="43768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602" name="Google Shape;602;p39"/>
          <p:cNvSpPr txBox="1">
            <a:spLocks noGrp="1"/>
          </p:cNvSpPr>
          <p:nvPr>
            <p:ph type="subTitle" idx="1"/>
          </p:nvPr>
        </p:nvSpPr>
        <p:spPr>
          <a:xfrm>
            <a:off x="5876544" y="999744"/>
            <a:ext cx="4035600" cy="207200"/>
          </a:xfrm>
          <a:prstGeom prst="rect">
            <a:avLst/>
          </a:prstGeom>
        </p:spPr>
        <p:txBody>
          <a:bodyPr spcFirstLastPara="1" wrap="square" lIns="45700" tIns="18275" rIns="45700" bIns="18275" anchor="t" anchorCtr="0">
            <a:noAutofit/>
          </a:bodyPr>
          <a:lstStyle>
            <a:lvl1pPr marL="0" lvl="0">
              <a:spcBef>
                <a:spcPts val="0"/>
              </a:spcBef>
              <a:spcAft>
                <a:spcPts val="0"/>
              </a:spcAft>
              <a:buSzPts val="800"/>
              <a:buNone/>
              <a:defRPr sz="1065"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dirty="0"/>
          </a:p>
        </p:txBody>
      </p:sp>
      <p:sp>
        <p:nvSpPr>
          <p:cNvPr id="604" name="Google Shape;604;p39"/>
          <p:cNvSpPr txBox="1">
            <a:spLocks noGrp="1"/>
          </p:cNvSpPr>
          <p:nvPr>
            <p:ph type="body" idx="2"/>
          </p:nvPr>
        </p:nvSpPr>
        <p:spPr>
          <a:xfrm>
            <a:off x="5852160" y="3048000"/>
            <a:ext cx="4035600" cy="2536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5" b="0" i="0">
                <a:latin typeface="Helvetica" pitchFamily="2" charset="0"/>
              </a:defRPr>
            </a:lvl1pPr>
            <a:lvl2pPr marL="1217295" lvl="1" indent="-371951">
              <a:spcBef>
                <a:spcPts val="0"/>
              </a:spcBef>
              <a:spcAft>
                <a:spcPts val="0"/>
              </a:spcAft>
              <a:buSzPts val="800"/>
              <a:buChar char="○"/>
              <a:defRPr sz="1065"/>
            </a:lvl2pPr>
            <a:lvl3pPr marL="1825943" lvl="2" indent="-371951">
              <a:spcBef>
                <a:spcPts val="0"/>
              </a:spcBef>
              <a:spcAft>
                <a:spcPts val="0"/>
              </a:spcAft>
              <a:buSzPts val="800"/>
              <a:buChar char="■"/>
              <a:defRPr sz="1065"/>
            </a:lvl3pPr>
            <a:lvl4pPr marL="2434590" lvl="3" indent="-371951">
              <a:spcBef>
                <a:spcPts val="0"/>
              </a:spcBef>
              <a:spcAft>
                <a:spcPts val="0"/>
              </a:spcAft>
              <a:buSzPts val="800"/>
              <a:buChar char="●"/>
              <a:defRPr sz="1065"/>
            </a:lvl4pPr>
            <a:lvl5pPr marL="3043238" lvl="4" indent="-371951">
              <a:spcBef>
                <a:spcPts val="0"/>
              </a:spcBef>
              <a:spcAft>
                <a:spcPts val="0"/>
              </a:spcAft>
              <a:buSzPts val="800"/>
              <a:buChar char="○"/>
              <a:defRPr sz="1065"/>
            </a:lvl5pPr>
            <a:lvl6pPr marL="3651885" lvl="5" indent="-371951">
              <a:spcBef>
                <a:spcPts val="0"/>
              </a:spcBef>
              <a:spcAft>
                <a:spcPts val="0"/>
              </a:spcAft>
              <a:buSzPts val="800"/>
              <a:buChar char="■"/>
              <a:defRPr sz="1065"/>
            </a:lvl6pPr>
            <a:lvl7pPr marL="4260533" lvl="6" indent="-371951">
              <a:spcBef>
                <a:spcPts val="0"/>
              </a:spcBef>
              <a:spcAft>
                <a:spcPts val="0"/>
              </a:spcAft>
              <a:buSzPts val="800"/>
              <a:buChar char="●"/>
              <a:defRPr sz="1065"/>
            </a:lvl7pPr>
            <a:lvl8pPr marL="4869180" lvl="7" indent="-371951">
              <a:spcBef>
                <a:spcPts val="0"/>
              </a:spcBef>
              <a:spcAft>
                <a:spcPts val="0"/>
              </a:spcAft>
              <a:buSzPts val="800"/>
              <a:buChar char="○"/>
              <a:defRPr sz="1065"/>
            </a:lvl8pPr>
            <a:lvl9pPr marL="5477828" lvl="8" indent="-371951">
              <a:spcBef>
                <a:spcPts val="0"/>
              </a:spcBef>
              <a:spcAft>
                <a:spcPts val="0"/>
              </a:spcAft>
              <a:buSzPts val="800"/>
              <a:buChar char="■"/>
              <a:defRPr sz="1065"/>
            </a:lvl9pPr>
          </a:lstStyle>
          <a:p>
            <a:endParaRPr dirty="0"/>
          </a:p>
        </p:txBody>
      </p:sp>
      <p:sp>
        <p:nvSpPr>
          <p:cNvPr id="12" name="Google Shape;268;p27">
            <a:extLst>
              <a:ext uri="{FF2B5EF4-FFF2-40B4-BE49-F238E27FC236}">
                <a16:creationId xmlns:a16="http://schemas.microsoft.com/office/drawing/2014/main" id="{3C755F27-DA08-304E-BFC4-543F651D9379}"/>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sp>
        <p:nvSpPr>
          <p:cNvPr id="6" name="Google Shape;56;p14">
            <a:extLst>
              <a:ext uri="{FF2B5EF4-FFF2-40B4-BE49-F238E27FC236}">
                <a16:creationId xmlns:a16="http://schemas.microsoft.com/office/drawing/2014/main" id="{ACD42835-BD4F-F1DB-D84D-3833B8B857A5}"/>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4811475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White">
    <p:spTree>
      <p:nvGrpSpPr>
        <p:cNvPr id="1" name=""/>
        <p:cNvGrpSpPr/>
        <p:nvPr/>
      </p:nvGrpSpPr>
      <p:grpSpPr>
        <a:xfrm>
          <a:off x="0" y="0"/>
          <a:ext cx="0" cy="0"/>
          <a:chOff x="0" y="0"/>
          <a:chExt cx="0" cy="0"/>
        </a:xfrm>
      </p:grpSpPr>
      <p:sp>
        <p:nvSpPr>
          <p:cNvPr id="10" name="Arrow: Pentagon 44">
            <a:extLst>
              <a:ext uri="{FF2B5EF4-FFF2-40B4-BE49-F238E27FC236}">
                <a16:creationId xmlns:a16="http://schemas.microsoft.com/office/drawing/2014/main" id="{8DB1A74A-CEE5-B865-5C91-B0166C7286D7}"/>
              </a:ext>
            </a:extLst>
          </p:cNvPr>
          <p:cNvSpPr/>
          <p:nvPr userDrawn="1"/>
        </p:nvSpPr>
        <p:spPr bwMode="auto">
          <a:xfrm>
            <a:off x="0" y="0"/>
            <a:ext cx="6409564" cy="6858000"/>
          </a:xfrm>
          <a:prstGeom prst="homePlate">
            <a:avLst>
              <a:gd name="adj" fmla="val 27471"/>
            </a:avLst>
          </a:prstGeom>
          <a:solidFill>
            <a:schemeClr val="bg1"/>
          </a:solidFill>
          <a:ln>
            <a:noFill/>
            <a:headEnd type="none" w="med" len="med"/>
            <a:tailEnd type="none" w="med" len="med"/>
          </a:ln>
          <a:effectLst>
            <a:outerShdw blurRad="295671" sx="98669" sy="98669" algn="ctr" rotWithShape="0">
              <a:prstClr val="black">
                <a:alpha val="15000"/>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12" name="MS logo gray - EMF" descr="Microsoft logo, gray text version">
            <a:extLst>
              <a:ext uri="{FF2B5EF4-FFF2-40B4-BE49-F238E27FC236}">
                <a16:creationId xmlns:a16="http://schemas.microsoft.com/office/drawing/2014/main" id="{C2F16BF7-7F8E-9412-8FD7-4069676C58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sp>
        <p:nvSpPr>
          <p:cNvPr id="4" name="Footer Placeholder 3">
            <a:extLst>
              <a:ext uri="{FF2B5EF4-FFF2-40B4-BE49-F238E27FC236}">
                <a16:creationId xmlns:a16="http://schemas.microsoft.com/office/drawing/2014/main" id="{CED92B98-BE71-EF7A-C525-2F4E1AAE5F0A}"/>
              </a:ext>
            </a:extLst>
          </p:cNvPr>
          <p:cNvSpPr>
            <a:spLocks noGrp="1"/>
          </p:cNvSpPr>
          <p:nvPr>
            <p:ph type="ftr" sz="quarter" idx="12"/>
          </p:nvPr>
        </p:nvSpPr>
        <p:spPr/>
        <p:txBody>
          <a:bodyPr/>
          <a:lstStyle/>
          <a:p>
            <a:r>
              <a:rPr lang="en-US"/>
              <a:t>Microsoft Confidential</a:t>
            </a:r>
          </a:p>
        </p:txBody>
      </p:sp>
      <p:sp>
        <p:nvSpPr>
          <p:cNvPr id="9" name="Text Placeholder 2">
            <a:extLst>
              <a:ext uri="{FF2B5EF4-FFF2-40B4-BE49-F238E27FC236}">
                <a16:creationId xmlns:a16="http://schemas.microsoft.com/office/drawing/2014/main" id="{3716366F-24AB-0AB2-1682-DED458803E9A}"/>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26713FEE-9C26-1A8C-1DE8-14729D74C07D}"/>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Text Placeholder 9">
            <a:extLst>
              <a:ext uri="{FF2B5EF4-FFF2-40B4-BE49-F238E27FC236}">
                <a16:creationId xmlns:a16="http://schemas.microsoft.com/office/drawing/2014/main" id="{93CE9535-0F1B-F6F0-1BB7-38A4E0D56456}"/>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tx1"/>
                </a:solidFill>
              </a:defRPr>
            </a:lvl1pPr>
          </a:lstStyle>
          <a:p>
            <a:pPr lvl="0"/>
            <a:r>
              <a:rPr lang="en-US"/>
              <a:t>MCAPS Academy Presents</a:t>
            </a:r>
          </a:p>
        </p:txBody>
      </p:sp>
    </p:spTree>
    <p:extLst>
      <p:ext uri="{BB962C8B-B14F-4D97-AF65-F5344CB8AC3E}">
        <p14:creationId xmlns:p14="http://schemas.microsoft.com/office/powerpoint/2010/main" val="8779790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COVER BACKGROU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8120D6-8347-794E-B139-F37EEA261A46}"/>
              </a:ext>
              <a:ext uri="{C183D7F6-B498-43B3-948B-1728B52AA6E4}">
                <adec:decorative xmlns:adec="http://schemas.microsoft.com/office/drawing/2017/decorative" val="1"/>
              </a:ext>
            </a:extLst>
          </p:cNvPr>
          <p:cNvSpPr/>
          <p:nvPr userDrawn="1"/>
        </p:nvSpPr>
        <p:spPr>
          <a:xfrm>
            <a:off x="0" y="1"/>
            <a:ext cx="12192000" cy="6857999"/>
          </a:xfrm>
          <a:prstGeom prst="rect">
            <a:avLst/>
          </a:prstGeom>
          <a:gradFill flip="none" rotWithShape="1">
            <a:gsLst>
              <a:gs pos="67000">
                <a:srgbClr val="1B1D30">
                  <a:alpha val="58000"/>
                </a:srgbClr>
              </a:gs>
              <a:gs pos="100000">
                <a:srgbClr val="2E3252">
                  <a:alpha val="0"/>
                </a:srgbClr>
              </a:gs>
              <a:gs pos="15000">
                <a:srgbClr val="161828"/>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2" name="Title 1">
            <a:extLst>
              <a:ext uri="{FF2B5EF4-FFF2-40B4-BE49-F238E27FC236}">
                <a16:creationId xmlns:a16="http://schemas.microsoft.com/office/drawing/2014/main" id="{EF2E0AC5-6457-47B1-ADA9-40298FA07A33}"/>
              </a:ext>
            </a:extLst>
          </p:cNvPr>
          <p:cNvSpPr>
            <a:spLocks noGrp="1"/>
          </p:cNvSpPr>
          <p:nvPr>
            <p:ph type="title"/>
          </p:nvPr>
        </p:nvSpPr>
        <p:spPr>
          <a:xfrm>
            <a:off x="751256" y="553357"/>
            <a:ext cx="10678558" cy="705304"/>
          </a:xfrm>
          <a:prstGeom prst="rect">
            <a:avLst/>
          </a:prstGeom>
        </p:spPr>
        <p:txBody>
          <a:bodyPr lIns="45705" tIns="18273" rIns="45705" bIns="18273" anchor="ctr"/>
          <a:lstStyle>
            <a:lvl1pPr marL="0" indent="0" algn="l" defTabSz="912971" rtl="0" eaLnBrk="1" latinLnBrk="0" hangingPunct="1">
              <a:lnSpc>
                <a:spcPct val="90000"/>
              </a:lnSpc>
              <a:spcBef>
                <a:spcPts val="999"/>
              </a:spcBef>
              <a:buFont typeface="Arial" panose="020B0604020202020204" pitchFamily="34" charset="0"/>
              <a:buNone/>
              <a:defRPr lang="en-US" sz="3375" b="1" kern="1200" dirty="0">
                <a:solidFill>
                  <a:schemeClr val="bg1"/>
                </a:solidFill>
                <a:effectLst/>
                <a:latin typeface="Helvetica" pitchFamily="2" charset="0"/>
                <a:ea typeface="+mn-ea"/>
                <a:cs typeface="+mn-cs"/>
              </a:defRPr>
            </a:lvl1pPr>
          </a:lstStyle>
          <a:p>
            <a:r>
              <a:rPr lang="en-US" dirty="0"/>
              <a:t>Click to edit Master title style</a:t>
            </a:r>
          </a:p>
        </p:txBody>
      </p:sp>
      <p:cxnSp>
        <p:nvCxnSpPr>
          <p:cNvPr id="7" name="Google Shape;67;p15">
            <a:extLst>
              <a:ext uri="{FF2B5EF4-FFF2-40B4-BE49-F238E27FC236}">
                <a16:creationId xmlns:a16="http://schemas.microsoft.com/office/drawing/2014/main" id="{9C950167-4592-3534-1CFA-A065861E64DB}"/>
              </a:ext>
              <a:ext uri="{C183D7F6-B498-43B3-948B-1728B52AA6E4}">
                <adec:decorative xmlns:adec="http://schemas.microsoft.com/office/drawing/2017/decorative" val="1"/>
              </a:ext>
            </a:extLst>
          </p:cNvPr>
          <p:cNvCxnSpPr/>
          <p:nvPr userDrawn="1"/>
        </p:nvCxnSpPr>
        <p:spPr>
          <a:xfrm>
            <a:off x="840271" y="6377214"/>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1" name="Google Shape;268;p27">
            <a:extLst>
              <a:ext uri="{FF2B5EF4-FFF2-40B4-BE49-F238E27FC236}">
                <a16:creationId xmlns:a16="http://schemas.microsoft.com/office/drawing/2014/main" id="{A85CDCA3-5218-7913-EC90-D7FE8699D783}"/>
              </a:ext>
            </a:extLst>
          </p:cNvPr>
          <p:cNvSpPr/>
          <p:nvPr userDrawn="1"/>
        </p:nvSpPr>
        <p:spPr>
          <a:xfrm>
            <a:off x="7266888" y="6534431"/>
            <a:ext cx="4794400" cy="166400"/>
          </a:xfrm>
          <a:prstGeom prst="rect">
            <a:avLst/>
          </a:prstGeom>
          <a:noFill/>
          <a:ln>
            <a:noFill/>
          </a:ln>
        </p:spPr>
        <p:txBody>
          <a:bodyPr spcFirstLastPara="1" wrap="square" lIns="57111" tIns="28556" rIns="57111" bIns="28556" anchor="t" anchorCtr="0">
            <a:noAutofit/>
          </a:bodyPr>
          <a:lstStyle/>
          <a:p>
            <a:pPr marL="0" marR="0" lvl="0" indent="0" algn="r" rtl="0">
              <a:lnSpc>
                <a:spcPct val="120000"/>
              </a:lnSpc>
              <a:spcBef>
                <a:spcPts val="0"/>
              </a:spcBef>
              <a:spcAft>
                <a:spcPts val="0"/>
              </a:spcAft>
              <a:buNone/>
            </a:pPr>
            <a:fld id="{00000000-1234-1234-1234-123412341234}" type="slidenum">
              <a:rPr lang="en" sz="666"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6" b="0" i="0">
              <a:solidFill>
                <a:schemeClr val="lt1"/>
              </a:solidFill>
              <a:latin typeface="Helvetica" pitchFamily="2" charset="0"/>
              <a:ea typeface="Helvetica Neue"/>
              <a:cs typeface="Helvetica Neue"/>
              <a:sym typeface="Helvetica Neue"/>
            </a:endParaRPr>
          </a:p>
        </p:txBody>
      </p:sp>
      <p:sp>
        <p:nvSpPr>
          <p:cNvPr id="4" name="Google Shape;56;p14">
            <a:extLst>
              <a:ext uri="{FF2B5EF4-FFF2-40B4-BE49-F238E27FC236}">
                <a16:creationId xmlns:a16="http://schemas.microsoft.com/office/drawing/2014/main" id="{243549B8-5064-2A3E-909E-36914EBF7314}"/>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111" tIns="28556" rIns="57111" bIns="28556" anchor="t" anchorCtr="0">
            <a:noAutofit/>
          </a:bodyPr>
          <a:lstStyle/>
          <a:p>
            <a:pPr marL="0" marR="0" lvl="0" indent="0" algn="l" defTabSz="285750" rtl="0" eaLnBrk="1" latinLnBrk="0" hangingPunct="1">
              <a:lnSpc>
                <a:spcPct val="120000"/>
              </a:lnSpc>
              <a:spcBef>
                <a:spcPts val="0"/>
              </a:spcBef>
              <a:spcAft>
                <a:spcPts val="0"/>
              </a:spcAft>
              <a:buNone/>
            </a:pPr>
            <a:r>
              <a:rPr lang="en-US" sz="625" kern="1200" spc="375" dirty="0">
                <a:solidFill>
                  <a:srgbClr val="627597"/>
                </a:solidFill>
                <a:latin typeface="Helvetica" pitchFamily="2" charset="0"/>
                <a:ea typeface="+mn-ea"/>
                <a:cs typeface="Segoe UI Light" panose="020B0502040204020203" pitchFamily="34" charset="0"/>
              </a:rPr>
              <a:t>ACCELERATING INNOVATION WITH DEVOPS</a:t>
            </a:r>
          </a:p>
        </p:txBody>
      </p:sp>
    </p:spTree>
    <p:extLst>
      <p:ext uri="{BB962C8B-B14F-4D97-AF65-F5344CB8AC3E}">
        <p14:creationId xmlns:p14="http://schemas.microsoft.com/office/powerpoint/2010/main" val="16292655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8120D6-8347-794E-B139-F37EEA261A46}"/>
              </a:ext>
              <a:ext uri="{C183D7F6-B498-43B3-948B-1728B52AA6E4}">
                <adec:decorative xmlns:adec="http://schemas.microsoft.com/office/drawing/2017/decorative" val="1"/>
              </a:ext>
            </a:extLst>
          </p:cNvPr>
          <p:cNvSpPr/>
          <p:nvPr userDrawn="1"/>
        </p:nvSpPr>
        <p:spPr>
          <a:xfrm>
            <a:off x="0" y="1"/>
            <a:ext cx="12192000" cy="6857999"/>
          </a:xfrm>
          <a:prstGeom prst="rect">
            <a:avLst/>
          </a:prstGeom>
          <a:gradFill flip="none" rotWithShape="1">
            <a:gsLst>
              <a:gs pos="67000">
                <a:srgbClr val="1B1D30">
                  <a:alpha val="58000"/>
                </a:srgbClr>
              </a:gs>
              <a:gs pos="100000">
                <a:srgbClr val="2E3252">
                  <a:alpha val="0"/>
                </a:srgbClr>
              </a:gs>
              <a:gs pos="15000">
                <a:srgbClr val="161828"/>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7" name="Freeform: Shape 6">
            <a:extLst>
              <a:ext uri="{FF2B5EF4-FFF2-40B4-BE49-F238E27FC236}">
                <a16:creationId xmlns:a16="http://schemas.microsoft.com/office/drawing/2014/main" id="{4CF96AC2-8C24-70C9-A3A3-E7084EDA589D}"/>
              </a:ext>
              <a:ext uri="{C183D7F6-B498-43B3-948B-1728B52AA6E4}">
                <adec:decorative xmlns:adec="http://schemas.microsoft.com/office/drawing/2017/decorative" val="1"/>
              </a:ext>
            </a:extLst>
          </p:cNvPr>
          <p:cNvSpPr/>
          <p:nvPr userDrawn="1"/>
        </p:nvSpPr>
        <p:spPr>
          <a:xfrm>
            <a:off x="1" y="1"/>
            <a:ext cx="7689829" cy="6857999"/>
          </a:xfrm>
          <a:custGeom>
            <a:avLst/>
            <a:gdLst>
              <a:gd name="connsiteX0" fmla="*/ 0 w 12284703"/>
              <a:gd name="connsiteY0" fmla="*/ 0 h 10972798"/>
              <a:gd name="connsiteX1" fmla="*/ 11386938 w 12284703"/>
              <a:gd name="connsiteY1" fmla="*/ 0 h 10972798"/>
              <a:gd name="connsiteX2" fmla="*/ 11433256 w 12284703"/>
              <a:gd name="connsiteY2" fmla="*/ 90435 h 10972798"/>
              <a:gd name="connsiteX3" fmla="*/ 12284703 w 12284703"/>
              <a:gd name="connsiteY3" fmla="*/ 3833809 h 10972798"/>
              <a:gd name="connsiteX4" fmla="*/ 8816398 w 12284703"/>
              <a:gd name="connsiteY4" fmla="*/ 10752868 h 10972798"/>
              <a:gd name="connsiteX5" fmla="*/ 8507122 w 12284703"/>
              <a:gd name="connsiteY5" fmla="*/ 10972798 h 10972798"/>
              <a:gd name="connsiteX6" fmla="*/ 0 w 12284703"/>
              <a:gd name="connsiteY6" fmla="*/ 10972798 h 10972798"/>
              <a:gd name="connsiteX7" fmla="*/ 0 w 12284703"/>
              <a:gd name="connsiteY7" fmla="*/ 0 h 1097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84703" h="10972798">
                <a:moveTo>
                  <a:pt x="0" y="0"/>
                </a:moveTo>
                <a:lnTo>
                  <a:pt x="11386938" y="0"/>
                </a:lnTo>
                <a:lnTo>
                  <a:pt x="11433256" y="90435"/>
                </a:lnTo>
                <a:cubicBezTo>
                  <a:pt x="11978916" y="1222862"/>
                  <a:pt x="12284703" y="2492625"/>
                  <a:pt x="12284703" y="3833809"/>
                </a:cubicBezTo>
                <a:cubicBezTo>
                  <a:pt x="12284703" y="6665197"/>
                  <a:pt x="10921873" y="9178278"/>
                  <a:pt x="8816398" y="10752868"/>
                </a:cubicBezTo>
                <a:lnTo>
                  <a:pt x="8507122" y="10972798"/>
                </a:lnTo>
                <a:lnTo>
                  <a:pt x="0" y="10972798"/>
                </a:lnTo>
                <a:lnTo>
                  <a:pt x="0" y="0"/>
                </a:lnTo>
                <a:close/>
              </a:path>
            </a:pathLst>
          </a:custGeom>
          <a:gradFill>
            <a:gsLst>
              <a:gs pos="68000">
                <a:srgbClr val="D59DFF">
                  <a:alpha val="0"/>
                </a:srgbClr>
              </a:gs>
              <a:gs pos="0">
                <a:schemeClr val="accent3">
                  <a:alpha val="58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125"/>
          </a:p>
        </p:txBody>
      </p:sp>
      <p:sp>
        <p:nvSpPr>
          <p:cNvPr id="2" name="Title 1">
            <a:extLst>
              <a:ext uri="{FF2B5EF4-FFF2-40B4-BE49-F238E27FC236}">
                <a16:creationId xmlns:a16="http://schemas.microsoft.com/office/drawing/2014/main" id="{EF2E0AC5-6457-47B1-ADA9-40298FA07A33}"/>
              </a:ext>
            </a:extLst>
          </p:cNvPr>
          <p:cNvSpPr>
            <a:spLocks noGrp="1"/>
          </p:cNvSpPr>
          <p:nvPr>
            <p:ph type="title"/>
          </p:nvPr>
        </p:nvSpPr>
        <p:spPr>
          <a:xfrm>
            <a:off x="751256" y="553357"/>
            <a:ext cx="10678558" cy="705304"/>
          </a:xfrm>
          <a:prstGeom prst="rect">
            <a:avLst/>
          </a:prstGeom>
        </p:spPr>
        <p:txBody>
          <a:bodyPr anchor="ctr"/>
          <a:lstStyle>
            <a:lvl1pPr marL="0" indent="0" algn="l" defTabSz="912971" rtl="0" eaLnBrk="1" latinLnBrk="0" hangingPunct="1">
              <a:lnSpc>
                <a:spcPct val="90000"/>
              </a:lnSpc>
              <a:spcBef>
                <a:spcPts val="999"/>
              </a:spcBef>
              <a:buFont typeface="Arial" panose="020B0604020202020204" pitchFamily="34" charset="0"/>
              <a:buNone/>
              <a:defRPr lang="en-US" sz="4500" b="1" kern="1200" dirty="0">
                <a:solidFill>
                  <a:schemeClr val="bg1"/>
                </a:solidFill>
                <a:effectLst>
                  <a:outerShdw blurRad="1270000" dist="914400" dir="8100000" algn="tr" rotWithShape="0">
                    <a:prstClr val="black">
                      <a:alpha val="40000"/>
                    </a:prstClr>
                  </a:outerShdw>
                </a:effectLst>
                <a:latin typeface="Helvetica" pitchFamily="2" charset="0"/>
                <a:ea typeface="+mn-ea"/>
                <a:cs typeface="+mn-cs"/>
              </a:defRPr>
            </a:lvl1pPr>
          </a:lstStyle>
          <a:p>
            <a:r>
              <a:rPr lang="en-US"/>
              <a:t>Click to edit Master title style</a:t>
            </a:r>
          </a:p>
        </p:txBody>
      </p:sp>
      <p:cxnSp>
        <p:nvCxnSpPr>
          <p:cNvPr id="3" name="Straight Connector 2">
            <a:extLst>
              <a:ext uri="{FF2B5EF4-FFF2-40B4-BE49-F238E27FC236}">
                <a16:creationId xmlns:a16="http://schemas.microsoft.com/office/drawing/2014/main" id="{4208A27C-250D-5645-8D7F-C2C259BD6246}"/>
              </a:ext>
              <a:ext uri="{C183D7F6-B498-43B3-948B-1728B52AA6E4}">
                <adec:decorative xmlns:adec="http://schemas.microsoft.com/office/drawing/2017/decorative" val="1"/>
              </a:ext>
            </a:extLst>
          </p:cNvPr>
          <p:cNvCxnSpPr>
            <a:cxnSpLocks/>
          </p:cNvCxnSpPr>
          <p:nvPr userDrawn="1"/>
        </p:nvCxnSpPr>
        <p:spPr>
          <a:xfrm>
            <a:off x="840270" y="6377214"/>
            <a:ext cx="11350923" cy="0"/>
          </a:xfrm>
          <a:prstGeom prst="line">
            <a:avLst/>
          </a:prstGeom>
          <a:ln w="12700">
            <a:solidFill>
              <a:srgbClr val="627597"/>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B4EF941-4A5E-7648-8DB6-246D20227A32}"/>
              </a:ext>
            </a:extLst>
          </p:cNvPr>
          <p:cNvSpPr/>
          <p:nvPr userDrawn="1"/>
        </p:nvSpPr>
        <p:spPr>
          <a:xfrm>
            <a:off x="789258" y="6534431"/>
            <a:ext cx="4794455" cy="197170"/>
          </a:xfrm>
          <a:prstGeom prst="rect">
            <a:avLst/>
          </a:prstGeom>
        </p:spPr>
        <p:txBody>
          <a:bodyPr wrap="square">
            <a:spAutoFit/>
          </a:bodyPr>
          <a:lstStyle/>
          <a:p>
            <a:pPr>
              <a:lnSpc>
                <a:spcPct val="120000"/>
              </a:lnSpc>
            </a:pPr>
            <a:r>
              <a:rPr lang="en-US" sz="625" spc="375" dirty="0">
                <a:solidFill>
                  <a:srgbClr val="627597"/>
                </a:solidFill>
                <a:latin typeface="Helvetica" pitchFamily="2" charset="0"/>
                <a:cs typeface="Segoe UI Light" panose="020B0502040204020203" pitchFamily="34" charset="0"/>
              </a:rPr>
              <a:t>ACCELERATING INNOVATION WITH DEVOPS</a:t>
            </a:r>
          </a:p>
        </p:txBody>
      </p:sp>
      <p:sp>
        <p:nvSpPr>
          <p:cNvPr id="5" name="Rectangle 4">
            <a:extLst>
              <a:ext uri="{FF2B5EF4-FFF2-40B4-BE49-F238E27FC236}">
                <a16:creationId xmlns:a16="http://schemas.microsoft.com/office/drawing/2014/main" id="{DE2E1DFE-61BD-AD43-94CE-AE6DD4A62E89}"/>
              </a:ext>
            </a:extLst>
          </p:cNvPr>
          <p:cNvSpPr/>
          <p:nvPr userDrawn="1"/>
        </p:nvSpPr>
        <p:spPr>
          <a:xfrm>
            <a:off x="7266884" y="6534432"/>
            <a:ext cx="4794455" cy="166352"/>
          </a:xfrm>
          <a:prstGeom prst="rect">
            <a:avLst/>
          </a:prstGeom>
        </p:spPr>
        <p:txBody>
          <a:bodyPr wrap="square">
            <a:noAutofit/>
          </a:bodyPr>
          <a:lstStyle/>
          <a:p>
            <a:pPr algn="r">
              <a:lnSpc>
                <a:spcPct val="120000"/>
              </a:lnSpc>
            </a:pPr>
            <a:fld id="{D4F9CC37-649C-A24D-8487-AF6F4FDCA213}" type="slidenum">
              <a:rPr lang="en-US" sz="625" spc="375" smtClean="0">
                <a:solidFill>
                  <a:schemeClr val="bg1"/>
                </a:solidFill>
                <a:latin typeface="Helvetica" pitchFamily="2" charset="0"/>
                <a:cs typeface="Segoe UI Light" panose="020B0502040204020203" pitchFamily="34" charset="0"/>
              </a:rPr>
              <a:t>‹#›</a:t>
            </a:fld>
            <a:endParaRPr lang="en-US" sz="625" spc="375">
              <a:solidFill>
                <a:schemeClr val="bg1"/>
              </a:solidFill>
              <a:latin typeface="Helvetica" pitchFamily="2" charset="0"/>
              <a:cs typeface="Segoe UI Light" panose="020B0502040204020203" pitchFamily="34" charset="0"/>
            </a:endParaRPr>
          </a:p>
        </p:txBody>
      </p:sp>
    </p:spTree>
    <p:extLst>
      <p:ext uri="{BB962C8B-B14F-4D97-AF65-F5344CB8AC3E}">
        <p14:creationId xmlns:p14="http://schemas.microsoft.com/office/powerpoint/2010/main" val="1626816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matchingName="Subsection Cover B" preserve="1">
  <p:cSld name="Subsection Cover B">
    <p:spTree>
      <p:nvGrpSpPr>
        <p:cNvPr id="1" name="Shape 53"/>
        <p:cNvGrpSpPr/>
        <p:nvPr/>
      </p:nvGrpSpPr>
      <p:grpSpPr>
        <a:xfrm>
          <a:off x="0" y="0"/>
          <a:ext cx="0" cy="0"/>
          <a:chOff x="0" y="0"/>
          <a:chExt cx="0" cy="0"/>
        </a:xfrm>
      </p:grpSpPr>
      <p:sp>
        <p:nvSpPr>
          <p:cNvPr id="54" name="Google Shape;54;p14"/>
          <p:cNvSpPr/>
          <p:nvPr/>
        </p:nvSpPr>
        <p:spPr>
          <a:xfrm>
            <a:off x="0" y="1"/>
            <a:ext cx="12192000" cy="6858000"/>
          </a:xfrm>
          <a:prstGeom prst="rect">
            <a:avLst/>
          </a:prstGeom>
          <a:gradFill>
            <a:gsLst>
              <a:gs pos="0">
                <a:srgbClr val="161828"/>
              </a:gs>
              <a:gs pos="15000">
                <a:srgbClr val="161828"/>
              </a:gs>
              <a:gs pos="67000">
                <a:srgbClr val="1B1D30">
                  <a:alpha val="57647"/>
                </a:srgbClr>
              </a:gs>
              <a:gs pos="100000">
                <a:srgbClr val="2E3252">
                  <a:alpha val="0"/>
                </a:srgbClr>
              </a:gs>
            </a:gsLst>
            <a:lin ang="0"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55" name="Google Shape;55;p14"/>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56" name="Google Shape;56;p14"/>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
        <p:nvSpPr>
          <p:cNvPr id="57" name="Google Shape;57;p14"/>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sp>
        <p:nvSpPr>
          <p:cNvPr id="58" name="Google Shape;58;p14"/>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t>1</a:t>
            </a:r>
            <a:endParaRPr kumimoji="0" sz="933" b="0" i="0" u="none" strike="noStrike" kern="1200" cap="none" spc="0" normalizeH="0" baseline="0" noProof="0">
              <a:ln>
                <a:noFill/>
              </a:ln>
              <a:solidFill>
                <a:srgbClr val="000000"/>
              </a:solidFill>
              <a:effectLst/>
              <a:uLnTx/>
              <a:uFillTx/>
              <a:latin typeface="Helvetica" pitchFamily="2" charset="0"/>
              <a:ea typeface="+mn-ea"/>
              <a:cs typeface="+mn-cs"/>
            </a:endParaRPr>
          </a:p>
        </p:txBody>
      </p:sp>
      <p:cxnSp>
        <p:nvCxnSpPr>
          <p:cNvPr id="59" name="Google Shape;59;p14"/>
          <p:cNvCxnSpPr/>
          <p:nvPr/>
        </p:nvCxnSpPr>
        <p:spPr>
          <a:xfrm>
            <a:off x="1685760" y="1971372"/>
            <a:ext cx="2760400" cy="0"/>
          </a:xfrm>
          <a:prstGeom prst="straightConnector1">
            <a:avLst/>
          </a:prstGeom>
          <a:noFill/>
          <a:ln w="12700" cap="flat" cmpd="sng">
            <a:solidFill>
              <a:schemeClr val="lt1"/>
            </a:solidFill>
            <a:prstDash val="solid"/>
            <a:miter lim="800000"/>
            <a:headEnd type="none" w="sm" len="sm"/>
            <a:tailEnd type="none" w="sm" len="sm"/>
          </a:ln>
        </p:spPr>
      </p:cxnSp>
      <p:pic>
        <p:nvPicPr>
          <p:cNvPr id="60" name="Google Shape;60;p14"/>
          <p:cNvPicPr preferRelativeResize="0"/>
          <p:nvPr/>
        </p:nvPicPr>
        <p:blipFill rotWithShape="1">
          <a:blip r:embed="rId2">
            <a:alphaModFix amt="30000"/>
          </a:blip>
          <a:srcRect/>
          <a:stretch/>
        </p:blipFill>
        <p:spPr>
          <a:xfrm>
            <a:off x="-4218439" y="920754"/>
            <a:ext cx="5016492" cy="5016492"/>
          </a:xfrm>
          <a:prstGeom prst="rect">
            <a:avLst/>
          </a:prstGeom>
          <a:noFill/>
          <a:ln>
            <a:noFill/>
          </a:ln>
        </p:spPr>
      </p:pic>
      <p:pic>
        <p:nvPicPr>
          <p:cNvPr id="61" name="Google Shape;61;p14"/>
          <p:cNvPicPr preferRelativeResize="0"/>
          <p:nvPr/>
        </p:nvPicPr>
        <p:blipFill rotWithShape="1">
          <a:blip r:embed="rId3">
            <a:alphaModFix/>
          </a:blip>
          <a:srcRect r="891"/>
          <a:stretch/>
        </p:blipFill>
        <p:spPr>
          <a:xfrm>
            <a:off x="5154968" y="0"/>
            <a:ext cx="7037033" cy="6857997"/>
          </a:xfrm>
          <a:prstGeom prst="rect">
            <a:avLst/>
          </a:prstGeom>
          <a:noFill/>
          <a:ln>
            <a:noFill/>
          </a:ln>
        </p:spPr>
      </p:pic>
      <p:sp>
        <p:nvSpPr>
          <p:cNvPr id="62" name="Google Shape;62;p14"/>
          <p:cNvSpPr/>
          <p:nvPr/>
        </p:nvSpPr>
        <p:spPr>
          <a:xfrm rot="10800000">
            <a:off x="1331867" y="333"/>
            <a:ext cx="97600" cy="45356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63" name="Google Shape;63;p14"/>
          <p:cNvSpPr txBox="1">
            <a:spLocks noGrp="1"/>
          </p:cNvSpPr>
          <p:nvPr>
            <p:ph type="title"/>
          </p:nvPr>
        </p:nvSpPr>
        <p:spPr>
          <a:xfrm>
            <a:off x="1633733"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4" name="Google Shape;64;p14"/>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7"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16650003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matchingName="End Slide" preserve="1">
  <p:cSld name="End Slide">
    <p:spTree>
      <p:nvGrpSpPr>
        <p:cNvPr id="1" name="Shape 76"/>
        <p:cNvGrpSpPr/>
        <p:nvPr/>
      </p:nvGrpSpPr>
      <p:grpSpPr>
        <a:xfrm>
          <a:off x="0" y="0"/>
          <a:ext cx="0" cy="0"/>
          <a:chOff x="0" y="0"/>
          <a:chExt cx="0" cy="0"/>
        </a:xfrm>
      </p:grpSpPr>
      <p:pic>
        <p:nvPicPr>
          <p:cNvPr id="77" name="Google Shape;77;p16" descr="A picture containing logo&#10;&#10;Description automatically generated"/>
          <p:cNvPicPr preferRelativeResize="0"/>
          <p:nvPr/>
        </p:nvPicPr>
        <p:blipFill rotWithShape="1">
          <a:blip r:embed="rId2">
            <a:alphaModFix/>
          </a:blip>
          <a:srcRect/>
          <a:stretch/>
        </p:blipFill>
        <p:spPr>
          <a:xfrm>
            <a:off x="1" y="1"/>
            <a:ext cx="7846684" cy="6858001"/>
          </a:xfrm>
          <a:prstGeom prst="rect">
            <a:avLst/>
          </a:prstGeom>
          <a:noFill/>
          <a:ln>
            <a:noFill/>
          </a:ln>
        </p:spPr>
      </p:pic>
      <p:sp>
        <p:nvSpPr>
          <p:cNvPr id="78" name="Google Shape;78;p16"/>
          <p:cNvSpPr/>
          <p:nvPr/>
        </p:nvSpPr>
        <p:spPr>
          <a:xfrm>
            <a:off x="2346971" y="2190768"/>
            <a:ext cx="4869200" cy="3816800"/>
          </a:xfrm>
          <a:prstGeom prst="roundRect">
            <a:avLst>
              <a:gd name="adj" fmla="val 371"/>
            </a:avLst>
          </a:prstGeom>
          <a:solidFill>
            <a:srgbClr val="161828"/>
          </a:solidFill>
          <a:ln>
            <a:noFill/>
          </a:ln>
          <a:effectLst>
            <a:outerShdw blurRad="1270000" dist="2540000" dir="7800000" sx="90000" sy="90000" algn="tr"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79" name="Google Shape;79;p16"/>
          <p:cNvSpPr/>
          <p:nvPr/>
        </p:nvSpPr>
        <p:spPr>
          <a:xfrm rot="10800000">
            <a:off x="7216169" y="2190664"/>
            <a:ext cx="3778400" cy="3816800"/>
          </a:xfrm>
          <a:prstGeom prst="roundRect">
            <a:avLst>
              <a:gd name="adj" fmla="val 371"/>
            </a:avLst>
          </a:prstGeom>
          <a:gradFill>
            <a:gsLst>
              <a:gs pos="0">
                <a:schemeClr val="accent2"/>
              </a:gs>
              <a:gs pos="100000">
                <a:srgbClr val="28AFEA"/>
              </a:gs>
            </a:gsLst>
            <a:lin ang="5400012"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80" name="Google Shape;80;p16"/>
          <p:cNvPicPr preferRelativeResize="0"/>
          <p:nvPr/>
        </p:nvPicPr>
        <p:blipFill rotWithShape="1">
          <a:blip r:embed="rId3">
            <a:alphaModFix amt="30000"/>
          </a:blip>
          <a:srcRect/>
          <a:stretch/>
        </p:blipFill>
        <p:spPr>
          <a:xfrm>
            <a:off x="11443030" y="2190769"/>
            <a:ext cx="5016492" cy="5016492"/>
          </a:xfrm>
          <a:prstGeom prst="rect">
            <a:avLst/>
          </a:prstGeom>
          <a:noFill/>
          <a:ln>
            <a:noFill/>
          </a:ln>
        </p:spPr>
      </p:pic>
      <p:sp>
        <p:nvSpPr>
          <p:cNvPr id="81" name="Google Shape;81;p16"/>
          <p:cNvSpPr/>
          <p:nvPr/>
        </p:nvSpPr>
        <p:spPr>
          <a:xfrm rot="10800000">
            <a:off x="11419233" y="300"/>
            <a:ext cx="97600" cy="18816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82" name="Google Shape;82;p16"/>
          <p:cNvSpPr txBox="1">
            <a:spLocks noGrp="1"/>
          </p:cNvSpPr>
          <p:nvPr>
            <p:ph type="title"/>
          </p:nvPr>
        </p:nvSpPr>
        <p:spPr>
          <a:xfrm>
            <a:off x="7022592" y="707136"/>
            <a:ext cx="3974400" cy="1036400"/>
          </a:xfrm>
          <a:prstGeom prst="rect">
            <a:avLst/>
          </a:prstGeom>
        </p:spPr>
        <p:txBody>
          <a:bodyPr spcFirstLastPara="1" wrap="square" lIns="45700" tIns="18275" rIns="45700" bIns="18275" anchor="t" anchorCtr="0">
            <a:noAutofit/>
          </a:bodyPr>
          <a:lstStyle>
            <a:lvl1pPr lvl="0" algn="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 name="Google Shape;83;p16"/>
          <p:cNvSpPr txBox="1">
            <a:spLocks noGrp="1"/>
          </p:cNvSpPr>
          <p:nvPr>
            <p:ph type="title" idx="2"/>
          </p:nvPr>
        </p:nvSpPr>
        <p:spPr>
          <a:xfrm>
            <a:off x="2804160" y="2572512"/>
            <a:ext cx="3804000" cy="10972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7" b="0" i="0">
                <a:latin typeface="Helvetica" pitchFamily="2" charset="0"/>
              </a:defRPr>
            </a:lvl1pPr>
            <a:lvl2pPr lvl="1">
              <a:spcBef>
                <a:spcPts val="0"/>
              </a:spcBef>
              <a:spcAft>
                <a:spcPts val="0"/>
              </a:spcAft>
              <a:buSzPts val="1700"/>
              <a:buNone/>
              <a:defRPr sz="2267"/>
            </a:lvl2pPr>
            <a:lvl3pPr lvl="2">
              <a:spcBef>
                <a:spcPts val="0"/>
              </a:spcBef>
              <a:spcAft>
                <a:spcPts val="0"/>
              </a:spcAft>
              <a:buSzPts val="1700"/>
              <a:buNone/>
              <a:defRPr sz="2267"/>
            </a:lvl3pPr>
            <a:lvl4pPr lvl="3">
              <a:spcBef>
                <a:spcPts val="0"/>
              </a:spcBef>
              <a:spcAft>
                <a:spcPts val="0"/>
              </a:spcAft>
              <a:buSzPts val="1700"/>
              <a:buNone/>
              <a:defRPr sz="2267"/>
            </a:lvl4pPr>
            <a:lvl5pPr lvl="4">
              <a:spcBef>
                <a:spcPts val="0"/>
              </a:spcBef>
              <a:spcAft>
                <a:spcPts val="0"/>
              </a:spcAft>
              <a:buSzPts val="1700"/>
              <a:buNone/>
              <a:defRPr sz="2267"/>
            </a:lvl5pPr>
            <a:lvl6pPr lvl="5">
              <a:spcBef>
                <a:spcPts val="0"/>
              </a:spcBef>
              <a:spcAft>
                <a:spcPts val="0"/>
              </a:spcAft>
              <a:buSzPts val="1700"/>
              <a:buNone/>
              <a:defRPr sz="2267"/>
            </a:lvl6pPr>
            <a:lvl7pPr lvl="6">
              <a:spcBef>
                <a:spcPts val="0"/>
              </a:spcBef>
              <a:spcAft>
                <a:spcPts val="0"/>
              </a:spcAft>
              <a:buSzPts val="1700"/>
              <a:buNone/>
              <a:defRPr sz="2267"/>
            </a:lvl7pPr>
            <a:lvl8pPr lvl="7">
              <a:spcBef>
                <a:spcPts val="0"/>
              </a:spcBef>
              <a:spcAft>
                <a:spcPts val="0"/>
              </a:spcAft>
              <a:buSzPts val="1700"/>
              <a:buNone/>
              <a:defRPr sz="2267"/>
            </a:lvl8pPr>
            <a:lvl9pPr lvl="8">
              <a:spcBef>
                <a:spcPts val="0"/>
              </a:spcBef>
              <a:spcAft>
                <a:spcPts val="0"/>
              </a:spcAft>
              <a:buSzPts val="1700"/>
              <a:buNone/>
              <a:defRPr sz="2267"/>
            </a:lvl9pPr>
          </a:lstStyle>
          <a:p>
            <a:endParaRPr/>
          </a:p>
        </p:txBody>
      </p:sp>
      <p:sp>
        <p:nvSpPr>
          <p:cNvPr id="84" name="Google Shape;84;p16"/>
          <p:cNvSpPr txBox="1">
            <a:spLocks noGrp="1"/>
          </p:cNvSpPr>
          <p:nvPr>
            <p:ph type="body" idx="1"/>
          </p:nvPr>
        </p:nvSpPr>
        <p:spPr>
          <a:xfrm>
            <a:off x="2791968" y="3742944"/>
            <a:ext cx="3974400" cy="1706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85" name="Google Shape;85;p16"/>
          <p:cNvSpPr txBox="1">
            <a:spLocks noGrp="1"/>
          </p:cNvSpPr>
          <p:nvPr>
            <p:ph type="body" idx="3"/>
          </p:nvPr>
        </p:nvSpPr>
        <p:spPr>
          <a:xfrm>
            <a:off x="7985760" y="2633472"/>
            <a:ext cx="1865200" cy="244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86" name="Google Shape;86;p16"/>
          <p:cNvSpPr txBox="1">
            <a:spLocks noGrp="1"/>
          </p:cNvSpPr>
          <p:nvPr>
            <p:ph type="body" idx="4"/>
          </p:nvPr>
        </p:nvSpPr>
        <p:spPr>
          <a:xfrm>
            <a:off x="7985760" y="3060192"/>
            <a:ext cx="1840800" cy="2440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pic>
        <p:nvPicPr>
          <p:cNvPr id="87" name="Google Shape;87;p16"/>
          <p:cNvPicPr preferRelativeResize="0"/>
          <p:nvPr/>
        </p:nvPicPr>
        <p:blipFill rotWithShape="1">
          <a:blip r:embed="rId4">
            <a:alphaModFix/>
          </a:blip>
          <a:srcRect/>
          <a:stretch/>
        </p:blipFill>
        <p:spPr>
          <a:xfrm>
            <a:off x="7634501" y="2601357"/>
            <a:ext cx="254409" cy="254409"/>
          </a:xfrm>
          <a:prstGeom prst="rect">
            <a:avLst/>
          </a:prstGeom>
          <a:noFill/>
          <a:ln>
            <a:noFill/>
          </a:ln>
        </p:spPr>
      </p:pic>
      <p:sp>
        <p:nvSpPr>
          <p:cNvPr id="88" name="Google Shape;88;p16"/>
          <p:cNvSpPr/>
          <p:nvPr/>
        </p:nvSpPr>
        <p:spPr>
          <a:xfrm>
            <a:off x="7613708" y="3102871"/>
            <a:ext cx="296424" cy="194256"/>
          </a:xfrm>
          <a:custGeom>
            <a:avLst/>
            <a:gdLst/>
            <a:ahLst/>
            <a:cxnLst/>
            <a:rect l="l" t="t" r="r" b="b"/>
            <a:pathLst>
              <a:path w="21600" h="21600" extrusionOk="0">
                <a:moveTo>
                  <a:pt x="11610" y="13990"/>
                </a:moveTo>
                <a:cubicBezTo>
                  <a:pt x="11373" y="14259"/>
                  <a:pt x="11093" y="14400"/>
                  <a:pt x="10800" y="14400"/>
                </a:cubicBezTo>
                <a:cubicBezTo>
                  <a:pt x="10505" y="14400"/>
                  <a:pt x="10225" y="14259"/>
                  <a:pt x="9990" y="13990"/>
                </a:cubicBezTo>
                <a:lnTo>
                  <a:pt x="7198" y="10800"/>
                </a:lnTo>
                <a:lnTo>
                  <a:pt x="6636" y="10157"/>
                </a:lnTo>
                <a:lnTo>
                  <a:pt x="1349" y="4115"/>
                </a:lnTo>
                <a:lnTo>
                  <a:pt x="1349" y="4114"/>
                </a:lnTo>
                <a:cubicBezTo>
                  <a:pt x="1349" y="2980"/>
                  <a:pt x="1955" y="2057"/>
                  <a:pt x="2699" y="2057"/>
                </a:cubicBezTo>
                <a:lnTo>
                  <a:pt x="18899" y="2057"/>
                </a:lnTo>
                <a:cubicBezTo>
                  <a:pt x="19643" y="2057"/>
                  <a:pt x="20249" y="2980"/>
                  <a:pt x="20249" y="4114"/>
                </a:cubicBezTo>
                <a:cubicBezTo>
                  <a:pt x="20249" y="4114"/>
                  <a:pt x="11610" y="13990"/>
                  <a:pt x="11610" y="13990"/>
                </a:cubicBezTo>
                <a:close/>
                <a:moveTo>
                  <a:pt x="20249" y="16198"/>
                </a:moveTo>
                <a:lnTo>
                  <a:pt x="15525" y="10800"/>
                </a:lnTo>
                <a:lnTo>
                  <a:pt x="20249" y="5399"/>
                </a:lnTo>
                <a:cubicBezTo>
                  <a:pt x="20249" y="5399"/>
                  <a:pt x="20249" y="16198"/>
                  <a:pt x="20249" y="16198"/>
                </a:cubicBezTo>
                <a:close/>
                <a:moveTo>
                  <a:pt x="20249" y="17484"/>
                </a:moveTo>
                <a:cubicBezTo>
                  <a:pt x="20249" y="18620"/>
                  <a:pt x="19643" y="19541"/>
                  <a:pt x="18899" y="19541"/>
                </a:cubicBezTo>
                <a:lnTo>
                  <a:pt x="2699" y="19541"/>
                </a:lnTo>
                <a:cubicBezTo>
                  <a:pt x="1955" y="19541"/>
                  <a:pt x="1349" y="18620"/>
                  <a:pt x="1349" y="17484"/>
                </a:cubicBezTo>
                <a:lnTo>
                  <a:pt x="6636" y="11442"/>
                </a:lnTo>
                <a:lnTo>
                  <a:pt x="9585" y="14813"/>
                </a:lnTo>
                <a:cubicBezTo>
                  <a:pt x="9945" y="15222"/>
                  <a:pt x="10372" y="15429"/>
                  <a:pt x="10800" y="15429"/>
                </a:cubicBezTo>
                <a:cubicBezTo>
                  <a:pt x="11228" y="15429"/>
                  <a:pt x="11654" y="15222"/>
                  <a:pt x="12015" y="14813"/>
                </a:cubicBezTo>
                <a:lnTo>
                  <a:pt x="14963" y="11442"/>
                </a:lnTo>
                <a:cubicBezTo>
                  <a:pt x="14963" y="11442"/>
                  <a:pt x="20249" y="17484"/>
                  <a:pt x="20249" y="17484"/>
                </a:cubicBezTo>
                <a:close/>
                <a:moveTo>
                  <a:pt x="1349" y="5399"/>
                </a:moveTo>
                <a:lnTo>
                  <a:pt x="6074" y="10800"/>
                </a:lnTo>
                <a:lnTo>
                  <a:pt x="1349" y="16198"/>
                </a:lnTo>
                <a:cubicBezTo>
                  <a:pt x="1349" y="16198"/>
                  <a:pt x="1349" y="5399"/>
                  <a:pt x="1349" y="5399"/>
                </a:cubicBezTo>
                <a:close/>
                <a:moveTo>
                  <a:pt x="18899" y="0"/>
                </a:moveTo>
                <a:lnTo>
                  <a:pt x="2699" y="0"/>
                </a:lnTo>
                <a:cubicBezTo>
                  <a:pt x="1208" y="0"/>
                  <a:pt x="0" y="1842"/>
                  <a:pt x="0" y="4114"/>
                </a:cubicBezTo>
                <a:lnTo>
                  <a:pt x="0" y="17484"/>
                </a:lnTo>
                <a:cubicBezTo>
                  <a:pt x="0" y="19756"/>
                  <a:pt x="1208" y="21600"/>
                  <a:pt x="2699" y="21600"/>
                </a:cubicBezTo>
                <a:lnTo>
                  <a:pt x="18899" y="21600"/>
                </a:lnTo>
                <a:cubicBezTo>
                  <a:pt x="20391" y="21600"/>
                  <a:pt x="21600" y="19756"/>
                  <a:pt x="21600" y="17484"/>
                </a:cubicBezTo>
                <a:lnTo>
                  <a:pt x="21600" y="4114"/>
                </a:lnTo>
                <a:cubicBezTo>
                  <a:pt x="21600" y="1842"/>
                  <a:pt x="20391" y="0"/>
                  <a:pt x="18899" y="0"/>
                </a:cubicBezTo>
              </a:path>
            </a:pathLst>
          </a:custGeom>
          <a:solidFill>
            <a:schemeClr val="lt1"/>
          </a:solidFill>
          <a:ln>
            <a:noFill/>
          </a:ln>
        </p:spPr>
        <p:txBody>
          <a:bodyPr spcFirstLastPara="1" wrap="square" lIns="11933" tIns="11933" rIns="11933" bIns="11933"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933" b="0" i="0" u="none" strike="noStrike" kern="1200" cap="none" spc="0" normalizeH="0" baseline="0" noProof="0">
              <a:ln>
                <a:noFill/>
              </a:ln>
              <a:solidFill>
                <a:srgbClr val="595959"/>
              </a:solidFill>
              <a:effectLst/>
              <a:uLnTx/>
              <a:uFillTx/>
              <a:latin typeface="Helvetica" pitchFamily="2" charset="0"/>
              <a:ea typeface="Gill Sans"/>
              <a:cs typeface="Gill Sans"/>
              <a:sym typeface="Gill Sans"/>
            </a:endParaRPr>
          </a:p>
        </p:txBody>
      </p:sp>
    </p:spTree>
    <p:extLst>
      <p:ext uri="{BB962C8B-B14F-4D97-AF65-F5344CB8AC3E}">
        <p14:creationId xmlns:p14="http://schemas.microsoft.com/office/powerpoint/2010/main" val="82299543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matchingName="Laptop Screen" preserve="1">
  <p:cSld name="Laptop Screen">
    <p:spTree>
      <p:nvGrpSpPr>
        <p:cNvPr id="1" name="Shape 89"/>
        <p:cNvGrpSpPr/>
        <p:nvPr/>
      </p:nvGrpSpPr>
      <p:grpSpPr>
        <a:xfrm>
          <a:off x="0" y="0"/>
          <a:ext cx="0" cy="0"/>
          <a:chOff x="0" y="0"/>
          <a:chExt cx="0" cy="0"/>
        </a:xfrm>
      </p:grpSpPr>
      <p:sp>
        <p:nvSpPr>
          <p:cNvPr id="90" name="Google Shape;90;p17"/>
          <p:cNvSpPr/>
          <p:nvPr/>
        </p:nvSpPr>
        <p:spPr>
          <a:xfrm>
            <a:off x="771253" y="3384321"/>
            <a:ext cx="10648400" cy="8794800"/>
          </a:xfrm>
          <a:prstGeom prst="ellipse">
            <a:avLst/>
          </a:prstGeom>
          <a:gradFill>
            <a:gsLst>
              <a:gs pos="0">
                <a:srgbClr val="D59DFF">
                  <a:alpha val="9803"/>
                </a:srgbClr>
              </a:gs>
              <a:gs pos="79000">
                <a:srgbClr val="1F9CF0"/>
              </a:gs>
              <a:gs pos="100000">
                <a:srgbClr val="1F9CF0"/>
              </a:gs>
            </a:gsLst>
            <a:lin ang="5400012"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91" name="Google Shape;91;p17"/>
          <p:cNvPicPr preferRelativeResize="0"/>
          <p:nvPr/>
        </p:nvPicPr>
        <p:blipFill rotWithShape="1">
          <a:blip r:embed="rId2">
            <a:alphaModFix/>
          </a:blip>
          <a:srcRect/>
          <a:stretch/>
        </p:blipFill>
        <p:spPr>
          <a:xfrm>
            <a:off x="2512548" y="2210315"/>
            <a:ext cx="7155829" cy="3910328"/>
          </a:xfrm>
          <a:prstGeom prst="rect">
            <a:avLst/>
          </a:prstGeom>
          <a:noFill/>
          <a:ln>
            <a:noFill/>
          </a:ln>
          <a:effectLst>
            <a:outerShdw blurRad="1270000" sx="90000" sy="-19000" rotWithShape="0">
              <a:srgbClr val="000000">
                <a:alpha val="40000"/>
              </a:srgbClr>
            </a:outerShdw>
          </a:effectLst>
        </p:spPr>
      </p:pic>
      <p:sp>
        <p:nvSpPr>
          <p:cNvPr id="92" name="Google Shape;92;p17"/>
          <p:cNvSpPr/>
          <p:nvPr/>
        </p:nvSpPr>
        <p:spPr>
          <a:xfrm>
            <a:off x="965461" y="2267483"/>
            <a:ext cx="2126800" cy="1116800"/>
          </a:xfrm>
          <a:prstGeom prst="wedgeRectCallout">
            <a:avLst>
              <a:gd name="adj1" fmla="val 72666"/>
              <a:gd name="adj2" fmla="val 36106"/>
            </a:avLst>
          </a:prstGeom>
          <a:gradFill>
            <a:gsLst>
              <a:gs pos="0">
                <a:srgbClr val="1F9CF0"/>
              </a:gs>
              <a:gs pos="2000">
                <a:srgbClr val="1F9CF0"/>
              </a:gs>
              <a:gs pos="100000">
                <a:srgbClr val="9477E2">
                  <a:alpha val="20000"/>
                </a:srgbClr>
              </a:gs>
            </a:gsLst>
            <a:lin ang="2700006" scaled="0"/>
          </a:gradFill>
          <a:ln>
            <a:noFill/>
          </a:ln>
          <a:effectLst>
            <a:outerShdw blurRad="1270000" dist="1384300" dir="2700000" sx="75000" sy="75000" algn="tl"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93" name="Google Shape;93;p17"/>
          <p:cNvSpPr/>
          <p:nvPr/>
        </p:nvSpPr>
        <p:spPr>
          <a:xfrm>
            <a:off x="965461" y="3909925"/>
            <a:ext cx="2126800" cy="1059600"/>
          </a:xfrm>
          <a:prstGeom prst="wedgeRectCallout">
            <a:avLst>
              <a:gd name="adj1" fmla="val 74259"/>
              <a:gd name="adj2" fmla="val -62681"/>
            </a:avLst>
          </a:prstGeom>
          <a:gradFill>
            <a:gsLst>
              <a:gs pos="0">
                <a:srgbClr val="1F9CF0"/>
              </a:gs>
              <a:gs pos="100000">
                <a:srgbClr val="9477E2">
                  <a:alpha val="20000"/>
                </a:srgbClr>
              </a:gs>
            </a:gsLst>
            <a:lin ang="2700006" scaled="0"/>
          </a:gradFill>
          <a:ln>
            <a:noFill/>
          </a:ln>
          <a:effectLst>
            <a:outerShdw blurRad="1270000" dist="685800" dir="18900000" sx="85000" sy="85000" algn="bl"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94" name="Google Shape;94;p17"/>
          <p:cNvSpPr/>
          <p:nvPr/>
        </p:nvSpPr>
        <p:spPr>
          <a:xfrm>
            <a:off x="9099824" y="2267483"/>
            <a:ext cx="2126800" cy="1116800"/>
          </a:xfrm>
          <a:prstGeom prst="wedgeRectCallout">
            <a:avLst>
              <a:gd name="adj1" fmla="val -82756"/>
              <a:gd name="adj2" fmla="val -6358"/>
            </a:avLst>
          </a:prstGeom>
          <a:gradFill>
            <a:gsLst>
              <a:gs pos="0">
                <a:srgbClr val="9477E2">
                  <a:alpha val="20000"/>
                </a:srgbClr>
              </a:gs>
              <a:gs pos="100000">
                <a:schemeClr val="accent2"/>
              </a:gs>
            </a:gsLst>
            <a:lin ang="0" scaled="0"/>
          </a:gradFill>
          <a:ln>
            <a:noFill/>
          </a:ln>
          <a:effectLst>
            <a:outerShdw blurRad="1270000" dist="1016000" dir="8100000" sx="86000" sy="86000" algn="tr"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95" name="Google Shape;95;p17"/>
          <p:cNvCxnSpPr/>
          <p:nvPr/>
        </p:nvCxnSpPr>
        <p:spPr>
          <a:xfrm>
            <a:off x="4715777" y="817736"/>
            <a:ext cx="2760400" cy="0"/>
          </a:xfrm>
          <a:prstGeom prst="straightConnector1">
            <a:avLst/>
          </a:prstGeom>
          <a:noFill/>
          <a:ln w="12700" cap="flat" cmpd="sng">
            <a:solidFill>
              <a:srgbClr val="627597"/>
            </a:solidFill>
            <a:prstDash val="solid"/>
            <a:miter lim="800000"/>
            <a:headEnd type="none" w="sm" len="sm"/>
            <a:tailEnd type="none" w="sm" len="sm"/>
          </a:ln>
        </p:spPr>
      </p:cxnSp>
      <p:sp>
        <p:nvSpPr>
          <p:cNvPr id="96" name="Google Shape;96;p17"/>
          <p:cNvSpPr/>
          <p:nvPr/>
        </p:nvSpPr>
        <p:spPr>
          <a:xfrm>
            <a:off x="9098853" y="3909924"/>
            <a:ext cx="2126800" cy="1059600"/>
          </a:xfrm>
          <a:prstGeom prst="wedgeRectCallout">
            <a:avLst>
              <a:gd name="adj1" fmla="val -85826"/>
              <a:gd name="adj2" fmla="val -7867"/>
            </a:avLst>
          </a:prstGeom>
          <a:gradFill>
            <a:gsLst>
              <a:gs pos="0">
                <a:srgbClr val="1F9CF0"/>
              </a:gs>
              <a:gs pos="2000">
                <a:srgbClr val="1F9CF0"/>
              </a:gs>
              <a:gs pos="100000">
                <a:srgbClr val="9477E2">
                  <a:alpha val="20000"/>
                </a:srgbClr>
              </a:gs>
            </a:gsLst>
            <a:lin ang="2700006" scaled="0"/>
          </a:gradFill>
          <a:ln>
            <a:noFill/>
          </a:ln>
          <a:effectLst>
            <a:outerShdw blurRad="1270000" dist="1384300" dir="2700000" sx="75000" sy="75000" algn="tl"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97" name="Google Shape;97;p17"/>
          <p:cNvPicPr preferRelativeResize="0"/>
          <p:nvPr/>
        </p:nvPicPr>
        <p:blipFill rotWithShape="1">
          <a:blip r:embed="rId3">
            <a:alphaModFix amt="30000"/>
          </a:blip>
          <a:srcRect/>
          <a:stretch/>
        </p:blipFill>
        <p:spPr>
          <a:xfrm>
            <a:off x="-3954558" y="-3336011"/>
            <a:ext cx="5016492" cy="5016492"/>
          </a:xfrm>
          <a:prstGeom prst="rect">
            <a:avLst/>
          </a:prstGeom>
          <a:noFill/>
          <a:ln>
            <a:noFill/>
          </a:ln>
        </p:spPr>
      </p:pic>
      <p:pic>
        <p:nvPicPr>
          <p:cNvPr id="98" name="Google Shape;98;p17"/>
          <p:cNvPicPr preferRelativeResize="0"/>
          <p:nvPr/>
        </p:nvPicPr>
        <p:blipFill rotWithShape="1">
          <a:blip r:embed="rId3">
            <a:alphaModFix amt="30000"/>
          </a:blip>
          <a:srcRect/>
          <a:stretch/>
        </p:blipFill>
        <p:spPr>
          <a:xfrm>
            <a:off x="11122303" y="-3331779"/>
            <a:ext cx="5016492" cy="5016492"/>
          </a:xfrm>
          <a:prstGeom prst="rect">
            <a:avLst/>
          </a:prstGeom>
          <a:noFill/>
          <a:ln>
            <a:noFill/>
          </a:ln>
        </p:spPr>
      </p:pic>
      <p:sp>
        <p:nvSpPr>
          <p:cNvPr id="99" name="Google Shape;99;p17"/>
          <p:cNvSpPr>
            <a:spLocks noGrp="1"/>
          </p:cNvSpPr>
          <p:nvPr>
            <p:ph type="pic" idx="2"/>
          </p:nvPr>
        </p:nvSpPr>
        <p:spPr>
          <a:xfrm>
            <a:off x="3523488" y="2462784"/>
            <a:ext cx="5157200" cy="3218800"/>
          </a:xfrm>
          <a:prstGeom prst="rect">
            <a:avLst/>
          </a:prstGeom>
          <a:noFill/>
          <a:ln>
            <a:noFill/>
          </a:ln>
        </p:spPr>
        <p:txBody>
          <a:bodyPr anchor="ctr"/>
          <a:lstStyle>
            <a:lvl1pPr marL="0" indent="0" algn="ctr">
              <a:buNone/>
              <a:defRPr sz="1067" b="0" i="0">
                <a:solidFill>
                  <a:schemeClr val="tx1"/>
                </a:solidFill>
                <a:latin typeface="Helvetica" pitchFamily="2" charset="0"/>
              </a:defRPr>
            </a:lvl1pPr>
          </a:lstStyle>
          <a:p>
            <a:endParaRPr lang="en-US"/>
          </a:p>
        </p:txBody>
      </p:sp>
      <p:sp>
        <p:nvSpPr>
          <p:cNvPr id="100" name="Google Shape;100;p17"/>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algn="ctr" rtl="0">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101" name="Google Shape;101;p17"/>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02" name="Google Shape;102;p17"/>
          <p:cNvSpPr txBox="1">
            <a:spLocks noGrp="1"/>
          </p:cNvSpPr>
          <p:nvPr>
            <p:ph type="body" idx="3"/>
          </p:nvPr>
        </p:nvSpPr>
        <p:spPr>
          <a:xfrm>
            <a:off x="1219200" y="2414016"/>
            <a:ext cx="1633600" cy="2316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900"/>
              <a:buNone/>
              <a:defRPr sz="1200" b="1" i="0">
                <a:solidFill>
                  <a:schemeClr val="bg1"/>
                </a:solidFill>
                <a:latin typeface="Helvetica" pitchFamily="2" charset="0"/>
              </a:defRPr>
            </a:lvl1pPr>
            <a:lvl2pPr marL="1219170" lvl="1" indent="-380990" algn="ctr">
              <a:lnSpc>
                <a:spcPct val="100000"/>
              </a:lnSpc>
              <a:spcBef>
                <a:spcPts val="0"/>
              </a:spcBef>
              <a:spcAft>
                <a:spcPts val="0"/>
              </a:spcAft>
              <a:buSzPts val="900"/>
              <a:buChar char="○"/>
              <a:defRPr sz="1200"/>
            </a:lvl2pPr>
            <a:lvl3pPr marL="1828754" lvl="2" indent="-380990" algn="ctr">
              <a:lnSpc>
                <a:spcPct val="100000"/>
              </a:lnSpc>
              <a:spcBef>
                <a:spcPts val="0"/>
              </a:spcBef>
              <a:spcAft>
                <a:spcPts val="0"/>
              </a:spcAft>
              <a:buSzPts val="900"/>
              <a:buChar char="■"/>
              <a:defRPr sz="1200"/>
            </a:lvl3pPr>
            <a:lvl4pPr marL="2438339" lvl="3" indent="-380990" algn="ctr">
              <a:lnSpc>
                <a:spcPct val="100000"/>
              </a:lnSpc>
              <a:spcBef>
                <a:spcPts val="0"/>
              </a:spcBef>
              <a:spcAft>
                <a:spcPts val="0"/>
              </a:spcAft>
              <a:buSzPts val="900"/>
              <a:buChar char="●"/>
              <a:defRPr sz="1200"/>
            </a:lvl4pPr>
            <a:lvl5pPr marL="3047924" lvl="4" indent="-380990" algn="ctr">
              <a:lnSpc>
                <a:spcPct val="100000"/>
              </a:lnSpc>
              <a:spcBef>
                <a:spcPts val="0"/>
              </a:spcBef>
              <a:spcAft>
                <a:spcPts val="0"/>
              </a:spcAft>
              <a:buSzPts val="900"/>
              <a:buChar char="○"/>
              <a:defRPr sz="1200"/>
            </a:lvl5pPr>
            <a:lvl6pPr marL="3657509" lvl="5" indent="-380990" algn="ctr">
              <a:lnSpc>
                <a:spcPct val="100000"/>
              </a:lnSpc>
              <a:spcBef>
                <a:spcPts val="0"/>
              </a:spcBef>
              <a:spcAft>
                <a:spcPts val="0"/>
              </a:spcAft>
              <a:buSzPts val="900"/>
              <a:buChar char="■"/>
              <a:defRPr sz="1200"/>
            </a:lvl6pPr>
            <a:lvl7pPr marL="4267093" lvl="6" indent="-380990" algn="ctr">
              <a:lnSpc>
                <a:spcPct val="100000"/>
              </a:lnSpc>
              <a:spcBef>
                <a:spcPts val="0"/>
              </a:spcBef>
              <a:spcAft>
                <a:spcPts val="0"/>
              </a:spcAft>
              <a:buSzPts val="900"/>
              <a:buChar char="●"/>
              <a:defRPr sz="1200"/>
            </a:lvl7pPr>
            <a:lvl8pPr marL="4876678" lvl="7" indent="-380990" algn="ctr">
              <a:lnSpc>
                <a:spcPct val="100000"/>
              </a:lnSpc>
              <a:spcBef>
                <a:spcPts val="0"/>
              </a:spcBef>
              <a:spcAft>
                <a:spcPts val="0"/>
              </a:spcAft>
              <a:buSzPts val="900"/>
              <a:buChar char="○"/>
              <a:defRPr sz="1200"/>
            </a:lvl8pPr>
            <a:lvl9pPr marL="5486263" lvl="8" indent="-380990" algn="ctr">
              <a:lnSpc>
                <a:spcPct val="100000"/>
              </a:lnSpc>
              <a:spcBef>
                <a:spcPts val="0"/>
              </a:spcBef>
              <a:spcAft>
                <a:spcPts val="0"/>
              </a:spcAft>
              <a:buSzPts val="900"/>
              <a:buChar char="■"/>
              <a:defRPr sz="1200"/>
            </a:lvl9pPr>
          </a:lstStyle>
          <a:p>
            <a:endParaRPr/>
          </a:p>
        </p:txBody>
      </p:sp>
      <p:sp>
        <p:nvSpPr>
          <p:cNvPr id="103" name="Google Shape;103;p17"/>
          <p:cNvSpPr txBox="1">
            <a:spLocks noGrp="1"/>
          </p:cNvSpPr>
          <p:nvPr>
            <p:ph type="body" idx="4"/>
          </p:nvPr>
        </p:nvSpPr>
        <p:spPr>
          <a:xfrm>
            <a:off x="1219200" y="4035552"/>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200" b="1" i="0">
                <a:solidFill>
                  <a:schemeClr val="bg1"/>
                </a:solidFill>
                <a:latin typeface="Helvetica" pitchFamily="2" charset="0"/>
              </a:defRPr>
            </a:lvl1pPr>
            <a:lvl2pPr marL="1219170" lvl="1" indent="-380990" algn="ctr" rtl="0">
              <a:lnSpc>
                <a:spcPct val="100000"/>
              </a:lnSpc>
              <a:spcBef>
                <a:spcPts val="0"/>
              </a:spcBef>
              <a:spcAft>
                <a:spcPts val="0"/>
              </a:spcAft>
              <a:buSzPts val="900"/>
              <a:buChar char="○"/>
              <a:defRPr sz="1200"/>
            </a:lvl2pPr>
            <a:lvl3pPr marL="1828754" lvl="2" indent="-380990" algn="ctr" rtl="0">
              <a:lnSpc>
                <a:spcPct val="100000"/>
              </a:lnSpc>
              <a:spcBef>
                <a:spcPts val="0"/>
              </a:spcBef>
              <a:spcAft>
                <a:spcPts val="0"/>
              </a:spcAft>
              <a:buSzPts val="900"/>
              <a:buChar char="■"/>
              <a:defRPr sz="1200"/>
            </a:lvl3pPr>
            <a:lvl4pPr marL="2438339" lvl="3" indent="-380990" algn="ctr" rtl="0">
              <a:lnSpc>
                <a:spcPct val="100000"/>
              </a:lnSpc>
              <a:spcBef>
                <a:spcPts val="0"/>
              </a:spcBef>
              <a:spcAft>
                <a:spcPts val="0"/>
              </a:spcAft>
              <a:buSzPts val="900"/>
              <a:buChar char="●"/>
              <a:defRPr sz="1200"/>
            </a:lvl4pPr>
            <a:lvl5pPr marL="3047924" lvl="4" indent="-380990" algn="ctr" rtl="0">
              <a:lnSpc>
                <a:spcPct val="100000"/>
              </a:lnSpc>
              <a:spcBef>
                <a:spcPts val="0"/>
              </a:spcBef>
              <a:spcAft>
                <a:spcPts val="0"/>
              </a:spcAft>
              <a:buSzPts val="900"/>
              <a:buChar char="○"/>
              <a:defRPr sz="1200"/>
            </a:lvl5pPr>
            <a:lvl6pPr marL="3657509" lvl="5" indent="-380990" algn="ctr" rtl="0">
              <a:lnSpc>
                <a:spcPct val="100000"/>
              </a:lnSpc>
              <a:spcBef>
                <a:spcPts val="0"/>
              </a:spcBef>
              <a:spcAft>
                <a:spcPts val="0"/>
              </a:spcAft>
              <a:buSzPts val="900"/>
              <a:buChar char="■"/>
              <a:defRPr sz="1200"/>
            </a:lvl6pPr>
            <a:lvl7pPr marL="4267093" lvl="6" indent="-380990" algn="ctr" rtl="0">
              <a:lnSpc>
                <a:spcPct val="100000"/>
              </a:lnSpc>
              <a:spcBef>
                <a:spcPts val="0"/>
              </a:spcBef>
              <a:spcAft>
                <a:spcPts val="0"/>
              </a:spcAft>
              <a:buSzPts val="900"/>
              <a:buChar char="●"/>
              <a:defRPr sz="1200"/>
            </a:lvl7pPr>
            <a:lvl8pPr marL="4876678" lvl="7" indent="-380990" algn="ctr" rtl="0">
              <a:lnSpc>
                <a:spcPct val="100000"/>
              </a:lnSpc>
              <a:spcBef>
                <a:spcPts val="0"/>
              </a:spcBef>
              <a:spcAft>
                <a:spcPts val="0"/>
              </a:spcAft>
              <a:buSzPts val="900"/>
              <a:buChar char="○"/>
              <a:defRPr sz="1200"/>
            </a:lvl8pPr>
            <a:lvl9pPr marL="5486263" lvl="8" indent="-380990" algn="ctr" rtl="0">
              <a:lnSpc>
                <a:spcPct val="100000"/>
              </a:lnSpc>
              <a:spcBef>
                <a:spcPts val="0"/>
              </a:spcBef>
              <a:spcAft>
                <a:spcPts val="0"/>
              </a:spcAft>
              <a:buSzPts val="900"/>
              <a:buChar char="■"/>
              <a:defRPr sz="1200"/>
            </a:lvl9pPr>
          </a:lstStyle>
          <a:p>
            <a:endParaRPr/>
          </a:p>
        </p:txBody>
      </p:sp>
      <p:sp>
        <p:nvSpPr>
          <p:cNvPr id="104" name="Google Shape;104;p17"/>
          <p:cNvSpPr txBox="1">
            <a:spLocks noGrp="1"/>
          </p:cNvSpPr>
          <p:nvPr>
            <p:ph type="body" idx="5"/>
          </p:nvPr>
        </p:nvSpPr>
        <p:spPr>
          <a:xfrm>
            <a:off x="9351264" y="2417616"/>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200" b="1" i="0">
                <a:solidFill>
                  <a:schemeClr val="bg1"/>
                </a:solidFill>
                <a:latin typeface="Helvetica" pitchFamily="2" charset="0"/>
              </a:defRPr>
            </a:lvl1pPr>
            <a:lvl2pPr marL="1219170" lvl="1" indent="-380990" algn="ctr" rtl="0">
              <a:lnSpc>
                <a:spcPct val="100000"/>
              </a:lnSpc>
              <a:spcBef>
                <a:spcPts val="0"/>
              </a:spcBef>
              <a:spcAft>
                <a:spcPts val="0"/>
              </a:spcAft>
              <a:buSzPts val="900"/>
              <a:buChar char="○"/>
              <a:defRPr sz="1200"/>
            </a:lvl2pPr>
            <a:lvl3pPr marL="1828754" lvl="2" indent="-380990" algn="ctr" rtl="0">
              <a:lnSpc>
                <a:spcPct val="100000"/>
              </a:lnSpc>
              <a:spcBef>
                <a:spcPts val="0"/>
              </a:spcBef>
              <a:spcAft>
                <a:spcPts val="0"/>
              </a:spcAft>
              <a:buSzPts val="900"/>
              <a:buChar char="■"/>
              <a:defRPr sz="1200"/>
            </a:lvl3pPr>
            <a:lvl4pPr marL="2438339" lvl="3" indent="-380990" algn="ctr" rtl="0">
              <a:lnSpc>
                <a:spcPct val="100000"/>
              </a:lnSpc>
              <a:spcBef>
                <a:spcPts val="0"/>
              </a:spcBef>
              <a:spcAft>
                <a:spcPts val="0"/>
              </a:spcAft>
              <a:buSzPts val="900"/>
              <a:buChar char="●"/>
              <a:defRPr sz="1200"/>
            </a:lvl4pPr>
            <a:lvl5pPr marL="3047924" lvl="4" indent="-380990" algn="ctr" rtl="0">
              <a:lnSpc>
                <a:spcPct val="100000"/>
              </a:lnSpc>
              <a:spcBef>
                <a:spcPts val="0"/>
              </a:spcBef>
              <a:spcAft>
                <a:spcPts val="0"/>
              </a:spcAft>
              <a:buSzPts val="900"/>
              <a:buChar char="○"/>
              <a:defRPr sz="1200"/>
            </a:lvl5pPr>
            <a:lvl6pPr marL="3657509" lvl="5" indent="-380990" algn="ctr" rtl="0">
              <a:lnSpc>
                <a:spcPct val="100000"/>
              </a:lnSpc>
              <a:spcBef>
                <a:spcPts val="0"/>
              </a:spcBef>
              <a:spcAft>
                <a:spcPts val="0"/>
              </a:spcAft>
              <a:buSzPts val="900"/>
              <a:buChar char="■"/>
              <a:defRPr sz="1200"/>
            </a:lvl6pPr>
            <a:lvl7pPr marL="4267093" lvl="6" indent="-380990" algn="ctr" rtl="0">
              <a:lnSpc>
                <a:spcPct val="100000"/>
              </a:lnSpc>
              <a:spcBef>
                <a:spcPts val="0"/>
              </a:spcBef>
              <a:spcAft>
                <a:spcPts val="0"/>
              </a:spcAft>
              <a:buSzPts val="900"/>
              <a:buChar char="●"/>
              <a:defRPr sz="1200"/>
            </a:lvl7pPr>
            <a:lvl8pPr marL="4876678" lvl="7" indent="-380990" algn="ctr" rtl="0">
              <a:lnSpc>
                <a:spcPct val="100000"/>
              </a:lnSpc>
              <a:spcBef>
                <a:spcPts val="0"/>
              </a:spcBef>
              <a:spcAft>
                <a:spcPts val="0"/>
              </a:spcAft>
              <a:buSzPts val="900"/>
              <a:buChar char="○"/>
              <a:defRPr sz="1200"/>
            </a:lvl8pPr>
            <a:lvl9pPr marL="5486263" lvl="8" indent="-380990" algn="ctr" rtl="0">
              <a:lnSpc>
                <a:spcPct val="100000"/>
              </a:lnSpc>
              <a:spcBef>
                <a:spcPts val="0"/>
              </a:spcBef>
              <a:spcAft>
                <a:spcPts val="0"/>
              </a:spcAft>
              <a:buSzPts val="900"/>
              <a:buChar char="■"/>
              <a:defRPr sz="1200"/>
            </a:lvl9pPr>
          </a:lstStyle>
          <a:p>
            <a:endParaRPr/>
          </a:p>
        </p:txBody>
      </p:sp>
      <p:sp>
        <p:nvSpPr>
          <p:cNvPr id="105" name="Google Shape;105;p17"/>
          <p:cNvSpPr txBox="1">
            <a:spLocks noGrp="1"/>
          </p:cNvSpPr>
          <p:nvPr>
            <p:ph type="body" idx="6"/>
          </p:nvPr>
        </p:nvSpPr>
        <p:spPr>
          <a:xfrm>
            <a:off x="9351400" y="4035552"/>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900"/>
              <a:buNone/>
              <a:defRPr sz="1200" b="1" i="0">
                <a:solidFill>
                  <a:schemeClr val="bg1"/>
                </a:solidFill>
                <a:latin typeface="Helvetica" pitchFamily="2" charset="0"/>
              </a:defRPr>
            </a:lvl1pPr>
            <a:lvl2pPr marL="1219170" lvl="1" indent="-380990" algn="ctr" rtl="0">
              <a:lnSpc>
                <a:spcPct val="100000"/>
              </a:lnSpc>
              <a:spcBef>
                <a:spcPts val="0"/>
              </a:spcBef>
              <a:spcAft>
                <a:spcPts val="0"/>
              </a:spcAft>
              <a:buSzPts val="900"/>
              <a:buChar char="○"/>
              <a:defRPr sz="1200"/>
            </a:lvl2pPr>
            <a:lvl3pPr marL="1828754" lvl="2" indent="-380990" algn="ctr" rtl="0">
              <a:lnSpc>
                <a:spcPct val="100000"/>
              </a:lnSpc>
              <a:spcBef>
                <a:spcPts val="0"/>
              </a:spcBef>
              <a:spcAft>
                <a:spcPts val="0"/>
              </a:spcAft>
              <a:buSzPts val="900"/>
              <a:buChar char="■"/>
              <a:defRPr sz="1200"/>
            </a:lvl3pPr>
            <a:lvl4pPr marL="2438339" lvl="3" indent="-380990" algn="ctr" rtl="0">
              <a:lnSpc>
                <a:spcPct val="100000"/>
              </a:lnSpc>
              <a:spcBef>
                <a:spcPts val="0"/>
              </a:spcBef>
              <a:spcAft>
                <a:spcPts val="0"/>
              </a:spcAft>
              <a:buSzPts val="900"/>
              <a:buChar char="●"/>
              <a:defRPr sz="1200"/>
            </a:lvl4pPr>
            <a:lvl5pPr marL="3047924" lvl="4" indent="-380990" algn="ctr" rtl="0">
              <a:lnSpc>
                <a:spcPct val="100000"/>
              </a:lnSpc>
              <a:spcBef>
                <a:spcPts val="0"/>
              </a:spcBef>
              <a:spcAft>
                <a:spcPts val="0"/>
              </a:spcAft>
              <a:buSzPts val="900"/>
              <a:buChar char="○"/>
              <a:defRPr sz="1200"/>
            </a:lvl5pPr>
            <a:lvl6pPr marL="3657509" lvl="5" indent="-380990" algn="ctr" rtl="0">
              <a:lnSpc>
                <a:spcPct val="100000"/>
              </a:lnSpc>
              <a:spcBef>
                <a:spcPts val="0"/>
              </a:spcBef>
              <a:spcAft>
                <a:spcPts val="0"/>
              </a:spcAft>
              <a:buSzPts val="900"/>
              <a:buChar char="■"/>
              <a:defRPr sz="1200"/>
            </a:lvl6pPr>
            <a:lvl7pPr marL="4267093" lvl="6" indent="-380990" algn="ctr" rtl="0">
              <a:lnSpc>
                <a:spcPct val="100000"/>
              </a:lnSpc>
              <a:spcBef>
                <a:spcPts val="0"/>
              </a:spcBef>
              <a:spcAft>
                <a:spcPts val="0"/>
              </a:spcAft>
              <a:buSzPts val="900"/>
              <a:buChar char="●"/>
              <a:defRPr sz="1200"/>
            </a:lvl7pPr>
            <a:lvl8pPr marL="4876678" lvl="7" indent="-380990" algn="ctr" rtl="0">
              <a:lnSpc>
                <a:spcPct val="100000"/>
              </a:lnSpc>
              <a:spcBef>
                <a:spcPts val="0"/>
              </a:spcBef>
              <a:spcAft>
                <a:spcPts val="0"/>
              </a:spcAft>
              <a:buSzPts val="900"/>
              <a:buChar char="○"/>
              <a:defRPr sz="1200"/>
            </a:lvl8pPr>
            <a:lvl9pPr marL="5486263" lvl="8" indent="-380990" algn="ctr" rtl="0">
              <a:lnSpc>
                <a:spcPct val="100000"/>
              </a:lnSpc>
              <a:spcBef>
                <a:spcPts val="0"/>
              </a:spcBef>
              <a:spcAft>
                <a:spcPts val="0"/>
              </a:spcAft>
              <a:buSzPts val="900"/>
              <a:buChar char="■"/>
              <a:defRPr sz="1200"/>
            </a:lvl9pPr>
          </a:lstStyle>
          <a:p>
            <a:endParaRPr/>
          </a:p>
        </p:txBody>
      </p:sp>
      <p:sp>
        <p:nvSpPr>
          <p:cNvPr id="106" name="Google Shape;106;p17"/>
          <p:cNvSpPr txBox="1">
            <a:spLocks noGrp="1"/>
          </p:cNvSpPr>
          <p:nvPr>
            <p:ph type="body" idx="7"/>
          </p:nvPr>
        </p:nvSpPr>
        <p:spPr>
          <a:xfrm>
            <a:off x="963168" y="2694432"/>
            <a:ext cx="2121600" cy="414400"/>
          </a:xfrm>
          <a:prstGeom prst="rect">
            <a:avLst/>
          </a:prstGeom>
        </p:spPr>
        <p:txBody>
          <a:bodyPr spcFirstLastPara="1" wrap="square" lIns="82275" tIns="18275" rIns="82275" bIns="18275" anchor="t" anchorCtr="0">
            <a:noAutofit/>
          </a:bodyPr>
          <a:lstStyle>
            <a:lvl1pPr marL="0" lvl="0" indent="0" algn="ctr">
              <a:spcBef>
                <a:spcPts val="0"/>
              </a:spcBef>
              <a:spcAft>
                <a:spcPts val="0"/>
              </a:spcAft>
              <a:buSzPts val="800"/>
              <a:buNone/>
              <a:defRPr sz="1067" b="0" i="0">
                <a:latin typeface="Helvetica" pitchFamily="2" charset="0"/>
              </a:defRPr>
            </a:lvl1pPr>
            <a:lvl2pPr marL="1219170" lvl="1" indent="-372524" algn="ctr">
              <a:spcBef>
                <a:spcPts val="0"/>
              </a:spcBef>
              <a:spcAft>
                <a:spcPts val="0"/>
              </a:spcAft>
              <a:buSzPts val="800"/>
              <a:buChar char="○"/>
              <a:defRPr sz="1067"/>
            </a:lvl2pPr>
            <a:lvl3pPr marL="1828754" lvl="2" indent="-372524" algn="ctr">
              <a:spcBef>
                <a:spcPts val="0"/>
              </a:spcBef>
              <a:spcAft>
                <a:spcPts val="0"/>
              </a:spcAft>
              <a:buSzPts val="800"/>
              <a:buChar char="■"/>
              <a:defRPr sz="1067"/>
            </a:lvl3pPr>
            <a:lvl4pPr marL="2438339" lvl="3" indent="-372524" algn="ctr">
              <a:spcBef>
                <a:spcPts val="0"/>
              </a:spcBef>
              <a:spcAft>
                <a:spcPts val="0"/>
              </a:spcAft>
              <a:buSzPts val="800"/>
              <a:buChar char="●"/>
              <a:defRPr sz="1067"/>
            </a:lvl4pPr>
            <a:lvl5pPr marL="3047924" lvl="4" indent="-372524" algn="ctr">
              <a:spcBef>
                <a:spcPts val="0"/>
              </a:spcBef>
              <a:spcAft>
                <a:spcPts val="0"/>
              </a:spcAft>
              <a:buSzPts val="800"/>
              <a:buChar char="○"/>
              <a:defRPr sz="1067"/>
            </a:lvl5pPr>
            <a:lvl6pPr marL="3657509" lvl="5" indent="-372524" algn="ctr">
              <a:spcBef>
                <a:spcPts val="0"/>
              </a:spcBef>
              <a:spcAft>
                <a:spcPts val="0"/>
              </a:spcAft>
              <a:buSzPts val="800"/>
              <a:buChar char="■"/>
              <a:defRPr sz="1067"/>
            </a:lvl6pPr>
            <a:lvl7pPr marL="4267093" lvl="6" indent="-372524" algn="ctr">
              <a:spcBef>
                <a:spcPts val="0"/>
              </a:spcBef>
              <a:spcAft>
                <a:spcPts val="0"/>
              </a:spcAft>
              <a:buSzPts val="800"/>
              <a:buChar char="●"/>
              <a:defRPr sz="1067"/>
            </a:lvl7pPr>
            <a:lvl8pPr marL="4876678" lvl="7" indent="-372524" algn="ctr">
              <a:spcBef>
                <a:spcPts val="0"/>
              </a:spcBef>
              <a:spcAft>
                <a:spcPts val="0"/>
              </a:spcAft>
              <a:buSzPts val="800"/>
              <a:buChar char="○"/>
              <a:defRPr sz="1067"/>
            </a:lvl8pPr>
            <a:lvl9pPr marL="5486263" lvl="8" indent="-372524" algn="ctr">
              <a:spcBef>
                <a:spcPts val="0"/>
              </a:spcBef>
              <a:spcAft>
                <a:spcPts val="0"/>
              </a:spcAft>
              <a:buSzPts val="800"/>
              <a:buChar char="■"/>
              <a:defRPr sz="1067"/>
            </a:lvl9pPr>
          </a:lstStyle>
          <a:p>
            <a:endParaRPr/>
          </a:p>
        </p:txBody>
      </p:sp>
      <p:sp>
        <p:nvSpPr>
          <p:cNvPr id="107" name="Google Shape;107;p17"/>
          <p:cNvSpPr txBox="1">
            <a:spLocks noGrp="1"/>
          </p:cNvSpPr>
          <p:nvPr>
            <p:ph type="body" idx="8"/>
          </p:nvPr>
        </p:nvSpPr>
        <p:spPr>
          <a:xfrm>
            <a:off x="963168" y="4315968"/>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108" name="Google Shape;108;p17"/>
          <p:cNvSpPr txBox="1">
            <a:spLocks noGrp="1"/>
          </p:cNvSpPr>
          <p:nvPr>
            <p:ph type="body" idx="9"/>
          </p:nvPr>
        </p:nvSpPr>
        <p:spPr>
          <a:xfrm>
            <a:off x="9095232" y="2706624"/>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109" name="Google Shape;109;p17"/>
          <p:cNvSpPr txBox="1">
            <a:spLocks noGrp="1"/>
          </p:cNvSpPr>
          <p:nvPr>
            <p:ph type="body" idx="13"/>
          </p:nvPr>
        </p:nvSpPr>
        <p:spPr>
          <a:xfrm>
            <a:off x="9095232" y="4328160"/>
            <a:ext cx="2121600" cy="414400"/>
          </a:xfrm>
          <a:prstGeom prst="rect">
            <a:avLst/>
          </a:prstGeom>
        </p:spPr>
        <p:txBody>
          <a:bodyPr spcFirstLastPara="1" wrap="square" lIns="82275" tIns="18275" rIns="82275"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Tree>
    <p:extLst>
      <p:ext uri="{BB962C8B-B14F-4D97-AF65-F5344CB8AC3E}">
        <p14:creationId xmlns:p14="http://schemas.microsoft.com/office/powerpoint/2010/main" val="88534638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matchingName="Top-Bottom Split" preserve="1">
  <p:cSld name="Top-Bottom Split">
    <p:spTree>
      <p:nvGrpSpPr>
        <p:cNvPr id="1" name="Shape 110"/>
        <p:cNvGrpSpPr/>
        <p:nvPr/>
      </p:nvGrpSpPr>
      <p:grpSpPr>
        <a:xfrm>
          <a:off x="0" y="0"/>
          <a:ext cx="0" cy="0"/>
          <a:chOff x="0" y="0"/>
          <a:chExt cx="0" cy="0"/>
        </a:xfrm>
      </p:grpSpPr>
      <p:sp>
        <p:nvSpPr>
          <p:cNvPr id="111" name="Google Shape;111;p18"/>
          <p:cNvSpPr/>
          <p:nvPr/>
        </p:nvSpPr>
        <p:spPr>
          <a:xfrm>
            <a:off x="567705" y="3784257"/>
            <a:ext cx="11624400" cy="3073600"/>
          </a:xfrm>
          <a:prstGeom prst="round2SameRect">
            <a:avLst>
              <a:gd name="adj1" fmla="val 4610"/>
              <a:gd name="adj2" fmla="val 0"/>
            </a:avLst>
          </a:prstGeom>
          <a:gradFill>
            <a:gsLst>
              <a:gs pos="0">
                <a:srgbClr val="1F9CF0"/>
              </a:gs>
              <a:gs pos="48500">
                <a:srgbClr val="9477E2">
                  <a:alpha val="48627"/>
                </a:srgbClr>
              </a:gs>
              <a:gs pos="97000">
                <a:srgbClr val="9477E2">
                  <a:alpha val="0"/>
                </a:srgbClr>
              </a:gs>
              <a:gs pos="100000">
                <a:srgbClr val="9477E2">
                  <a:alpha val="0"/>
                </a:srgbClr>
              </a:gs>
            </a:gsLst>
            <a:lin ang="0"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112" name="Google Shape;112;p18"/>
          <p:cNvPicPr preferRelativeResize="0"/>
          <p:nvPr/>
        </p:nvPicPr>
        <p:blipFill rotWithShape="1">
          <a:blip r:embed="rId2">
            <a:alphaModFix amt="30000"/>
          </a:blip>
          <a:srcRect/>
          <a:stretch/>
        </p:blipFill>
        <p:spPr>
          <a:xfrm>
            <a:off x="6229370" y="-4209151"/>
            <a:ext cx="5016492" cy="5016492"/>
          </a:xfrm>
          <a:prstGeom prst="rect">
            <a:avLst/>
          </a:prstGeom>
          <a:noFill/>
          <a:ln>
            <a:noFill/>
          </a:ln>
        </p:spPr>
      </p:pic>
      <p:cxnSp>
        <p:nvCxnSpPr>
          <p:cNvPr id="113" name="Google Shape;113;p18"/>
          <p:cNvCxnSpPr/>
          <p:nvPr/>
        </p:nvCxnSpPr>
        <p:spPr>
          <a:xfrm>
            <a:off x="1115295" y="983141"/>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114" name="Google Shape;114;p18"/>
          <p:cNvPicPr preferRelativeResize="0"/>
          <p:nvPr/>
        </p:nvPicPr>
        <p:blipFill rotWithShape="1">
          <a:blip r:embed="rId2">
            <a:alphaModFix amt="30000"/>
          </a:blip>
          <a:srcRect/>
          <a:stretch/>
        </p:blipFill>
        <p:spPr>
          <a:xfrm>
            <a:off x="6229369" y="6169265"/>
            <a:ext cx="5016492" cy="5016492"/>
          </a:xfrm>
          <a:prstGeom prst="rect">
            <a:avLst/>
          </a:prstGeom>
          <a:noFill/>
          <a:ln>
            <a:noFill/>
          </a:ln>
        </p:spPr>
      </p:pic>
      <p:grpSp>
        <p:nvGrpSpPr>
          <p:cNvPr id="115" name="Google Shape;115;p18"/>
          <p:cNvGrpSpPr/>
          <p:nvPr/>
        </p:nvGrpSpPr>
        <p:grpSpPr>
          <a:xfrm>
            <a:off x="6239349" y="4126458"/>
            <a:ext cx="676831" cy="675447"/>
            <a:chOff x="8210789" y="6930887"/>
            <a:chExt cx="1081200" cy="1080600"/>
          </a:xfrm>
        </p:grpSpPr>
        <p:sp>
          <p:nvSpPr>
            <p:cNvPr id="116" name="Google Shape;116;p18"/>
            <p:cNvSpPr/>
            <p:nvPr/>
          </p:nvSpPr>
          <p:spPr>
            <a:xfrm>
              <a:off x="8210789" y="6930887"/>
              <a:ext cx="1081200" cy="10806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17" name="Google Shape;117;p18"/>
            <p:cNvSpPr/>
            <p:nvPr/>
          </p:nvSpPr>
          <p:spPr>
            <a:xfrm>
              <a:off x="8393115" y="7113123"/>
              <a:ext cx="716700" cy="7164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sp>
        <p:nvSpPr>
          <p:cNvPr id="118" name="Google Shape;118;p18"/>
          <p:cNvSpPr/>
          <p:nvPr/>
        </p:nvSpPr>
        <p:spPr>
          <a:xfrm rot="10800000">
            <a:off x="543900" y="433"/>
            <a:ext cx="97600" cy="29552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119" name="Google Shape;119;p18"/>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120" name="Google Shape;120;p18"/>
          <p:cNvSpPr txBox="1">
            <a:spLocks noGrp="1"/>
          </p:cNvSpPr>
          <p:nvPr>
            <p:ph type="title"/>
          </p:nvPr>
        </p:nvSpPr>
        <p:spPr>
          <a:xfrm>
            <a:off x="1060704" y="1243584"/>
            <a:ext cx="4681600" cy="1792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7" b="0"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 name="Google Shape;121;p18"/>
          <p:cNvSpPr txBox="1">
            <a:spLocks noGrp="1"/>
          </p:cNvSpPr>
          <p:nvPr>
            <p:ph type="body" idx="2"/>
          </p:nvPr>
        </p:nvSpPr>
        <p:spPr>
          <a:xfrm>
            <a:off x="6230112" y="1243584"/>
            <a:ext cx="4596400" cy="14996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1000"/>
              <a:buNone/>
              <a:defRPr b="0" i="0">
                <a:latin typeface="Helvetica" pitchFamily="2" charset="0"/>
              </a:defRPr>
            </a:lvl1pPr>
            <a:lvl2pPr marL="1219170" lvl="1" indent="-389457">
              <a:spcBef>
                <a:spcPts val="0"/>
              </a:spcBef>
              <a:spcAft>
                <a:spcPts val="0"/>
              </a:spcAft>
              <a:buSzPts val="1000"/>
              <a:buChar char="○"/>
              <a:defRPr/>
            </a:lvl2pPr>
            <a:lvl3pPr marL="1828754" lvl="2" indent="-389457">
              <a:spcBef>
                <a:spcPts val="0"/>
              </a:spcBef>
              <a:spcAft>
                <a:spcPts val="0"/>
              </a:spcAft>
              <a:buSzPts val="1000"/>
              <a:buChar char="■"/>
              <a:defRPr/>
            </a:lvl3pPr>
            <a:lvl4pPr marL="2438339" lvl="3" indent="-389457">
              <a:spcBef>
                <a:spcPts val="0"/>
              </a:spcBef>
              <a:spcAft>
                <a:spcPts val="0"/>
              </a:spcAft>
              <a:buSzPts val="1000"/>
              <a:buChar char="●"/>
              <a:defRPr/>
            </a:lvl4pPr>
            <a:lvl5pPr marL="3047924" lvl="4" indent="-389457">
              <a:spcBef>
                <a:spcPts val="0"/>
              </a:spcBef>
              <a:spcAft>
                <a:spcPts val="0"/>
              </a:spcAft>
              <a:buSzPts val="1000"/>
              <a:buChar char="○"/>
              <a:defRPr/>
            </a:lvl5pPr>
            <a:lvl6pPr marL="3657509" lvl="5" indent="-389457">
              <a:spcBef>
                <a:spcPts val="0"/>
              </a:spcBef>
              <a:spcAft>
                <a:spcPts val="0"/>
              </a:spcAft>
              <a:buSzPts val="1000"/>
              <a:buChar char="■"/>
              <a:defRPr/>
            </a:lvl6pPr>
            <a:lvl7pPr marL="4267093" lvl="6" indent="-389457">
              <a:spcBef>
                <a:spcPts val="0"/>
              </a:spcBef>
              <a:spcAft>
                <a:spcPts val="0"/>
              </a:spcAft>
              <a:buSzPts val="1000"/>
              <a:buChar char="●"/>
              <a:defRPr/>
            </a:lvl7pPr>
            <a:lvl8pPr marL="4876678" lvl="7" indent="-389457">
              <a:spcBef>
                <a:spcPts val="0"/>
              </a:spcBef>
              <a:spcAft>
                <a:spcPts val="0"/>
              </a:spcAft>
              <a:buSzPts val="1000"/>
              <a:buChar char="○"/>
              <a:defRPr/>
            </a:lvl8pPr>
            <a:lvl9pPr marL="5486263" lvl="8" indent="-389457">
              <a:spcBef>
                <a:spcPts val="0"/>
              </a:spcBef>
              <a:spcAft>
                <a:spcPts val="0"/>
              </a:spcAft>
              <a:buSzPts val="1000"/>
              <a:buChar char="■"/>
              <a:defRPr/>
            </a:lvl9pPr>
          </a:lstStyle>
          <a:p>
            <a:endParaRPr/>
          </a:p>
        </p:txBody>
      </p:sp>
      <p:sp>
        <p:nvSpPr>
          <p:cNvPr id="122" name="Google Shape;122;p18"/>
          <p:cNvSpPr>
            <a:spLocks noGrp="1"/>
          </p:cNvSpPr>
          <p:nvPr>
            <p:ph type="pic" idx="3"/>
          </p:nvPr>
        </p:nvSpPr>
        <p:spPr>
          <a:xfrm>
            <a:off x="6409669" y="4296087"/>
            <a:ext cx="336187" cy="336187"/>
          </a:xfrm>
          <a:prstGeom prst="ellipse">
            <a:avLst/>
          </a:prstGeom>
          <a:noFill/>
          <a:ln>
            <a:noFill/>
          </a:ln>
        </p:spPr>
        <p:txBody>
          <a:bodyPr lIns="0" tIns="0" rIns="0" bIns="0" anchor="ctr"/>
          <a:lstStyle>
            <a:lvl1pPr marL="0" indent="0" algn="ctr">
              <a:buNone/>
              <a:defRPr sz="400" b="0" i="0">
                <a:latin typeface="Helvetica" pitchFamily="2" charset="0"/>
              </a:defRPr>
            </a:lvl1pPr>
          </a:lstStyle>
          <a:p>
            <a:endParaRPr lang="en-US"/>
          </a:p>
        </p:txBody>
      </p:sp>
      <p:sp>
        <p:nvSpPr>
          <p:cNvPr id="123" name="Google Shape;123;p18"/>
          <p:cNvSpPr txBox="1">
            <a:spLocks noGrp="1"/>
          </p:cNvSpPr>
          <p:nvPr>
            <p:ph type="title" idx="4"/>
          </p:nvPr>
        </p:nvSpPr>
        <p:spPr>
          <a:xfrm>
            <a:off x="7034784" y="4255008"/>
            <a:ext cx="3755200" cy="402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7"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 name="Google Shape;124;p18"/>
          <p:cNvSpPr txBox="1">
            <a:spLocks noGrp="1"/>
          </p:cNvSpPr>
          <p:nvPr>
            <p:ph type="body" idx="5"/>
          </p:nvPr>
        </p:nvSpPr>
        <p:spPr>
          <a:xfrm>
            <a:off x="6353483" y="4974336"/>
            <a:ext cx="4424228" cy="878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Tree>
    <p:extLst>
      <p:ext uri="{BB962C8B-B14F-4D97-AF65-F5344CB8AC3E}">
        <p14:creationId xmlns:p14="http://schemas.microsoft.com/office/powerpoint/2010/main" val="190028468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matchingName="Four Sections" preserve="1" userDrawn="1">
  <p:cSld name="Four Sections">
    <p:spTree>
      <p:nvGrpSpPr>
        <p:cNvPr id="1" name="Shape 125"/>
        <p:cNvGrpSpPr/>
        <p:nvPr/>
      </p:nvGrpSpPr>
      <p:grpSpPr>
        <a:xfrm>
          <a:off x="0" y="0"/>
          <a:ext cx="0" cy="0"/>
          <a:chOff x="0" y="0"/>
          <a:chExt cx="0" cy="0"/>
        </a:xfrm>
      </p:grpSpPr>
      <p:sp>
        <p:nvSpPr>
          <p:cNvPr id="129" name="Google Shape;129;p19"/>
          <p:cNvSpPr>
            <a:spLocks noGrp="1"/>
          </p:cNvSpPr>
          <p:nvPr>
            <p:ph type="pic" idx="5"/>
          </p:nvPr>
        </p:nvSpPr>
        <p:spPr>
          <a:xfrm>
            <a:off x="0" y="0"/>
            <a:ext cx="3043600" cy="2316400"/>
          </a:xfrm>
          <a:prstGeom prst="rect">
            <a:avLst/>
          </a:prstGeom>
          <a:noFill/>
          <a:ln>
            <a:noFill/>
          </a:ln>
        </p:spPr>
        <p:txBody>
          <a:bodyPr anchor="ctr"/>
          <a:lstStyle>
            <a:lvl1pPr marL="0" indent="0" algn="ctr">
              <a:buNone/>
              <a:defRPr b="0" i="0">
                <a:latin typeface="Helvetica" pitchFamily="2" charset="0"/>
              </a:defRPr>
            </a:lvl1pPr>
          </a:lstStyle>
          <a:p>
            <a:endParaRPr lang="en-US"/>
          </a:p>
        </p:txBody>
      </p:sp>
      <p:sp>
        <p:nvSpPr>
          <p:cNvPr id="130" name="Google Shape;130;p19"/>
          <p:cNvSpPr/>
          <p:nvPr/>
        </p:nvSpPr>
        <p:spPr>
          <a:xfrm>
            <a:off x="9143381" y="2316915"/>
            <a:ext cx="3048000" cy="2256000"/>
          </a:xfrm>
          <a:prstGeom prst="rect">
            <a:avLst/>
          </a:prstGeom>
          <a:gradFill>
            <a:gsLst>
              <a:gs pos="0">
                <a:srgbClr val="9477E2">
                  <a:alpha val="20000"/>
                </a:srgbClr>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1" name="Google Shape;131;p19"/>
          <p:cNvSpPr/>
          <p:nvPr/>
        </p:nvSpPr>
        <p:spPr>
          <a:xfrm>
            <a:off x="6090911" y="2316915"/>
            <a:ext cx="3048000" cy="2256000"/>
          </a:xfrm>
          <a:prstGeom prst="rect">
            <a:avLst/>
          </a:prstGeom>
          <a:gradFill>
            <a:gsLst>
              <a:gs pos="0">
                <a:srgbClr val="6A37C7">
                  <a:alpha val="20000"/>
                </a:srgbClr>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2" name="Google Shape;132;p19"/>
          <p:cNvSpPr/>
          <p:nvPr/>
        </p:nvSpPr>
        <p:spPr>
          <a:xfrm>
            <a:off x="3043533" y="2316915"/>
            <a:ext cx="3048000" cy="2256000"/>
          </a:xfrm>
          <a:prstGeom prst="rect">
            <a:avLst/>
          </a:prstGeom>
          <a:gradFill>
            <a:gsLst>
              <a:gs pos="0">
                <a:srgbClr val="9477E2">
                  <a:alpha val="20000"/>
                </a:srgbClr>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3" name="Google Shape;133;p19"/>
          <p:cNvSpPr/>
          <p:nvPr/>
        </p:nvSpPr>
        <p:spPr>
          <a:xfrm>
            <a:off x="0" y="2316915"/>
            <a:ext cx="3048000" cy="2256000"/>
          </a:xfrm>
          <a:prstGeom prst="rect">
            <a:avLst/>
          </a:prstGeom>
          <a:gradFill>
            <a:gsLst>
              <a:gs pos="0">
                <a:srgbClr val="1F9CF0"/>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nvGrpSpPr>
          <p:cNvPr id="2" name="Group 1">
            <a:extLst>
              <a:ext uri="{FF2B5EF4-FFF2-40B4-BE49-F238E27FC236}">
                <a16:creationId xmlns:a16="http://schemas.microsoft.com/office/drawing/2014/main" id="{80DF5EDE-E7F7-6146-AC08-AF61888173CC}"/>
              </a:ext>
            </a:extLst>
          </p:cNvPr>
          <p:cNvGrpSpPr/>
          <p:nvPr userDrawn="1"/>
        </p:nvGrpSpPr>
        <p:grpSpPr>
          <a:xfrm>
            <a:off x="4090984" y="1843055"/>
            <a:ext cx="960400" cy="959200"/>
            <a:chOff x="3068238" y="1382291"/>
            <a:chExt cx="720300" cy="719400"/>
          </a:xfrm>
        </p:grpSpPr>
        <p:sp>
          <p:nvSpPr>
            <p:cNvPr id="134" name="Google Shape;134;p19"/>
            <p:cNvSpPr/>
            <p:nvPr/>
          </p:nvSpPr>
          <p:spPr>
            <a:xfrm>
              <a:off x="3068238" y="1382291"/>
              <a:ext cx="720300" cy="719400"/>
            </a:xfrm>
            <a:prstGeom prst="ellipse">
              <a:avLst/>
            </a:prstGeom>
            <a:solidFill>
              <a:schemeClr val="accent2">
                <a:alpha val="56860"/>
              </a:scheme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5" name="Google Shape;135;p19"/>
            <p:cNvSpPr/>
            <p:nvPr userDrawn="1"/>
          </p:nvSpPr>
          <p:spPr>
            <a:xfrm>
              <a:off x="3190019" y="1504824"/>
              <a:ext cx="477600" cy="476700"/>
            </a:xfrm>
            <a:prstGeom prst="ellipse">
              <a:avLst/>
            </a:prstGeom>
            <a:solidFill>
              <a:schemeClr val="accent2"/>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 name="Group 3">
            <a:extLst>
              <a:ext uri="{FF2B5EF4-FFF2-40B4-BE49-F238E27FC236}">
                <a16:creationId xmlns:a16="http://schemas.microsoft.com/office/drawing/2014/main" id="{0E2775DA-4DCB-AD4E-B04F-182EF29AE8A8}"/>
              </a:ext>
            </a:extLst>
          </p:cNvPr>
          <p:cNvGrpSpPr/>
          <p:nvPr userDrawn="1"/>
        </p:nvGrpSpPr>
        <p:grpSpPr>
          <a:xfrm>
            <a:off x="10194080" y="1843055"/>
            <a:ext cx="960400" cy="959200"/>
            <a:chOff x="7645560" y="1382291"/>
            <a:chExt cx="720300" cy="719400"/>
          </a:xfrm>
        </p:grpSpPr>
        <p:sp>
          <p:nvSpPr>
            <p:cNvPr id="136" name="Google Shape;136;p19"/>
            <p:cNvSpPr/>
            <p:nvPr/>
          </p:nvSpPr>
          <p:spPr>
            <a:xfrm>
              <a:off x="7645560" y="1382291"/>
              <a:ext cx="720300" cy="719400"/>
            </a:xfrm>
            <a:prstGeom prst="ellipse">
              <a:avLst/>
            </a:prstGeom>
            <a:solidFill>
              <a:schemeClr val="accent2">
                <a:alpha val="56860"/>
              </a:scheme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7" name="Google Shape;137;p19"/>
            <p:cNvSpPr/>
            <p:nvPr/>
          </p:nvSpPr>
          <p:spPr>
            <a:xfrm>
              <a:off x="7767340" y="1504824"/>
              <a:ext cx="477600" cy="476700"/>
            </a:xfrm>
            <a:prstGeom prst="ellipse">
              <a:avLst/>
            </a:prstGeom>
            <a:solidFill>
              <a:schemeClr val="accent2"/>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3" name="Group 2">
            <a:extLst>
              <a:ext uri="{FF2B5EF4-FFF2-40B4-BE49-F238E27FC236}">
                <a16:creationId xmlns:a16="http://schemas.microsoft.com/office/drawing/2014/main" id="{62153F02-68F3-1F42-A78B-072046ECEDD4}"/>
              </a:ext>
            </a:extLst>
          </p:cNvPr>
          <p:cNvGrpSpPr/>
          <p:nvPr userDrawn="1"/>
        </p:nvGrpSpPr>
        <p:grpSpPr>
          <a:xfrm>
            <a:off x="7143467" y="1843055"/>
            <a:ext cx="960400" cy="959200"/>
            <a:chOff x="5357600" y="1382291"/>
            <a:chExt cx="720300" cy="719400"/>
          </a:xfrm>
        </p:grpSpPr>
        <p:sp>
          <p:nvSpPr>
            <p:cNvPr id="138" name="Google Shape;138;p19"/>
            <p:cNvSpPr/>
            <p:nvPr/>
          </p:nvSpPr>
          <p:spPr>
            <a:xfrm>
              <a:off x="5357600" y="1382291"/>
              <a:ext cx="720300" cy="7194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139" name="Google Shape;139;p19"/>
            <p:cNvSpPr/>
            <p:nvPr/>
          </p:nvSpPr>
          <p:spPr>
            <a:xfrm>
              <a:off x="5479381" y="1504824"/>
              <a:ext cx="477600" cy="4767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sp>
        <p:nvSpPr>
          <p:cNvPr id="147" name="Google Shape;147;p19"/>
          <p:cNvSpPr txBox="1">
            <a:spLocks noGrp="1"/>
          </p:cNvSpPr>
          <p:nvPr>
            <p:ph type="title"/>
          </p:nvPr>
        </p:nvSpPr>
        <p:spPr>
          <a:xfrm>
            <a:off x="451104" y="2804160"/>
            <a:ext cx="1182800" cy="524400"/>
          </a:xfrm>
          <a:prstGeom prst="rect">
            <a:avLst/>
          </a:prstGeom>
        </p:spPr>
        <p:txBody>
          <a:bodyPr spcFirstLastPara="1" wrap="square" lIns="45700" tIns="18275" rIns="45700" bIns="18275" anchor="t" anchorCtr="0">
            <a:noAutofit/>
          </a:bodyPr>
          <a:lstStyle>
            <a:lvl1pPr lvl="0">
              <a:lnSpc>
                <a:spcPct val="100000"/>
              </a:lnSpc>
              <a:spcBef>
                <a:spcPts val="0"/>
              </a:spcBef>
              <a:spcAft>
                <a:spcPts val="0"/>
              </a:spcAft>
              <a:buSzPts val="2300"/>
              <a:buNone/>
              <a:defRPr sz="3067" b="1" i="0">
                <a:latin typeface="Helvetica" pitchFamily="2" charset="0"/>
              </a:defRPr>
            </a:lvl1pPr>
            <a:lvl2pPr lvl="1">
              <a:lnSpc>
                <a:spcPct val="100000"/>
              </a:lnSpc>
              <a:spcBef>
                <a:spcPts val="0"/>
              </a:spcBef>
              <a:spcAft>
                <a:spcPts val="0"/>
              </a:spcAft>
              <a:buSzPts val="1400"/>
              <a:buNone/>
              <a:defRPr/>
            </a:lvl2pPr>
            <a:lvl3pPr lvl="2">
              <a:lnSpc>
                <a:spcPct val="100000"/>
              </a:lnSpc>
              <a:spcBef>
                <a:spcPts val="0"/>
              </a:spcBef>
              <a:spcAft>
                <a:spcPts val="0"/>
              </a:spcAft>
              <a:buSzPts val="1400"/>
              <a:buNone/>
              <a:defRPr/>
            </a:lvl3pPr>
            <a:lvl4pPr lvl="3">
              <a:lnSpc>
                <a:spcPct val="100000"/>
              </a:lnSpc>
              <a:spcBef>
                <a:spcPts val="0"/>
              </a:spcBef>
              <a:spcAft>
                <a:spcPts val="0"/>
              </a:spcAft>
              <a:buSzPts val="1400"/>
              <a:buNone/>
              <a:defRPr/>
            </a:lvl4pPr>
            <a:lvl5pPr lvl="4">
              <a:lnSpc>
                <a:spcPct val="100000"/>
              </a:lnSpc>
              <a:spcBef>
                <a:spcPts val="0"/>
              </a:spcBef>
              <a:spcAft>
                <a:spcPts val="0"/>
              </a:spcAft>
              <a:buSzPts val="1400"/>
              <a:buNone/>
              <a:defRPr/>
            </a:lvl5pPr>
            <a:lvl6pPr lvl="5">
              <a:lnSpc>
                <a:spcPct val="100000"/>
              </a:lnSpc>
              <a:spcBef>
                <a:spcPts val="0"/>
              </a:spcBef>
              <a:spcAft>
                <a:spcPts val="0"/>
              </a:spcAft>
              <a:buSzPts val="1400"/>
              <a:buNone/>
              <a:defRPr/>
            </a:lvl6pPr>
            <a:lvl7pPr lvl="6">
              <a:lnSpc>
                <a:spcPct val="100000"/>
              </a:lnSpc>
              <a:spcBef>
                <a:spcPts val="0"/>
              </a:spcBef>
              <a:spcAft>
                <a:spcPts val="0"/>
              </a:spcAft>
              <a:buSzPts val="1400"/>
              <a:buNone/>
              <a:defRPr/>
            </a:lvl7pPr>
            <a:lvl8pPr lvl="7">
              <a:lnSpc>
                <a:spcPct val="100000"/>
              </a:lnSpc>
              <a:spcBef>
                <a:spcPts val="0"/>
              </a:spcBef>
              <a:spcAft>
                <a:spcPts val="0"/>
              </a:spcAft>
              <a:buSzPts val="1400"/>
              <a:buNone/>
              <a:defRPr/>
            </a:lvl8pPr>
            <a:lvl9pPr lvl="8">
              <a:lnSpc>
                <a:spcPct val="100000"/>
              </a:lnSpc>
              <a:spcBef>
                <a:spcPts val="0"/>
              </a:spcBef>
              <a:spcAft>
                <a:spcPts val="0"/>
              </a:spcAft>
              <a:buSzPts val="1400"/>
              <a:buNone/>
              <a:defRPr/>
            </a:lvl9pPr>
          </a:lstStyle>
          <a:p>
            <a:endParaRPr/>
          </a:p>
        </p:txBody>
      </p:sp>
      <p:sp>
        <p:nvSpPr>
          <p:cNvPr id="148" name="Google Shape;148;p19"/>
          <p:cNvSpPr txBox="1">
            <a:spLocks noGrp="1"/>
          </p:cNvSpPr>
          <p:nvPr>
            <p:ph type="body" idx="1"/>
          </p:nvPr>
        </p:nvSpPr>
        <p:spPr>
          <a:xfrm>
            <a:off x="451104" y="3352800"/>
            <a:ext cx="1670400" cy="2316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333" b="0" i="0">
                <a:solidFill>
                  <a:schemeClr val="bg1"/>
                </a:solidFill>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149" name="Google Shape;149;p19"/>
          <p:cNvSpPr txBox="1">
            <a:spLocks noGrp="1"/>
          </p:cNvSpPr>
          <p:nvPr>
            <p:ph type="body" idx="13"/>
          </p:nvPr>
        </p:nvSpPr>
        <p:spPr>
          <a:xfrm>
            <a:off x="451104" y="3645408"/>
            <a:ext cx="2255600" cy="67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150" name="Google Shape;150;p19"/>
          <p:cNvSpPr txBox="1">
            <a:spLocks noGrp="1"/>
          </p:cNvSpPr>
          <p:nvPr>
            <p:ph type="title" idx="14"/>
          </p:nvPr>
        </p:nvSpPr>
        <p:spPr>
          <a:xfrm>
            <a:off x="3596640" y="2804160"/>
            <a:ext cx="1182800" cy="524400"/>
          </a:xfrm>
          <a:prstGeom prst="rect">
            <a:avLst/>
          </a:prstGeom>
        </p:spPr>
        <p:txBody>
          <a:bodyPr spcFirstLastPara="1" wrap="square" lIns="45700" tIns="18275" rIns="45700" bIns="18275" anchor="t" anchorCtr="0">
            <a:noAutofit/>
          </a:bodyPr>
          <a:lstStyle>
            <a:lvl1pPr lvl="0" rtl="0">
              <a:lnSpc>
                <a:spcPct val="100000"/>
              </a:lnSpc>
              <a:spcBef>
                <a:spcPts val="0"/>
              </a:spcBef>
              <a:spcAft>
                <a:spcPts val="0"/>
              </a:spcAft>
              <a:buSzPts val="2300"/>
              <a:buNone/>
              <a:defRPr sz="3067" b="1" i="0">
                <a:latin typeface="Helvetica" pitchFamily="2" charset="0"/>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51" name="Google Shape;151;p19"/>
          <p:cNvSpPr txBox="1">
            <a:spLocks noGrp="1"/>
          </p:cNvSpPr>
          <p:nvPr>
            <p:ph type="title" idx="15"/>
          </p:nvPr>
        </p:nvSpPr>
        <p:spPr>
          <a:xfrm>
            <a:off x="6547104" y="2804160"/>
            <a:ext cx="1182800" cy="524400"/>
          </a:xfrm>
          <a:prstGeom prst="rect">
            <a:avLst/>
          </a:prstGeom>
        </p:spPr>
        <p:txBody>
          <a:bodyPr spcFirstLastPara="1" wrap="square" lIns="45700" tIns="18275" rIns="45700" bIns="18275" anchor="t" anchorCtr="0">
            <a:noAutofit/>
          </a:bodyPr>
          <a:lstStyle>
            <a:lvl1pPr lvl="0" rtl="0">
              <a:lnSpc>
                <a:spcPct val="100000"/>
              </a:lnSpc>
              <a:spcBef>
                <a:spcPts val="0"/>
              </a:spcBef>
              <a:spcAft>
                <a:spcPts val="0"/>
              </a:spcAft>
              <a:buSzPts val="2300"/>
              <a:buNone/>
              <a:defRPr sz="3067"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2" name="Google Shape;152;p19"/>
          <p:cNvSpPr txBox="1">
            <a:spLocks noGrp="1"/>
          </p:cNvSpPr>
          <p:nvPr>
            <p:ph type="title" idx="16"/>
          </p:nvPr>
        </p:nvSpPr>
        <p:spPr>
          <a:xfrm>
            <a:off x="9595104" y="2804160"/>
            <a:ext cx="1182800" cy="524400"/>
          </a:xfrm>
          <a:prstGeom prst="rect">
            <a:avLst/>
          </a:prstGeom>
        </p:spPr>
        <p:txBody>
          <a:bodyPr spcFirstLastPara="1" wrap="square" lIns="45700" tIns="18275" rIns="45700" bIns="18275" anchor="t" anchorCtr="0">
            <a:noAutofit/>
          </a:bodyPr>
          <a:lstStyle>
            <a:lvl1pPr lvl="0" rtl="0">
              <a:lnSpc>
                <a:spcPct val="100000"/>
              </a:lnSpc>
              <a:spcBef>
                <a:spcPts val="0"/>
              </a:spcBef>
              <a:spcAft>
                <a:spcPts val="0"/>
              </a:spcAft>
              <a:buSzPts val="2300"/>
              <a:buNone/>
              <a:defRPr sz="3067"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3" name="Google Shape;153;p19"/>
          <p:cNvSpPr txBox="1">
            <a:spLocks noGrp="1"/>
          </p:cNvSpPr>
          <p:nvPr>
            <p:ph type="body" idx="17"/>
          </p:nvPr>
        </p:nvSpPr>
        <p:spPr>
          <a:xfrm>
            <a:off x="3596637" y="3352800"/>
            <a:ext cx="16704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3" b="0" i="0">
                <a:solidFill>
                  <a:schemeClr val="bg1"/>
                </a:solidFill>
                <a:latin typeface="Helvetica" pitchFamily="2" charset="0"/>
              </a:defRPr>
            </a:lvl1pPr>
            <a:lvl2pPr marL="1219170" lvl="1" indent="-372524" rtl="0">
              <a:lnSpc>
                <a:spcPct val="100000"/>
              </a:lnSpc>
              <a:spcBef>
                <a:spcPts val="0"/>
              </a:spcBef>
              <a:spcAft>
                <a:spcPts val="0"/>
              </a:spcAft>
              <a:buSzPts val="800"/>
              <a:buChar char="○"/>
              <a:defRPr sz="1067"/>
            </a:lvl2pPr>
            <a:lvl3pPr marL="1828754" lvl="2" indent="-372524" rtl="0">
              <a:lnSpc>
                <a:spcPct val="100000"/>
              </a:lnSpc>
              <a:spcBef>
                <a:spcPts val="0"/>
              </a:spcBef>
              <a:spcAft>
                <a:spcPts val="0"/>
              </a:spcAft>
              <a:buSzPts val="800"/>
              <a:buChar char="■"/>
              <a:defRPr sz="1067"/>
            </a:lvl3pPr>
            <a:lvl4pPr marL="2438339" lvl="3" indent="-372524" rtl="0">
              <a:lnSpc>
                <a:spcPct val="100000"/>
              </a:lnSpc>
              <a:spcBef>
                <a:spcPts val="0"/>
              </a:spcBef>
              <a:spcAft>
                <a:spcPts val="0"/>
              </a:spcAft>
              <a:buSzPts val="800"/>
              <a:buChar char="●"/>
              <a:defRPr sz="1067"/>
            </a:lvl4pPr>
            <a:lvl5pPr marL="3047924" lvl="4" indent="-372524" rtl="0">
              <a:lnSpc>
                <a:spcPct val="100000"/>
              </a:lnSpc>
              <a:spcBef>
                <a:spcPts val="0"/>
              </a:spcBef>
              <a:spcAft>
                <a:spcPts val="0"/>
              </a:spcAft>
              <a:buSzPts val="800"/>
              <a:buChar char="○"/>
              <a:defRPr sz="1067"/>
            </a:lvl5pPr>
            <a:lvl6pPr marL="3657509" lvl="5" indent="-372524" rtl="0">
              <a:lnSpc>
                <a:spcPct val="100000"/>
              </a:lnSpc>
              <a:spcBef>
                <a:spcPts val="0"/>
              </a:spcBef>
              <a:spcAft>
                <a:spcPts val="0"/>
              </a:spcAft>
              <a:buSzPts val="800"/>
              <a:buChar char="■"/>
              <a:defRPr sz="1067"/>
            </a:lvl6pPr>
            <a:lvl7pPr marL="4267093" lvl="6" indent="-372524" rtl="0">
              <a:lnSpc>
                <a:spcPct val="100000"/>
              </a:lnSpc>
              <a:spcBef>
                <a:spcPts val="0"/>
              </a:spcBef>
              <a:spcAft>
                <a:spcPts val="0"/>
              </a:spcAft>
              <a:buSzPts val="800"/>
              <a:buChar char="●"/>
              <a:defRPr sz="1067"/>
            </a:lvl7pPr>
            <a:lvl8pPr marL="4876678" lvl="7" indent="-372524" rtl="0">
              <a:lnSpc>
                <a:spcPct val="100000"/>
              </a:lnSpc>
              <a:spcBef>
                <a:spcPts val="0"/>
              </a:spcBef>
              <a:spcAft>
                <a:spcPts val="0"/>
              </a:spcAft>
              <a:buSzPts val="800"/>
              <a:buChar char="○"/>
              <a:defRPr sz="1067"/>
            </a:lvl8pPr>
            <a:lvl9pPr marL="5486263" lvl="8" indent="-372524" rtl="0">
              <a:lnSpc>
                <a:spcPct val="100000"/>
              </a:lnSpc>
              <a:spcBef>
                <a:spcPts val="0"/>
              </a:spcBef>
              <a:spcAft>
                <a:spcPts val="0"/>
              </a:spcAft>
              <a:buSzPts val="800"/>
              <a:buChar char="■"/>
              <a:defRPr sz="1067"/>
            </a:lvl9pPr>
          </a:lstStyle>
          <a:p>
            <a:endParaRPr/>
          </a:p>
        </p:txBody>
      </p:sp>
      <p:sp>
        <p:nvSpPr>
          <p:cNvPr id="154" name="Google Shape;154;p19"/>
          <p:cNvSpPr txBox="1">
            <a:spLocks noGrp="1"/>
          </p:cNvSpPr>
          <p:nvPr>
            <p:ph type="body" idx="18"/>
          </p:nvPr>
        </p:nvSpPr>
        <p:spPr>
          <a:xfrm>
            <a:off x="3596637" y="3657600"/>
            <a:ext cx="22556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155" name="Google Shape;155;p19"/>
          <p:cNvSpPr txBox="1">
            <a:spLocks noGrp="1"/>
          </p:cNvSpPr>
          <p:nvPr>
            <p:ph type="body" idx="19"/>
          </p:nvPr>
        </p:nvSpPr>
        <p:spPr>
          <a:xfrm>
            <a:off x="6547104" y="3352800"/>
            <a:ext cx="16704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3" b="0"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156" name="Google Shape;156;p19"/>
          <p:cNvSpPr txBox="1">
            <a:spLocks noGrp="1"/>
          </p:cNvSpPr>
          <p:nvPr>
            <p:ph type="body" idx="20"/>
          </p:nvPr>
        </p:nvSpPr>
        <p:spPr>
          <a:xfrm>
            <a:off x="6547104" y="3645408"/>
            <a:ext cx="22556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157" name="Google Shape;157;p19"/>
          <p:cNvSpPr txBox="1">
            <a:spLocks noGrp="1"/>
          </p:cNvSpPr>
          <p:nvPr>
            <p:ph type="body" idx="21"/>
          </p:nvPr>
        </p:nvSpPr>
        <p:spPr>
          <a:xfrm>
            <a:off x="9595104" y="3352800"/>
            <a:ext cx="16704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333" b="0"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158" name="Google Shape;158;p19"/>
          <p:cNvSpPr txBox="1">
            <a:spLocks noGrp="1"/>
          </p:cNvSpPr>
          <p:nvPr>
            <p:ph type="body" idx="22"/>
          </p:nvPr>
        </p:nvSpPr>
        <p:spPr>
          <a:xfrm>
            <a:off x="9595104" y="3645408"/>
            <a:ext cx="22556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grpSp>
        <p:nvGrpSpPr>
          <p:cNvPr id="39" name="Google Shape;115;p18">
            <a:extLst>
              <a:ext uri="{FF2B5EF4-FFF2-40B4-BE49-F238E27FC236}">
                <a16:creationId xmlns:a16="http://schemas.microsoft.com/office/drawing/2014/main" id="{2CABBAFB-D7E4-4946-8936-326967B61E08}"/>
              </a:ext>
            </a:extLst>
          </p:cNvPr>
          <p:cNvGrpSpPr/>
          <p:nvPr userDrawn="1"/>
        </p:nvGrpSpPr>
        <p:grpSpPr>
          <a:xfrm>
            <a:off x="966936" y="1845015"/>
            <a:ext cx="960595" cy="958631"/>
            <a:chOff x="8210789" y="6930887"/>
            <a:chExt cx="1081200" cy="1080600"/>
          </a:xfrm>
        </p:grpSpPr>
        <p:sp>
          <p:nvSpPr>
            <p:cNvPr id="40" name="Google Shape;116;p18">
              <a:extLst>
                <a:ext uri="{FF2B5EF4-FFF2-40B4-BE49-F238E27FC236}">
                  <a16:creationId xmlns:a16="http://schemas.microsoft.com/office/drawing/2014/main" id="{927C82E0-53EB-9E40-B93B-79D8C7C49530}"/>
                </a:ext>
              </a:extLst>
            </p:cNvPr>
            <p:cNvSpPr/>
            <p:nvPr/>
          </p:nvSpPr>
          <p:spPr>
            <a:xfrm>
              <a:off x="8210789" y="6930887"/>
              <a:ext cx="1081200" cy="10806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1" name="Google Shape;117;p18">
              <a:extLst>
                <a:ext uri="{FF2B5EF4-FFF2-40B4-BE49-F238E27FC236}">
                  <a16:creationId xmlns:a16="http://schemas.microsoft.com/office/drawing/2014/main" id="{33518440-89C6-C546-AC7B-32EBE9911FC2}"/>
                </a:ext>
              </a:extLst>
            </p:cNvPr>
            <p:cNvSpPr/>
            <p:nvPr/>
          </p:nvSpPr>
          <p:spPr>
            <a:xfrm>
              <a:off x="8393115" y="7113123"/>
              <a:ext cx="716700" cy="7164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sp>
        <p:nvSpPr>
          <p:cNvPr id="42" name="Google Shape;122;p18">
            <a:extLst>
              <a:ext uri="{FF2B5EF4-FFF2-40B4-BE49-F238E27FC236}">
                <a16:creationId xmlns:a16="http://schemas.microsoft.com/office/drawing/2014/main" id="{770EE0F9-203B-9148-A3BA-831953FEF71D}"/>
              </a:ext>
            </a:extLst>
          </p:cNvPr>
          <p:cNvSpPr>
            <a:spLocks noGrp="1"/>
          </p:cNvSpPr>
          <p:nvPr>
            <p:ph type="pic" idx="23"/>
          </p:nvPr>
        </p:nvSpPr>
        <p:spPr>
          <a:xfrm>
            <a:off x="1208667" y="2085763"/>
            <a:ext cx="477135" cy="477135"/>
          </a:xfrm>
          <a:prstGeom prst="ellipse">
            <a:avLst/>
          </a:prstGeom>
          <a:noFill/>
          <a:ln>
            <a:noFill/>
          </a:ln>
        </p:spPr>
        <p:txBody>
          <a:bodyPr lIns="0" tIns="0" rIns="0" bIns="0" anchor="ctr"/>
          <a:lstStyle>
            <a:lvl1pPr marL="0" indent="0" algn="ctr">
              <a:buNone/>
              <a:defRPr sz="400" b="0" i="0">
                <a:latin typeface="Helvetica" pitchFamily="2" charset="0"/>
              </a:defRPr>
            </a:lvl1pPr>
          </a:lstStyle>
          <a:p>
            <a:endParaRPr lang="en-US"/>
          </a:p>
        </p:txBody>
      </p:sp>
      <p:sp>
        <p:nvSpPr>
          <p:cNvPr id="43" name="Google Shape;122;p18">
            <a:extLst>
              <a:ext uri="{FF2B5EF4-FFF2-40B4-BE49-F238E27FC236}">
                <a16:creationId xmlns:a16="http://schemas.microsoft.com/office/drawing/2014/main" id="{52D48A92-2A8E-B74F-BE4F-4C31A91841AA}"/>
              </a:ext>
            </a:extLst>
          </p:cNvPr>
          <p:cNvSpPr>
            <a:spLocks noGrp="1"/>
          </p:cNvSpPr>
          <p:nvPr>
            <p:ph type="pic" idx="24"/>
          </p:nvPr>
        </p:nvSpPr>
        <p:spPr>
          <a:xfrm>
            <a:off x="4332618" y="2084089"/>
            <a:ext cx="477135" cy="477135"/>
          </a:xfrm>
          <a:prstGeom prst="ellipse">
            <a:avLst/>
          </a:prstGeom>
          <a:noFill/>
          <a:ln>
            <a:noFill/>
          </a:ln>
        </p:spPr>
        <p:txBody>
          <a:bodyPr lIns="0" tIns="0" rIns="0" bIns="0" anchor="ctr"/>
          <a:lstStyle>
            <a:lvl1pPr marL="0" indent="0" algn="ctr">
              <a:buNone/>
              <a:defRPr sz="400" b="0" i="0">
                <a:latin typeface="Helvetica" pitchFamily="2" charset="0"/>
              </a:defRPr>
            </a:lvl1pPr>
          </a:lstStyle>
          <a:p>
            <a:endParaRPr lang="en-US"/>
          </a:p>
        </p:txBody>
      </p:sp>
      <p:sp>
        <p:nvSpPr>
          <p:cNvPr id="49" name="Google Shape;122;p18">
            <a:extLst>
              <a:ext uri="{FF2B5EF4-FFF2-40B4-BE49-F238E27FC236}">
                <a16:creationId xmlns:a16="http://schemas.microsoft.com/office/drawing/2014/main" id="{8125D358-82E1-5146-9868-59151E4787F5}"/>
              </a:ext>
            </a:extLst>
          </p:cNvPr>
          <p:cNvSpPr>
            <a:spLocks noGrp="1"/>
          </p:cNvSpPr>
          <p:nvPr>
            <p:ph type="pic" idx="25"/>
          </p:nvPr>
        </p:nvSpPr>
        <p:spPr>
          <a:xfrm>
            <a:off x="7385101" y="2084089"/>
            <a:ext cx="477135" cy="477135"/>
          </a:xfrm>
          <a:prstGeom prst="ellipse">
            <a:avLst/>
          </a:prstGeom>
          <a:noFill/>
          <a:ln>
            <a:noFill/>
          </a:ln>
        </p:spPr>
        <p:txBody>
          <a:bodyPr lIns="0" tIns="0" rIns="0" bIns="0" anchor="ctr"/>
          <a:lstStyle>
            <a:lvl1pPr marL="0" indent="0" algn="ctr">
              <a:buNone/>
              <a:defRPr sz="400" b="0" i="0">
                <a:latin typeface="Helvetica" pitchFamily="2" charset="0"/>
              </a:defRPr>
            </a:lvl1pPr>
          </a:lstStyle>
          <a:p>
            <a:endParaRPr lang="en-US"/>
          </a:p>
        </p:txBody>
      </p:sp>
      <p:sp>
        <p:nvSpPr>
          <p:cNvPr id="50" name="Google Shape;122;p18">
            <a:extLst>
              <a:ext uri="{FF2B5EF4-FFF2-40B4-BE49-F238E27FC236}">
                <a16:creationId xmlns:a16="http://schemas.microsoft.com/office/drawing/2014/main" id="{D612543C-1131-2740-B754-942B3C674732}"/>
              </a:ext>
            </a:extLst>
          </p:cNvPr>
          <p:cNvSpPr>
            <a:spLocks noGrp="1"/>
          </p:cNvSpPr>
          <p:nvPr>
            <p:ph type="pic" idx="26"/>
          </p:nvPr>
        </p:nvSpPr>
        <p:spPr>
          <a:xfrm>
            <a:off x="10435714" y="2084089"/>
            <a:ext cx="477135" cy="477135"/>
          </a:xfrm>
          <a:prstGeom prst="ellipse">
            <a:avLst/>
          </a:prstGeom>
          <a:noFill/>
          <a:ln>
            <a:noFill/>
          </a:ln>
        </p:spPr>
        <p:txBody>
          <a:bodyPr lIns="0" tIns="0" rIns="0" bIns="0" anchor="ctr"/>
          <a:lstStyle>
            <a:lvl1pPr marL="0" indent="0" algn="ctr">
              <a:buNone/>
              <a:defRPr sz="400" b="0" i="0">
                <a:latin typeface="Helvetica" pitchFamily="2" charset="0"/>
              </a:defRPr>
            </a:lvl1pPr>
          </a:lstStyle>
          <a:p>
            <a:endParaRPr lang="en-US"/>
          </a:p>
        </p:txBody>
      </p:sp>
      <p:sp>
        <p:nvSpPr>
          <p:cNvPr id="51" name="Google Shape;129;p19">
            <a:extLst>
              <a:ext uri="{FF2B5EF4-FFF2-40B4-BE49-F238E27FC236}">
                <a16:creationId xmlns:a16="http://schemas.microsoft.com/office/drawing/2014/main" id="{D02644DB-3AB0-6A40-906C-1B97F6BB74DF}"/>
              </a:ext>
            </a:extLst>
          </p:cNvPr>
          <p:cNvSpPr>
            <a:spLocks noGrp="1"/>
          </p:cNvSpPr>
          <p:nvPr>
            <p:ph type="pic" idx="27"/>
          </p:nvPr>
        </p:nvSpPr>
        <p:spPr>
          <a:xfrm>
            <a:off x="6090911" y="0"/>
            <a:ext cx="3043600" cy="2316400"/>
          </a:xfrm>
          <a:prstGeom prst="rect">
            <a:avLst/>
          </a:prstGeom>
          <a:noFill/>
          <a:ln>
            <a:noFill/>
          </a:ln>
        </p:spPr>
        <p:txBody>
          <a:bodyPr anchor="ctr"/>
          <a:lstStyle>
            <a:lvl1pPr marL="0" indent="0" algn="ctr">
              <a:buNone/>
              <a:defRPr b="0" i="0">
                <a:latin typeface="Helvetica" pitchFamily="2" charset="0"/>
              </a:defRPr>
            </a:lvl1pPr>
          </a:lstStyle>
          <a:p>
            <a:endParaRPr lang="en-US"/>
          </a:p>
        </p:txBody>
      </p:sp>
      <p:sp>
        <p:nvSpPr>
          <p:cNvPr id="52" name="Google Shape;129;p19">
            <a:extLst>
              <a:ext uri="{FF2B5EF4-FFF2-40B4-BE49-F238E27FC236}">
                <a16:creationId xmlns:a16="http://schemas.microsoft.com/office/drawing/2014/main" id="{183614BC-81FB-DD41-94B5-38C9366C2FD7}"/>
              </a:ext>
            </a:extLst>
          </p:cNvPr>
          <p:cNvSpPr>
            <a:spLocks noGrp="1"/>
          </p:cNvSpPr>
          <p:nvPr>
            <p:ph type="pic" idx="28"/>
          </p:nvPr>
        </p:nvSpPr>
        <p:spPr>
          <a:xfrm>
            <a:off x="3043533" y="4559808"/>
            <a:ext cx="3043600" cy="2316400"/>
          </a:xfrm>
          <a:prstGeom prst="rect">
            <a:avLst/>
          </a:prstGeom>
          <a:noFill/>
          <a:ln>
            <a:noFill/>
          </a:ln>
        </p:spPr>
        <p:txBody>
          <a:bodyPr anchor="ctr"/>
          <a:lstStyle>
            <a:lvl1pPr marL="0" indent="0" algn="ctr">
              <a:buNone/>
              <a:defRPr b="0" i="0">
                <a:latin typeface="Helvetica" pitchFamily="2" charset="0"/>
              </a:defRPr>
            </a:lvl1pPr>
          </a:lstStyle>
          <a:p>
            <a:endParaRPr lang="en-US"/>
          </a:p>
        </p:txBody>
      </p:sp>
      <p:sp>
        <p:nvSpPr>
          <p:cNvPr id="53" name="Google Shape;129;p19">
            <a:extLst>
              <a:ext uri="{FF2B5EF4-FFF2-40B4-BE49-F238E27FC236}">
                <a16:creationId xmlns:a16="http://schemas.microsoft.com/office/drawing/2014/main" id="{DE9CF3D8-208C-EF41-A2C5-9CB01676BFCD}"/>
              </a:ext>
            </a:extLst>
          </p:cNvPr>
          <p:cNvSpPr>
            <a:spLocks noGrp="1"/>
          </p:cNvSpPr>
          <p:nvPr>
            <p:ph type="pic" idx="29"/>
          </p:nvPr>
        </p:nvSpPr>
        <p:spPr>
          <a:xfrm>
            <a:off x="9147781" y="4559808"/>
            <a:ext cx="3043600" cy="2316400"/>
          </a:xfrm>
          <a:prstGeom prst="rect">
            <a:avLst/>
          </a:prstGeom>
          <a:noFill/>
          <a:ln>
            <a:noFill/>
          </a:ln>
        </p:spPr>
        <p:txBody>
          <a:bodyPr anchor="ctr"/>
          <a:lstStyle>
            <a:lvl1pPr marL="0" indent="0" algn="ctr">
              <a:buNone/>
              <a:defRPr b="0" i="0">
                <a:latin typeface="Helvetica" pitchFamily="2" charset="0"/>
              </a:defRPr>
            </a:lvl1pPr>
          </a:lstStyle>
          <a:p>
            <a:endParaRPr lang="en-US"/>
          </a:p>
        </p:txBody>
      </p:sp>
    </p:spTree>
    <p:extLst>
      <p:ext uri="{BB962C8B-B14F-4D97-AF65-F5344CB8AC3E}">
        <p14:creationId xmlns:p14="http://schemas.microsoft.com/office/powerpoint/2010/main" val="32347840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matchingName="Subsection Cover F" preserve="1" userDrawn="1">
  <p:cSld name="Subsection Cover F">
    <p:spTree>
      <p:nvGrpSpPr>
        <p:cNvPr id="1" name="Shape 198"/>
        <p:cNvGrpSpPr/>
        <p:nvPr/>
      </p:nvGrpSpPr>
      <p:grpSpPr>
        <a:xfrm>
          <a:off x="0" y="0"/>
          <a:ext cx="0" cy="0"/>
          <a:chOff x="0" y="0"/>
          <a:chExt cx="0" cy="0"/>
        </a:xfrm>
      </p:grpSpPr>
      <p:pic>
        <p:nvPicPr>
          <p:cNvPr id="199" name="Google Shape;199;p22"/>
          <p:cNvPicPr preferRelativeResize="0"/>
          <p:nvPr/>
        </p:nvPicPr>
        <p:blipFill>
          <a:blip r:embed="rId2">
            <a:alphaModFix/>
          </a:blip>
          <a:stretch>
            <a:fillRect/>
          </a:stretch>
        </p:blipFill>
        <p:spPr>
          <a:xfrm>
            <a:off x="-1555012" y="-1630733"/>
            <a:ext cx="6851291" cy="6858001"/>
          </a:xfrm>
          <a:prstGeom prst="rect">
            <a:avLst/>
          </a:prstGeom>
          <a:noFill/>
          <a:ln>
            <a:noFill/>
          </a:ln>
        </p:spPr>
      </p:pic>
      <p:sp>
        <p:nvSpPr>
          <p:cNvPr id="200" name="Google Shape;200;p22"/>
          <p:cNvSpPr/>
          <p:nvPr/>
        </p:nvSpPr>
        <p:spPr>
          <a:xfrm>
            <a:off x="-441636" y="863252"/>
            <a:ext cx="8552400" cy="8539200"/>
          </a:xfrm>
          <a:prstGeom prst="ellipse">
            <a:avLst/>
          </a:prstGeom>
          <a:gradFill>
            <a:gsLst>
              <a:gs pos="0">
                <a:srgbClr val="1F9CF0"/>
              </a:gs>
              <a:gs pos="72000">
                <a:srgbClr val="007ACC">
                  <a:alpha val="23529"/>
                </a:srgbClr>
              </a:gs>
              <a:gs pos="100000">
                <a:srgbClr val="007ACC">
                  <a:alpha val="23529"/>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201" name="Google Shape;201;p22"/>
          <p:cNvPicPr preferRelativeResize="0"/>
          <p:nvPr/>
        </p:nvPicPr>
        <p:blipFill rotWithShape="1">
          <a:blip r:embed="rId3">
            <a:alphaModFix amt="30000"/>
          </a:blip>
          <a:srcRect/>
          <a:stretch/>
        </p:blipFill>
        <p:spPr>
          <a:xfrm>
            <a:off x="9212741" y="1496426"/>
            <a:ext cx="5016492" cy="5016492"/>
          </a:xfrm>
          <a:prstGeom prst="rect">
            <a:avLst/>
          </a:prstGeom>
          <a:noFill/>
          <a:ln>
            <a:noFill/>
          </a:ln>
        </p:spPr>
      </p:pic>
      <p:pic>
        <p:nvPicPr>
          <p:cNvPr id="202" name="Google Shape;202;p22"/>
          <p:cNvPicPr preferRelativeResize="0"/>
          <p:nvPr/>
        </p:nvPicPr>
        <p:blipFill rotWithShape="1">
          <a:blip r:embed="rId3">
            <a:alphaModFix amt="30000"/>
          </a:blip>
          <a:srcRect/>
          <a:stretch/>
        </p:blipFill>
        <p:spPr>
          <a:xfrm>
            <a:off x="1362931" y="5237851"/>
            <a:ext cx="5016492" cy="5016492"/>
          </a:xfrm>
          <a:prstGeom prst="rect">
            <a:avLst/>
          </a:prstGeom>
          <a:noFill/>
          <a:ln>
            <a:noFill/>
          </a:ln>
        </p:spPr>
      </p:pic>
      <p:sp>
        <p:nvSpPr>
          <p:cNvPr id="203" name="Google Shape;203;p22"/>
          <p:cNvSpPr/>
          <p:nvPr/>
        </p:nvSpPr>
        <p:spPr>
          <a:xfrm>
            <a:off x="-460055" y="306917"/>
            <a:ext cx="1471600" cy="1469600"/>
          </a:xfrm>
          <a:prstGeom prst="ellipse">
            <a:avLst/>
          </a:prstGeom>
          <a:gradFill>
            <a:gsLst>
              <a:gs pos="0">
                <a:srgbClr val="D59DFF">
                  <a:alpha val="21960"/>
                </a:srgbClr>
              </a:gs>
              <a:gs pos="100000">
                <a:srgbClr val="161828">
                  <a:alpha val="55294"/>
                </a:srgbClr>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204" name="Google Shape;204;p22"/>
          <p:cNvPicPr preferRelativeResize="0"/>
          <p:nvPr/>
        </p:nvPicPr>
        <p:blipFill>
          <a:blip r:embed="rId4">
            <a:alphaModFix/>
          </a:blip>
          <a:stretch>
            <a:fillRect/>
          </a:stretch>
        </p:blipFill>
        <p:spPr>
          <a:xfrm>
            <a:off x="6325443" y="3520534"/>
            <a:ext cx="2146735" cy="2647668"/>
          </a:xfrm>
          <a:prstGeom prst="rect">
            <a:avLst/>
          </a:prstGeom>
          <a:noFill/>
          <a:ln>
            <a:noFill/>
          </a:ln>
        </p:spPr>
      </p:pic>
      <p:sp>
        <p:nvSpPr>
          <p:cNvPr id="205" name="Google Shape;205;p22"/>
          <p:cNvSpPr/>
          <p:nvPr/>
        </p:nvSpPr>
        <p:spPr>
          <a:xfrm rot="10800000">
            <a:off x="1331867" y="133"/>
            <a:ext cx="97600" cy="4546000"/>
          </a:xfrm>
          <a:prstGeom prst="rect">
            <a:avLst/>
          </a:pr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cxnSp>
        <p:nvCxnSpPr>
          <p:cNvPr id="206" name="Google Shape;206;p22"/>
          <p:cNvCxnSpPr/>
          <p:nvPr/>
        </p:nvCxnSpPr>
        <p:spPr>
          <a:xfrm>
            <a:off x="1685760" y="1971372"/>
            <a:ext cx="2760400" cy="0"/>
          </a:xfrm>
          <a:prstGeom prst="straightConnector1">
            <a:avLst/>
          </a:prstGeom>
          <a:noFill/>
          <a:ln w="12700" cap="flat" cmpd="sng">
            <a:solidFill>
              <a:schemeClr val="lt1"/>
            </a:solidFill>
            <a:prstDash val="solid"/>
            <a:miter lim="800000"/>
            <a:headEnd type="none" w="sm" len="sm"/>
            <a:tailEnd type="none" w="sm" len="sm"/>
          </a:ln>
        </p:spPr>
      </p:cxnSp>
      <p:sp>
        <p:nvSpPr>
          <p:cNvPr id="12" name="Google Shape;196;p21">
            <a:extLst>
              <a:ext uri="{FF2B5EF4-FFF2-40B4-BE49-F238E27FC236}">
                <a16:creationId xmlns:a16="http://schemas.microsoft.com/office/drawing/2014/main" id="{21617290-5BA6-E043-927A-954A333996EA}"/>
              </a:ext>
            </a:extLst>
          </p:cNvPr>
          <p:cNvSpPr txBox="1">
            <a:spLocks noGrp="1"/>
          </p:cNvSpPr>
          <p:nvPr>
            <p:ph type="title"/>
          </p:nvPr>
        </p:nvSpPr>
        <p:spPr>
          <a:xfrm>
            <a:off x="1633733"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 name="Google Shape;197;p21">
            <a:extLst>
              <a:ext uri="{FF2B5EF4-FFF2-40B4-BE49-F238E27FC236}">
                <a16:creationId xmlns:a16="http://schemas.microsoft.com/office/drawing/2014/main" id="{2198EE9C-6D95-BE49-B93E-3C11A582D724}"/>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7"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295440840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matchingName="Subsection Cover D" preserve="1" userDrawn="1">
  <p:cSld name="Subsection Cover D">
    <p:spTree>
      <p:nvGrpSpPr>
        <p:cNvPr id="1" name="Shape 209"/>
        <p:cNvGrpSpPr/>
        <p:nvPr/>
      </p:nvGrpSpPr>
      <p:grpSpPr>
        <a:xfrm>
          <a:off x="0" y="0"/>
          <a:ext cx="0" cy="0"/>
          <a:chOff x="0" y="0"/>
          <a:chExt cx="0" cy="0"/>
        </a:xfrm>
      </p:grpSpPr>
      <p:sp>
        <p:nvSpPr>
          <p:cNvPr id="210" name="Google Shape;210;p23"/>
          <p:cNvSpPr/>
          <p:nvPr/>
        </p:nvSpPr>
        <p:spPr>
          <a:xfrm>
            <a:off x="-2846384" y="309777"/>
            <a:ext cx="8119600" cy="8107200"/>
          </a:xfrm>
          <a:prstGeom prst="ellipse">
            <a:avLst/>
          </a:prstGeom>
          <a:gradFill>
            <a:gsLst>
              <a:gs pos="0">
                <a:srgbClr val="8661C5">
                  <a:alpha val="0"/>
                </a:srgbClr>
              </a:gs>
              <a:gs pos="100000">
                <a:srgbClr val="161828"/>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11" name="Google Shape;211;p23"/>
          <p:cNvSpPr/>
          <p:nvPr/>
        </p:nvSpPr>
        <p:spPr>
          <a:xfrm>
            <a:off x="-441636" y="-840651"/>
            <a:ext cx="8552400" cy="8539200"/>
          </a:xfrm>
          <a:prstGeom prst="ellipse">
            <a:avLst/>
          </a:prstGeom>
          <a:gradFill>
            <a:gsLst>
              <a:gs pos="0">
                <a:schemeClr val="accent4"/>
              </a:gs>
              <a:gs pos="72000">
                <a:srgbClr val="9477E2">
                  <a:alpha val="50196"/>
                </a:srgbClr>
              </a:gs>
              <a:gs pos="100000">
                <a:srgbClr val="9477E2">
                  <a:alpha val="50196"/>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212" name="Google Shape;212;p23"/>
          <p:cNvPicPr preferRelativeResize="0"/>
          <p:nvPr/>
        </p:nvPicPr>
        <p:blipFill rotWithShape="1">
          <a:blip r:embed="rId2">
            <a:alphaModFix amt="30000"/>
          </a:blip>
          <a:srcRect/>
          <a:stretch/>
        </p:blipFill>
        <p:spPr>
          <a:xfrm>
            <a:off x="9212741" y="1496426"/>
            <a:ext cx="5016492" cy="5016492"/>
          </a:xfrm>
          <a:prstGeom prst="rect">
            <a:avLst/>
          </a:prstGeom>
          <a:noFill/>
          <a:ln>
            <a:noFill/>
          </a:ln>
        </p:spPr>
      </p:pic>
      <p:sp>
        <p:nvSpPr>
          <p:cNvPr id="213" name="Google Shape;213;p23"/>
          <p:cNvSpPr/>
          <p:nvPr/>
        </p:nvSpPr>
        <p:spPr>
          <a:xfrm>
            <a:off x="6525728" y="493829"/>
            <a:ext cx="2150000" cy="2146400"/>
          </a:xfrm>
          <a:prstGeom prst="ellipse">
            <a:avLst/>
          </a:prstGeom>
          <a:gradFill>
            <a:gsLst>
              <a:gs pos="0">
                <a:srgbClr val="8661C5">
                  <a:alpha val="0"/>
                </a:srgbClr>
              </a:gs>
              <a:gs pos="100000">
                <a:srgbClr val="161828"/>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214" name="Google Shape;214;p23"/>
          <p:cNvPicPr preferRelativeResize="0"/>
          <p:nvPr/>
        </p:nvPicPr>
        <p:blipFill rotWithShape="1">
          <a:blip r:embed="rId2">
            <a:alphaModFix amt="30000"/>
          </a:blip>
          <a:srcRect/>
          <a:stretch/>
        </p:blipFill>
        <p:spPr>
          <a:xfrm>
            <a:off x="1362931" y="5237851"/>
            <a:ext cx="5016492" cy="5016492"/>
          </a:xfrm>
          <a:prstGeom prst="rect">
            <a:avLst/>
          </a:prstGeom>
          <a:noFill/>
          <a:ln>
            <a:noFill/>
          </a:ln>
        </p:spPr>
      </p:pic>
      <p:sp>
        <p:nvSpPr>
          <p:cNvPr id="215" name="Google Shape;215;p23"/>
          <p:cNvSpPr/>
          <p:nvPr/>
        </p:nvSpPr>
        <p:spPr>
          <a:xfrm>
            <a:off x="5567845" y="389893"/>
            <a:ext cx="811600" cy="810400"/>
          </a:xfrm>
          <a:prstGeom prst="ellipse">
            <a:avLst/>
          </a:prstGeom>
          <a:gradFill>
            <a:gsLst>
              <a:gs pos="0">
                <a:srgbClr val="007ACC">
                  <a:alpha val="14901"/>
                </a:srgbClr>
              </a:gs>
              <a:gs pos="100000">
                <a:srgbClr val="1F9CF0"/>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16" name="Google Shape;216;p23"/>
          <p:cNvSpPr/>
          <p:nvPr/>
        </p:nvSpPr>
        <p:spPr>
          <a:xfrm rot="10800000">
            <a:off x="1331867" y="133"/>
            <a:ext cx="97600" cy="4546000"/>
          </a:xfrm>
          <a:prstGeom prst="rect">
            <a:avLst/>
          </a:pr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cxnSp>
        <p:nvCxnSpPr>
          <p:cNvPr id="217" name="Google Shape;217;p23"/>
          <p:cNvCxnSpPr/>
          <p:nvPr/>
        </p:nvCxnSpPr>
        <p:spPr>
          <a:xfrm>
            <a:off x="1685760" y="1971372"/>
            <a:ext cx="2760400" cy="0"/>
          </a:xfrm>
          <a:prstGeom prst="straightConnector1">
            <a:avLst/>
          </a:prstGeom>
          <a:noFill/>
          <a:ln w="12700" cap="flat" cmpd="sng">
            <a:solidFill>
              <a:schemeClr val="lt1"/>
            </a:solidFill>
            <a:prstDash val="solid"/>
            <a:miter lim="800000"/>
            <a:headEnd type="none" w="sm" len="sm"/>
            <a:tailEnd type="none" w="sm" len="sm"/>
          </a:ln>
        </p:spPr>
      </p:cxnSp>
      <p:sp>
        <p:nvSpPr>
          <p:cNvPr id="12" name="Google Shape;196;p21">
            <a:extLst>
              <a:ext uri="{FF2B5EF4-FFF2-40B4-BE49-F238E27FC236}">
                <a16:creationId xmlns:a16="http://schemas.microsoft.com/office/drawing/2014/main" id="{0D5A692D-5E2C-3545-9A63-90E5192CEDE4}"/>
              </a:ext>
            </a:extLst>
          </p:cNvPr>
          <p:cNvSpPr txBox="1">
            <a:spLocks noGrp="1"/>
          </p:cNvSpPr>
          <p:nvPr>
            <p:ph type="title"/>
          </p:nvPr>
        </p:nvSpPr>
        <p:spPr>
          <a:xfrm>
            <a:off x="1633733"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 name="Google Shape;197;p21">
            <a:extLst>
              <a:ext uri="{FF2B5EF4-FFF2-40B4-BE49-F238E27FC236}">
                <a16:creationId xmlns:a16="http://schemas.microsoft.com/office/drawing/2014/main" id="{50A9DFC3-AEA3-C846-8DCB-4FA6A6FC54E9}"/>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7"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2011262233"/>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matchingName="Subsection Cover A" preserve="1" userDrawn="1">
  <p:cSld name="Subsection Cover A">
    <p:spTree>
      <p:nvGrpSpPr>
        <p:cNvPr id="1" name="Shape 220"/>
        <p:cNvGrpSpPr/>
        <p:nvPr/>
      </p:nvGrpSpPr>
      <p:grpSpPr>
        <a:xfrm>
          <a:off x="0" y="0"/>
          <a:ext cx="0" cy="0"/>
          <a:chOff x="0" y="0"/>
          <a:chExt cx="0" cy="0"/>
        </a:xfrm>
      </p:grpSpPr>
      <p:cxnSp>
        <p:nvCxnSpPr>
          <p:cNvPr id="10" name="Google Shape;67;p15">
            <a:extLst>
              <a:ext uri="{FF2B5EF4-FFF2-40B4-BE49-F238E27FC236}">
                <a16:creationId xmlns:a16="http://schemas.microsoft.com/office/drawing/2014/main" id="{D0C05BEA-A12F-824C-AF6C-CA9F6A8FC070}"/>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1" name="Google Shape;56;p14">
            <a:extLst>
              <a:ext uri="{FF2B5EF4-FFF2-40B4-BE49-F238E27FC236}">
                <a16:creationId xmlns:a16="http://schemas.microsoft.com/office/drawing/2014/main" id="{7E75F73F-89E2-4544-8CB2-0FA2869C704B}"/>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pic>
        <p:nvPicPr>
          <p:cNvPr id="221" name="Google Shape;221;p24"/>
          <p:cNvPicPr preferRelativeResize="0"/>
          <p:nvPr/>
        </p:nvPicPr>
        <p:blipFill rotWithShape="1">
          <a:blip r:embed="rId2">
            <a:alphaModFix/>
          </a:blip>
          <a:srcRect/>
          <a:stretch/>
        </p:blipFill>
        <p:spPr>
          <a:xfrm>
            <a:off x="3760933" y="1"/>
            <a:ext cx="8431067" cy="6858001"/>
          </a:xfrm>
          <a:prstGeom prst="rect">
            <a:avLst/>
          </a:prstGeom>
          <a:noFill/>
          <a:ln>
            <a:noFill/>
          </a:ln>
        </p:spPr>
      </p:pic>
      <p:pic>
        <p:nvPicPr>
          <p:cNvPr id="222" name="Google Shape;222;p24"/>
          <p:cNvPicPr preferRelativeResize="0"/>
          <p:nvPr/>
        </p:nvPicPr>
        <p:blipFill rotWithShape="1">
          <a:blip r:embed="rId3">
            <a:alphaModFix amt="30000"/>
          </a:blip>
          <a:srcRect/>
          <a:stretch/>
        </p:blipFill>
        <p:spPr>
          <a:xfrm>
            <a:off x="-4218439" y="920754"/>
            <a:ext cx="5016492" cy="5016492"/>
          </a:xfrm>
          <a:prstGeom prst="rect">
            <a:avLst/>
          </a:prstGeom>
          <a:noFill/>
          <a:ln>
            <a:noFill/>
          </a:ln>
        </p:spPr>
      </p:pic>
      <p:cxnSp>
        <p:nvCxnSpPr>
          <p:cNvPr id="223" name="Google Shape;223;p24"/>
          <p:cNvCxnSpPr/>
          <p:nvPr/>
        </p:nvCxnSpPr>
        <p:spPr>
          <a:xfrm>
            <a:off x="1685760" y="1971372"/>
            <a:ext cx="2760400" cy="0"/>
          </a:xfrm>
          <a:prstGeom prst="straightConnector1">
            <a:avLst/>
          </a:prstGeom>
          <a:noFill/>
          <a:ln w="12700" cap="flat" cmpd="sng">
            <a:solidFill>
              <a:schemeClr val="lt1"/>
            </a:solidFill>
            <a:prstDash val="solid"/>
            <a:miter lim="800000"/>
            <a:headEnd type="none" w="sm" len="sm"/>
            <a:tailEnd type="none" w="sm" len="sm"/>
          </a:ln>
        </p:spPr>
      </p:cxnSp>
      <p:sp>
        <p:nvSpPr>
          <p:cNvPr id="224" name="Google Shape;224;p24"/>
          <p:cNvSpPr/>
          <p:nvPr/>
        </p:nvSpPr>
        <p:spPr>
          <a:xfrm rot="10800000">
            <a:off x="1331867" y="67"/>
            <a:ext cx="97600" cy="45260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8" name="Google Shape;196;p21">
            <a:extLst>
              <a:ext uri="{FF2B5EF4-FFF2-40B4-BE49-F238E27FC236}">
                <a16:creationId xmlns:a16="http://schemas.microsoft.com/office/drawing/2014/main" id="{DD23A2E5-7DF9-3E42-8FF7-1F52FA94B039}"/>
              </a:ext>
            </a:extLst>
          </p:cNvPr>
          <p:cNvSpPr txBox="1">
            <a:spLocks noGrp="1"/>
          </p:cNvSpPr>
          <p:nvPr>
            <p:ph type="title"/>
          </p:nvPr>
        </p:nvSpPr>
        <p:spPr>
          <a:xfrm>
            <a:off x="1633733"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 name="Google Shape;197;p21">
            <a:extLst>
              <a:ext uri="{FF2B5EF4-FFF2-40B4-BE49-F238E27FC236}">
                <a16:creationId xmlns:a16="http://schemas.microsoft.com/office/drawing/2014/main" id="{E86E1330-9ED2-2645-B516-145C6EB98F8A}"/>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7"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Tree>
    <p:extLst>
      <p:ext uri="{BB962C8B-B14F-4D97-AF65-F5344CB8AC3E}">
        <p14:creationId xmlns:p14="http://schemas.microsoft.com/office/powerpoint/2010/main" val="34140885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196003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matchingName="Subsection Cover C" preserve="1" userDrawn="1">
  <p:cSld name="Subsection Cover C">
    <p:spTree>
      <p:nvGrpSpPr>
        <p:cNvPr id="1" name="Shape 605"/>
        <p:cNvGrpSpPr/>
        <p:nvPr/>
      </p:nvGrpSpPr>
      <p:grpSpPr>
        <a:xfrm>
          <a:off x="0" y="0"/>
          <a:ext cx="0" cy="0"/>
          <a:chOff x="0" y="0"/>
          <a:chExt cx="0" cy="0"/>
        </a:xfrm>
      </p:grpSpPr>
      <p:cxnSp>
        <p:nvCxnSpPr>
          <p:cNvPr id="13" name="Google Shape;67;p15">
            <a:extLst>
              <a:ext uri="{FF2B5EF4-FFF2-40B4-BE49-F238E27FC236}">
                <a16:creationId xmlns:a16="http://schemas.microsoft.com/office/drawing/2014/main" id="{B3289E93-2F80-8F42-82CE-264F7C038480}"/>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4" name="Google Shape;56;p14">
            <a:extLst>
              <a:ext uri="{FF2B5EF4-FFF2-40B4-BE49-F238E27FC236}">
                <a16:creationId xmlns:a16="http://schemas.microsoft.com/office/drawing/2014/main" id="{22260717-A764-5643-AC07-8F20D680F53C}"/>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
        <p:nvSpPr>
          <p:cNvPr id="608" name="Google Shape;608;p40"/>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609" name="Google Shape;609;p40"/>
          <p:cNvCxnSpPr/>
          <p:nvPr/>
        </p:nvCxnSpPr>
        <p:spPr>
          <a:xfrm>
            <a:off x="1685760" y="1971372"/>
            <a:ext cx="2760400" cy="0"/>
          </a:xfrm>
          <a:prstGeom prst="straightConnector1">
            <a:avLst/>
          </a:prstGeom>
          <a:noFill/>
          <a:ln w="12700" cap="flat" cmpd="sng">
            <a:solidFill>
              <a:schemeClr val="lt1"/>
            </a:solidFill>
            <a:prstDash val="solid"/>
            <a:miter lim="800000"/>
            <a:headEnd type="none" w="sm" len="sm"/>
            <a:tailEnd type="none" w="sm" len="sm"/>
          </a:ln>
        </p:spPr>
      </p:cxnSp>
      <p:pic>
        <p:nvPicPr>
          <p:cNvPr id="610" name="Google Shape;610;p40"/>
          <p:cNvPicPr preferRelativeResize="0"/>
          <p:nvPr/>
        </p:nvPicPr>
        <p:blipFill rotWithShape="1">
          <a:blip r:embed="rId2">
            <a:alphaModFix/>
          </a:blip>
          <a:srcRect t="901" r="941"/>
          <a:stretch/>
        </p:blipFill>
        <p:spPr>
          <a:xfrm>
            <a:off x="3811327" y="0"/>
            <a:ext cx="8367717" cy="6858003"/>
          </a:xfrm>
          <a:prstGeom prst="rect">
            <a:avLst/>
          </a:prstGeom>
          <a:noFill/>
          <a:ln>
            <a:noFill/>
          </a:ln>
        </p:spPr>
      </p:pic>
      <p:pic>
        <p:nvPicPr>
          <p:cNvPr id="611" name="Google Shape;611;p40"/>
          <p:cNvPicPr preferRelativeResize="0"/>
          <p:nvPr/>
        </p:nvPicPr>
        <p:blipFill rotWithShape="1">
          <a:blip r:embed="rId3">
            <a:alphaModFix amt="30000"/>
          </a:blip>
          <a:srcRect/>
          <a:stretch/>
        </p:blipFill>
        <p:spPr>
          <a:xfrm>
            <a:off x="-4218439" y="920754"/>
            <a:ext cx="5016492" cy="5016492"/>
          </a:xfrm>
          <a:prstGeom prst="rect">
            <a:avLst/>
          </a:prstGeom>
          <a:noFill/>
          <a:ln>
            <a:noFill/>
          </a:ln>
        </p:spPr>
      </p:pic>
      <p:sp>
        <p:nvSpPr>
          <p:cNvPr id="614" name="Google Shape;614;p40"/>
          <p:cNvSpPr/>
          <p:nvPr/>
        </p:nvSpPr>
        <p:spPr>
          <a:xfrm rot="10800000">
            <a:off x="1331867" y="333"/>
            <a:ext cx="97600" cy="45356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11" name="Google Shape;196;p21">
            <a:extLst>
              <a:ext uri="{FF2B5EF4-FFF2-40B4-BE49-F238E27FC236}">
                <a16:creationId xmlns:a16="http://schemas.microsoft.com/office/drawing/2014/main" id="{6FAE51A8-BD8E-3E44-B52C-3D0D2FEA3A8F}"/>
              </a:ext>
            </a:extLst>
          </p:cNvPr>
          <p:cNvSpPr txBox="1">
            <a:spLocks noGrp="1"/>
          </p:cNvSpPr>
          <p:nvPr>
            <p:ph type="title"/>
          </p:nvPr>
        </p:nvSpPr>
        <p:spPr>
          <a:xfrm>
            <a:off x="1633733" y="2293867"/>
            <a:ext cx="5364400" cy="2936800"/>
          </a:xfrm>
          <a:prstGeom prst="rect">
            <a:avLst/>
          </a:prstGeom>
        </p:spPr>
        <p:txBody>
          <a:bodyPr spcFirstLastPara="1" wrap="square" lIns="45700" tIns="18275" rIns="45700" bIns="18275" anchor="t" anchorCtr="0">
            <a:noAutofit/>
          </a:bodyPr>
          <a:lstStyle>
            <a:lvl1pPr lvl="0" rtl="0">
              <a:spcBef>
                <a:spcPts val="0"/>
              </a:spcBef>
              <a:spcAft>
                <a:spcPts val="0"/>
              </a:spcAft>
              <a:buSzPts val="3400"/>
              <a:buNone/>
              <a:defRPr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 name="Google Shape;197;p21">
            <a:extLst>
              <a:ext uri="{FF2B5EF4-FFF2-40B4-BE49-F238E27FC236}">
                <a16:creationId xmlns:a16="http://schemas.microsoft.com/office/drawing/2014/main" id="{7547AEDB-C4CC-B049-8D2A-220A88AC2505}"/>
              </a:ext>
            </a:extLst>
          </p:cNvPr>
          <p:cNvSpPr txBox="1">
            <a:spLocks noGrp="1"/>
          </p:cNvSpPr>
          <p:nvPr>
            <p:ph type="subTitle" idx="1"/>
          </p:nvPr>
        </p:nvSpPr>
        <p:spPr>
          <a:xfrm>
            <a:off x="1633728" y="1719072"/>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Clr>
                <a:schemeClr val="lt1"/>
              </a:buClr>
              <a:buSzPts val="800"/>
              <a:buNone/>
              <a:defRPr sz="1067" b="0" i="0">
                <a:solidFill>
                  <a:schemeClr val="lt1"/>
                </a:solidFill>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lang="en-US"/>
          </a:p>
        </p:txBody>
      </p:sp>
    </p:spTree>
    <p:extLst>
      <p:ext uri="{BB962C8B-B14F-4D97-AF65-F5344CB8AC3E}">
        <p14:creationId xmlns:p14="http://schemas.microsoft.com/office/powerpoint/2010/main" val="251334376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matchingName="Speaker Intro" preserve="1">
  <p:cSld name="Speaker Intro">
    <p:spTree>
      <p:nvGrpSpPr>
        <p:cNvPr id="1" name="Shape 255"/>
        <p:cNvGrpSpPr/>
        <p:nvPr/>
      </p:nvGrpSpPr>
      <p:grpSpPr>
        <a:xfrm>
          <a:off x="0" y="0"/>
          <a:ext cx="0" cy="0"/>
          <a:chOff x="0" y="0"/>
          <a:chExt cx="0" cy="0"/>
        </a:xfrm>
      </p:grpSpPr>
      <p:cxnSp>
        <p:nvCxnSpPr>
          <p:cNvPr id="11" name="Google Shape;67;p15">
            <a:extLst>
              <a:ext uri="{FF2B5EF4-FFF2-40B4-BE49-F238E27FC236}">
                <a16:creationId xmlns:a16="http://schemas.microsoft.com/office/drawing/2014/main" id="{C7784FB6-741B-9D49-B3F9-9C37B009343C}"/>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2" name="Google Shape;56;p14">
            <a:extLst>
              <a:ext uri="{FF2B5EF4-FFF2-40B4-BE49-F238E27FC236}">
                <a16:creationId xmlns:a16="http://schemas.microsoft.com/office/drawing/2014/main" id="{B9170CBC-23D1-E14C-AD47-844FCBA3A02C}"/>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pic>
        <p:nvPicPr>
          <p:cNvPr id="256" name="Google Shape;256;p26" descr="A picture containing logo&#10;&#10;Description automatically generated"/>
          <p:cNvPicPr preferRelativeResize="0"/>
          <p:nvPr/>
        </p:nvPicPr>
        <p:blipFill rotWithShape="1">
          <a:blip r:embed="rId2">
            <a:alphaModFix/>
          </a:blip>
          <a:srcRect/>
          <a:stretch/>
        </p:blipFill>
        <p:spPr>
          <a:xfrm flipH="1">
            <a:off x="4330450" y="-3437"/>
            <a:ext cx="7846684" cy="6858001"/>
          </a:xfrm>
          <a:prstGeom prst="rect">
            <a:avLst/>
          </a:prstGeom>
          <a:noFill/>
          <a:ln>
            <a:noFill/>
          </a:ln>
        </p:spPr>
      </p:pic>
      <p:sp>
        <p:nvSpPr>
          <p:cNvPr id="257" name="Google Shape;257;p26"/>
          <p:cNvSpPr/>
          <p:nvPr/>
        </p:nvSpPr>
        <p:spPr>
          <a:xfrm>
            <a:off x="1687304" y="3951756"/>
            <a:ext cx="5321600" cy="750400"/>
          </a:xfrm>
          <a:prstGeom prst="roundRect">
            <a:avLst>
              <a:gd name="adj" fmla="val 371"/>
            </a:avLst>
          </a:prstGeom>
          <a:solidFill>
            <a:srgbClr val="161828"/>
          </a:solidFill>
          <a:ln>
            <a:noFill/>
          </a:ln>
          <a:effectLst>
            <a:outerShdw blurRad="1270000" dist="2540000" dir="7800000" sx="90000" sy="90000" algn="tr" rotWithShape="0">
              <a:srgbClr val="000000">
                <a:alpha val="4000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58" name="Google Shape;258;p26"/>
          <p:cNvSpPr/>
          <p:nvPr/>
        </p:nvSpPr>
        <p:spPr>
          <a:xfrm>
            <a:off x="1687304" y="2476517"/>
            <a:ext cx="5321600" cy="1475200"/>
          </a:xfrm>
          <a:prstGeom prst="roundRect">
            <a:avLst>
              <a:gd name="adj" fmla="val 371"/>
            </a:avLst>
          </a:prstGeom>
          <a:gradFill>
            <a:gsLst>
              <a:gs pos="0">
                <a:srgbClr val="1F9CF0"/>
              </a:gs>
              <a:gs pos="2000">
                <a:srgbClr val="1F9CF0"/>
              </a:gs>
              <a:gs pos="100000">
                <a:schemeClr val="accent2"/>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259" name="Google Shape;259;p26"/>
          <p:cNvPicPr preferRelativeResize="0"/>
          <p:nvPr/>
        </p:nvPicPr>
        <p:blipFill rotWithShape="1">
          <a:blip r:embed="rId3">
            <a:alphaModFix amt="30000"/>
          </a:blip>
          <a:srcRect/>
          <a:stretch/>
        </p:blipFill>
        <p:spPr>
          <a:xfrm>
            <a:off x="-4218439" y="1443511"/>
            <a:ext cx="5016492" cy="5016492"/>
          </a:xfrm>
          <a:prstGeom prst="rect">
            <a:avLst/>
          </a:prstGeom>
          <a:noFill/>
          <a:ln>
            <a:noFill/>
          </a:ln>
        </p:spPr>
      </p:pic>
      <p:pic>
        <p:nvPicPr>
          <p:cNvPr id="260" name="Google Shape;260;p26"/>
          <p:cNvPicPr preferRelativeResize="0"/>
          <p:nvPr/>
        </p:nvPicPr>
        <p:blipFill rotWithShape="1">
          <a:blip r:embed="rId4">
            <a:alphaModFix/>
          </a:blip>
          <a:srcRect/>
          <a:stretch/>
        </p:blipFill>
        <p:spPr>
          <a:xfrm>
            <a:off x="2026729" y="4199734"/>
            <a:ext cx="254409" cy="254409"/>
          </a:xfrm>
          <a:prstGeom prst="rect">
            <a:avLst/>
          </a:prstGeom>
          <a:noFill/>
          <a:ln>
            <a:noFill/>
          </a:ln>
        </p:spPr>
      </p:pic>
      <p:sp>
        <p:nvSpPr>
          <p:cNvPr id="261" name="Google Shape;261;p26"/>
          <p:cNvSpPr/>
          <p:nvPr/>
        </p:nvSpPr>
        <p:spPr>
          <a:xfrm rot="10800000">
            <a:off x="1331867" y="167"/>
            <a:ext cx="97600" cy="21448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262" name="Google Shape;262;p26"/>
          <p:cNvSpPr txBox="1">
            <a:spLocks noGrp="1"/>
          </p:cNvSpPr>
          <p:nvPr>
            <p:ph type="title"/>
          </p:nvPr>
        </p:nvSpPr>
        <p:spPr>
          <a:xfrm>
            <a:off x="1633733" y="1187133"/>
            <a:ext cx="5364400" cy="1121600"/>
          </a:xfrm>
          <a:prstGeom prst="rect">
            <a:avLst/>
          </a:prstGeom>
        </p:spPr>
        <p:txBody>
          <a:bodyPr spcFirstLastPara="1" wrap="square" lIns="45700" tIns="18275" rIns="45700" bIns="18275" anchor="b"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3" name="Google Shape;263;p26"/>
          <p:cNvSpPr txBox="1">
            <a:spLocks noGrp="1"/>
          </p:cNvSpPr>
          <p:nvPr>
            <p:ph type="body" idx="1"/>
          </p:nvPr>
        </p:nvSpPr>
        <p:spPr>
          <a:xfrm>
            <a:off x="1914144" y="2682233"/>
            <a:ext cx="4864800" cy="10972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Clr>
                <a:schemeClr val="lt1"/>
              </a:buClr>
              <a:buSzPts val="1700"/>
              <a:buNone/>
              <a:defRPr sz="2267" b="0" i="0">
                <a:solidFill>
                  <a:schemeClr val="lt1"/>
                </a:solidFill>
                <a:latin typeface="Helvetica" pitchFamily="2" charset="0"/>
              </a:defRPr>
            </a:lvl1pPr>
            <a:lvl2pPr marL="1219170" lvl="1" indent="-448722">
              <a:lnSpc>
                <a:spcPct val="100000"/>
              </a:lnSpc>
              <a:spcBef>
                <a:spcPts val="0"/>
              </a:spcBef>
              <a:spcAft>
                <a:spcPts val="0"/>
              </a:spcAft>
              <a:buClr>
                <a:schemeClr val="lt1"/>
              </a:buClr>
              <a:buSzPts val="1700"/>
              <a:buChar char="○"/>
              <a:defRPr sz="2267">
                <a:solidFill>
                  <a:schemeClr val="lt1"/>
                </a:solidFill>
              </a:defRPr>
            </a:lvl2pPr>
            <a:lvl3pPr marL="1828754" lvl="2" indent="-448722">
              <a:lnSpc>
                <a:spcPct val="100000"/>
              </a:lnSpc>
              <a:spcBef>
                <a:spcPts val="0"/>
              </a:spcBef>
              <a:spcAft>
                <a:spcPts val="0"/>
              </a:spcAft>
              <a:buClr>
                <a:schemeClr val="lt1"/>
              </a:buClr>
              <a:buSzPts val="1700"/>
              <a:buChar char="■"/>
              <a:defRPr sz="2267">
                <a:solidFill>
                  <a:schemeClr val="lt1"/>
                </a:solidFill>
              </a:defRPr>
            </a:lvl3pPr>
            <a:lvl4pPr marL="2438339" lvl="3" indent="-448722">
              <a:lnSpc>
                <a:spcPct val="100000"/>
              </a:lnSpc>
              <a:spcBef>
                <a:spcPts val="0"/>
              </a:spcBef>
              <a:spcAft>
                <a:spcPts val="0"/>
              </a:spcAft>
              <a:buClr>
                <a:schemeClr val="lt1"/>
              </a:buClr>
              <a:buSzPts val="1700"/>
              <a:buChar char="●"/>
              <a:defRPr sz="2267">
                <a:solidFill>
                  <a:schemeClr val="lt1"/>
                </a:solidFill>
              </a:defRPr>
            </a:lvl4pPr>
            <a:lvl5pPr marL="3047924" lvl="4" indent="-448722">
              <a:lnSpc>
                <a:spcPct val="100000"/>
              </a:lnSpc>
              <a:spcBef>
                <a:spcPts val="0"/>
              </a:spcBef>
              <a:spcAft>
                <a:spcPts val="0"/>
              </a:spcAft>
              <a:buClr>
                <a:schemeClr val="lt1"/>
              </a:buClr>
              <a:buSzPts val="1700"/>
              <a:buChar char="○"/>
              <a:defRPr sz="2267">
                <a:solidFill>
                  <a:schemeClr val="lt1"/>
                </a:solidFill>
              </a:defRPr>
            </a:lvl5pPr>
            <a:lvl6pPr marL="3657509" lvl="5" indent="-448722">
              <a:lnSpc>
                <a:spcPct val="100000"/>
              </a:lnSpc>
              <a:spcBef>
                <a:spcPts val="0"/>
              </a:spcBef>
              <a:spcAft>
                <a:spcPts val="0"/>
              </a:spcAft>
              <a:buClr>
                <a:schemeClr val="lt1"/>
              </a:buClr>
              <a:buSzPts val="1700"/>
              <a:buChar char="■"/>
              <a:defRPr sz="2267">
                <a:solidFill>
                  <a:schemeClr val="lt1"/>
                </a:solidFill>
              </a:defRPr>
            </a:lvl6pPr>
            <a:lvl7pPr marL="4267093" lvl="6" indent="-448722">
              <a:lnSpc>
                <a:spcPct val="100000"/>
              </a:lnSpc>
              <a:spcBef>
                <a:spcPts val="0"/>
              </a:spcBef>
              <a:spcAft>
                <a:spcPts val="0"/>
              </a:spcAft>
              <a:buClr>
                <a:schemeClr val="lt1"/>
              </a:buClr>
              <a:buSzPts val="1700"/>
              <a:buChar char="●"/>
              <a:defRPr sz="2267">
                <a:solidFill>
                  <a:schemeClr val="lt1"/>
                </a:solidFill>
              </a:defRPr>
            </a:lvl7pPr>
            <a:lvl8pPr marL="4876678" lvl="7" indent="-448722">
              <a:lnSpc>
                <a:spcPct val="100000"/>
              </a:lnSpc>
              <a:spcBef>
                <a:spcPts val="0"/>
              </a:spcBef>
              <a:spcAft>
                <a:spcPts val="0"/>
              </a:spcAft>
              <a:buClr>
                <a:schemeClr val="lt1"/>
              </a:buClr>
              <a:buSzPts val="1700"/>
              <a:buChar char="○"/>
              <a:defRPr sz="2267">
                <a:solidFill>
                  <a:schemeClr val="lt1"/>
                </a:solidFill>
              </a:defRPr>
            </a:lvl8pPr>
            <a:lvl9pPr marL="5486263" lvl="8" indent="-448722">
              <a:lnSpc>
                <a:spcPct val="100000"/>
              </a:lnSpc>
              <a:spcBef>
                <a:spcPts val="0"/>
              </a:spcBef>
              <a:spcAft>
                <a:spcPts val="0"/>
              </a:spcAft>
              <a:buClr>
                <a:schemeClr val="lt1"/>
              </a:buClr>
              <a:buSzPts val="1700"/>
              <a:buChar char="■"/>
              <a:defRPr sz="2267">
                <a:solidFill>
                  <a:schemeClr val="lt1"/>
                </a:solidFill>
              </a:defRPr>
            </a:lvl9pPr>
          </a:lstStyle>
          <a:p>
            <a:endParaRPr/>
          </a:p>
        </p:txBody>
      </p:sp>
      <p:sp>
        <p:nvSpPr>
          <p:cNvPr id="264" name="Google Shape;264;p26"/>
          <p:cNvSpPr txBox="1">
            <a:spLocks noGrp="1"/>
          </p:cNvSpPr>
          <p:nvPr>
            <p:ph type="body" idx="2"/>
          </p:nvPr>
        </p:nvSpPr>
        <p:spPr>
          <a:xfrm>
            <a:off x="2497687" y="4063513"/>
            <a:ext cx="3938000" cy="526848"/>
          </a:xfrm>
          <a:prstGeom prst="rect">
            <a:avLst/>
          </a:prstGeom>
        </p:spPr>
        <p:txBody>
          <a:bodyPr spcFirstLastPara="1" wrap="square" lIns="45700" tIns="18275" rIns="45700" bIns="18275" anchor="ctr" anchorCtr="0">
            <a:noAutofit/>
          </a:bodyPr>
          <a:lstStyle>
            <a:lvl1pPr marL="0" lvl="0" indent="0">
              <a:spcBef>
                <a:spcPts val="0"/>
              </a:spcBef>
              <a:spcAft>
                <a:spcPts val="0"/>
              </a:spcAft>
              <a:buClr>
                <a:schemeClr val="lt1"/>
              </a:buClr>
              <a:buSzPts val="1700"/>
              <a:buNone/>
              <a:defRPr sz="1867" b="0" i="0">
                <a:solidFill>
                  <a:schemeClr val="lt1"/>
                </a:solidFill>
                <a:latin typeface="Helvetica" pitchFamily="2" charset="0"/>
              </a:defRPr>
            </a:lvl1pPr>
            <a:lvl2pPr marL="1219170" lvl="1" indent="-448722">
              <a:spcBef>
                <a:spcPts val="0"/>
              </a:spcBef>
              <a:spcAft>
                <a:spcPts val="0"/>
              </a:spcAft>
              <a:buClr>
                <a:schemeClr val="lt1"/>
              </a:buClr>
              <a:buSzPts val="1700"/>
              <a:buChar char="○"/>
              <a:defRPr sz="2267">
                <a:solidFill>
                  <a:schemeClr val="lt1"/>
                </a:solidFill>
              </a:defRPr>
            </a:lvl2pPr>
            <a:lvl3pPr marL="1828754" lvl="2" indent="-448722">
              <a:spcBef>
                <a:spcPts val="0"/>
              </a:spcBef>
              <a:spcAft>
                <a:spcPts val="0"/>
              </a:spcAft>
              <a:buClr>
                <a:schemeClr val="lt1"/>
              </a:buClr>
              <a:buSzPts val="1700"/>
              <a:buChar char="■"/>
              <a:defRPr sz="2267">
                <a:solidFill>
                  <a:schemeClr val="lt1"/>
                </a:solidFill>
              </a:defRPr>
            </a:lvl3pPr>
            <a:lvl4pPr marL="2438339" lvl="3" indent="-448722">
              <a:spcBef>
                <a:spcPts val="0"/>
              </a:spcBef>
              <a:spcAft>
                <a:spcPts val="0"/>
              </a:spcAft>
              <a:buClr>
                <a:schemeClr val="lt1"/>
              </a:buClr>
              <a:buSzPts val="1700"/>
              <a:buChar char="●"/>
              <a:defRPr sz="2267">
                <a:solidFill>
                  <a:schemeClr val="lt1"/>
                </a:solidFill>
              </a:defRPr>
            </a:lvl4pPr>
            <a:lvl5pPr marL="3047924" lvl="4" indent="-448722">
              <a:spcBef>
                <a:spcPts val="0"/>
              </a:spcBef>
              <a:spcAft>
                <a:spcPts val="0"/>
              </a:spcAft>
              <a:buClr>
                <a:schemeClr val="lt1"/>
              </a:buClr>
              <a:buSzPts val="1700"/>
              <a:buChar char="○"/>
              <a:defRPr sz="2267">
                <a:solidFill>
                  <a:schemeClr val="lt1"/>
                </a:solidFill>
              </a:defRPr>
            </a:lvl5pPr>
            <a:lvl6pPr marL="3657509" lvl="5" indent="-448722">
              <a:spcBef>
                <a:spcPts val="0"/>
              </a:spcBef>
              <a:spcAft>
                <a:spcPts val="0"/>
              </a:spcAft>
              <a:buClr>
                <a:schemeClr val="lt1"/>
              </a:buClr>
              <a:buSzPts val="1700"/>
              <a:buChar char="■"/>
              <a:defRPr sz="2267">
                <a:solidFill>
                  <a:schemeClr val="lt1"/>
                </a:solidFill>
              </a:defRPr>
            </a:lvl6pPr>
            <a:lvl7pPr marL="4267093" lvl="6" indent="-448722">
              <a:spcBef>
                <a:spcPts val="0"/>
              </a:spcBef>
              <a:spcAft>
                <a:spcPts val="0"/>
              </a:spcAft>
              <a:buClr>
                <a:schemeClr val="lt1"/>
              </a:buClr>
              <a:buSzPts val="1700"/>
              <a:buChar char="●"/>
              <a:defRPr sz="2267">
                <a:solidFill>
                  <a:schemeClr val="lt1"/>
                </a:solidFill>
              </a:defRPr>
            </a:lvl7pPr>
            <a:lvl8pPr marL="4876678" lvl="7" indent="-448722">
              <a:spcBef>
                <a:spcPts val="0"/>
              </a:spcBef>
              <a:spcAft>
                <a:spcPts val="0"/>
              </a:spcAft>
              <a:buClr>
                <a:schemeClr val="lt1"/>
              </a:buClr>
              <a:buSzPts val="1700"/>
              <a:buChar char="○"/>
              <a:defRPr sz="2267">
                <a:solidFill>
                  <a:schemeClr val="lt1"/>
                </a:solidFill>
              </a:defRPr>
            </a:lvl8pPr>
            <a:lvl9pPr marL="5486263" lvl="8" indent="-448722">
              <a:spcBef>
                <a:spcPts val="0"/>
              </a:spcBef>
              <a:spcAft>
                <a:spcPts val="0"/>
              </a:spcAft>
              <a:buClr>
                <a:schemeClr val="lt1"/>
              </a:buClr>
              <a:buSzPts val="1700"/>
              <a:buChar char="■"/>
              <a:defRPr sz="2267">
                <a:solidFill>
                  <a:schemeClr val="lt1"/>
                </a:solidFill>
              </a:defRPr>
            </a:lvl9pPr>
          </a:lstStyle>
          <a:p>
            <a:endParaRPr/>
          </a:p>
        </p:txBody>
      </p:sp>
    </p:spTree>
    <p:extLst>
      <p:ext uri="{BB962C8B-B14F-4D97-AF65-F5344CB8AC3E}">
        <p14:creationId xmlns:p14="http://schemas.microsoft.com/office/powerpoint/2010/main" val="266554831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matchingName="Right Two Column" preserve="1">
  <p:cSld name="Right Two Column">
    <p:spTree>
      <p:nvGrpSpPr>
        <p:cNvPr id="1" name="Shape 265"/>
        <p:cNvGrpSpPr/>
        <p:nvPr/>
      </p:nvGrpSpPr>
      <p:grpSpPr>
        <a:xfrm>
          <a:off x="0" y="0"/>
          <a:ext cx="0" cy="0"/>
          <a:chOff x="0" y="0"/>
          <a:chExt cx="0" cy="0"/>
        </a:xfrm>
      </p:grpSpPr>
      <p:sp>
        <p:nvSpPr>
          <p:cNvPr id="268" name="Google Shape;268;p27"/>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sp>
        <p:nvSpPr>
          <p:cNvPr id="269" name="Google Shape;269;p27"/>
          <p:cNvSpPr/>
          <p:nvPr/>
        </p:nvSpPr>
        <p:spPr>
          <a:xfrm>
            <a:off x="-3799193" y="-757667"/>
            <a:ext cx="8552400" cy="8539200"/>
          </a:xfrm>
          <a:prstGeom prst="ellipse">
            <a:avLst/>
          </a:prstGeom>
          <a:gradFill>
            <a:gsLst>
              <a:gs pos="0">
                <a:srgbClr val="007ACC"/>
              </a:gs>
              <a:gs pos="72000">
                <a:srgbClr val="D59DFF">
                  <a:alpha val="0"/>
                </a:srgbClr>
              </a:gs>
              <a:gs pos="100000">
                <a:srgbClr val="D59DFF">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70" name="Google Shape;270;p27"/>
          <p:cNvSpPr/>
          <p:nvPr/>
        </p:nvSpPr>
        <p:spPr>
          <a:xfrm>
            <a:off x="958949" y="1315256"/>
            <a:ext cx="1799600" cy="1796800"/>
          </a:xfrm>
          <a:prstGeom prst="ellipse">
            <a:avLst/>
          </a:prstGeom>
          <a:gradFill>
            <a:gsLst>
              <a:gs pos="0">
                <a:srgbClr val="8661C5"/>
              </a:gs>
              <a:gs pos="100000">
                <a:srgbClr val="161828">
                  <a:alpha val="0"/>
                </a:srgbClr>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271" name="Google Shape;271;p27"/>
          <p:cNvCxnSpPr/>
          <p:nvPr/>
        </p:nvCxnSpPr>
        <p:spPr>
          <a:xfrm>
            <a:off x="4715777" y="817736"/>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272" name="Google Shape;272;p27"/>
          <p:cNvPicPr preferRelativeResize="0"/>
          <p:nvPr/>
        </p:nvPicPr>
        <p:blipFill rotWithShape="1">
          <a:blip r:embed="rId2">
            <a:alphaModFix amt="30000"/>
          </a:blip>
          <a:srcRect/>
          <a:stretch/>
        </p:blipFill>
        <p:spPr>
          <a:xfrm>
            <a:off x="11153603" y="829071"/>
            <a:ext cx="5016492" cy="5016492"/>
          </a:xfrm>
          <a:prstGeom prst="rect">
            <a:avLst/>
          </a:prstGeom>
          <a:noFill/>
          <a:ln>
            <a:noFill/>
          </a:ln>
        </p:spPr>
      </p:pic>
      <p:sp>
        <p:nvSpPr>
          <p:cNvPr id="273" name="Google Shape;273;p27"/>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algn="ctr">
              <a:lnSpc>
                <a:spcPct val="100000"/>
              </a:lnSpc>
              <a:spcBef>
                <a:spcPts val="0"/>
              </a:spcBef>
              <a:spcAft>
                <a:spcPts val="0"/>
              </a:spcAft>
              <a:buSzPts val="800"/>
              <a:buNone/>
              <a:defRPr sz="1067"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a:p>
        </p:txBody>
      </p:sp>
      <p:sp>
        <p:nvSpPr>
          <p:cNvPr id="274" name="Google Shape;274;p27"/>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5" name="Google Shape;275;p27"/>
          <p:cNvSpPr txBox="1">
            <a:spLocks noGrp="1"/>
          </p:cNvSpPr>
          <p:nvPr>
            <p:ph type="title" idx="2"/>
          </p:nvPr>
        </p:nvSpPr>
        <p:spPr>
          <a:xfrm>
            <a:off x="6705600" y="2828544"/>
            <a:ext cx="1402000" cy="536400"/>
          </a:xfrm>
          <a:prstGeom prst="rect">
            <a:avLst/>
          </a:prstGeom>
        </p:spPr>
        <p:txBody>
          <a:bodyPr spcFirstLastPara="1" wrap="square" lIns="45700" tIns="18275" rIns="45700" bIns="18275" anchor="t" anchorCtr="0">
            <a:noAutofit/>
          </a:bodyPr>
          <a:lstStyle>
            <a:lvl1pPr lvl="0" algn="ctr">
              <a:lnSpc>
                <a:spcPct val="100000"/>
              </a:lnSpc>
              <a:spcBef>
                <a:spcPts val="0"/>
              </a:spcBef>
              <a:spcAft>
                <a:spcPts val="0"/>
              </a:spcAft>
              <a:buSzPts val="2300"/>
              <a:buNone/>
              <a:defRPr sz="3067" b="1" i="0">
                <a:latin typeface="Helvetica" pitchFamily="2" charset="0"/>
              </a:defRPr>
            </a:lvl1pPr>
            <a:lvl2pPr lvl="1" algn="ctr">
              <a:spcBef>
                <a:spcPts val="0"/>
              </a:spcBef>
              <a:spcAft>
                <a:spcPts val="0"/>
              </a:spcAft>
              <a:buSzPts val="2300"/>
              <a:buNone/>
              <a:defRPr sz="3067"/>
            </a:lvl2pPr>
            <a:lvl3pPr lvl="2" algn="ctr">
              <a:spcBef>
                <a:spcPts val="0"/>
              </a:spcBef>
              <a:spcAft>
                <a:spcPts val="0"/>
              </a:spcAft>
              <a:buSzPts val="2300"/>
              <a:buNone/>
              <a:defRPr sz="3067"/>
            </a:lvl3pPr>
            <a:lvl4pPr lvl="3" algn="ctr">
              <a:spcBef>
                <a:spcPts val="0"/>
              </a:spcBef>
              <a:spcAft>
                <a:spcPts val="0"/>
              </a:spcAft>
              <a:buSzPts val="2300"/>
              <a:buNone/>
              <a:defRPr sz="3067"/>
            </a:lvl4pPr>
            <a:lvl5pPr lvl="4" algn="ctr">
              <a:spcBef>
                <a:spcPts val="0"/>
              </a:spcBef>
              <a:spcAft>
                <a:spcPts val="0"/>
              </a:spcAft>
              <a:buSzPts val="2300"/>
              <a:buNone/>
              <a:defRPr sz="3067"/>
            </a:lvl5pPr>
            <a:lvl6pPr lvl="5" algn="ctr">
              <a:spcBef>
                <a:spcPts val="0"/>
              </a:spcBef>
              <a:spcAft>
                <a:spcPts val="0"/>
              </a:spcAft>
              <a:buSzPts val="2300"/>
              <a:buNone/>
              <a:defRPr sz="3067"/>
            </a:lvl6pPr>
            <a:lvl7pPr lvl="6" algn="ctr">
              <a:spcBef>
                <a:spcPts val="0"/>
              </a:spcBef>
              <a:spcAft>
                <a:spcPts val="0"/>
              </a:spcAft>
              <a:buSzPts val="2300"/>
              <a:buNone/>
              <a:defRPr sz="3067"/>
            </a:lvl7pPr>
            <a:lvl8pPr lvl="7" algn="ctr">
              <a:spcBef>
                <a:spcPts val="0"/>
              </a:spcBef>
              <a:spcAft>
                <a:spcPts val="0"/>
              </a:spcAft>
              <a:buSzPts val="2300"/>
              <a:buNone/>
              <a:defRPr sz="3067"/>
            </a:lvl8pPr>
            <a:lvl9pPr lvl="8" algn="ctr">
              <a:spcBef>
                <a:spcPts val="0"/>
              </a:spcBef>
              <a:spcAft>
                <a:spcPts val="0"/>
              </a:spcAft>
              <a:buSzPts val="2300"/>
              <a:buNone/>
              <a:defRPr sz="3067"/>
            </a:lvl9pPr>
          </a:lstStyle>
          <a:p>
            <a:endParaRPr/>
          </a:p>
        </p:txBody>
      </p:sp>
      <p:sp>
        <p:nvSpPr>
          <p:cNvPr id="276" name="Google Shape;276;p27"/>
          <p:cNvSpPr txBox="1">
            <a:spLocks noGrp="1"/>
          </p:cNvSpPr>
          <p:nvPr>
            <p:ph type="title" idx="3"/>
          </p:nvPr>
        </p:nvSpPr>
        <p:spPr>
          <a:xfrm>
            <a:off x="9131808" y="2828544"/>
            <a:ext cx="1402000" cy="536400"/>
          </a:xfrm>
          <a:prstGeom prst="rect">
            <a:avLst/>
          </a:prstGeom>
        </p:spPr>
        <p:txBody>
          <a:bodyPr spcFirstLastPara="1" wrap="square" lIns="45700" tIns="18275" rIns="45700" bIns="18275" anchor="t" anchorCtr="0">
            <a:noAutofit/>
          </a:bodyPr>
          <a:lstStyle>
            <a:lvl1pPr lvl="0" algn="ctr" rtl="0">
              <a:lnSpc>
                <a:spcPct val="100000"/>
              </a:lnSpc>
              <a:spcBef>
                <a:spcPts val="0"/>
              </a:spcBef>
              <a:spcAft>
                <a:spcPts val="0"/>
              </a:spcAft>
              <a:buSzPts val="2300"/>
              <a:buNone/>
              <a:defRPr sz="3067" b="1" i="0">
                <a:latin typeface="Helvetica" pitchFamily="2" charset="0"/>
              </a:defRPr>
            </a:lvl1pPr>
            <a:lvl2pPr lvl="1" algn="ctr" rtl="0">
              <a:spcBef>
                <a:spcPts val="0"/>
              </a:spcBef>
              <a:spcAft>
                <a:spcPts val="0"/>
              </a:spcAft>
              <a:buSzPts val="2300"/>
              <a:buNone/>
              <a:defRPr sz="3067"/>
            </a:lvl2pPr>
            <a:lvl3pPr lvl="2" algn="ctr" rtl="0">
              <a:spcBef>
                <a:spcPts val="0"/>
              </a:spcBef>
              <a:spcAft>
                <a:spcPts val="0"/>
              </a:spcAft>
              <a:buSzPts val="2300"/>
              <a:buNone/>
              <a:defRPr sz="3067"/>
            </a:lvl3pPr>
            <a:lvl4pPr lvl="3" algn="ctr" rtl="0">
              <a:spcBef>
                <a:spcPts val="0"/>
              </a:spcBef>
              <a:spcAft>
                <a:spcPts val="0"/>
              </a:spcAft>
              <a:buSzPts val="2300"/>
              <a:buNone/>
              <a:defRPr sz="3067"/>
            </a:lvl4pPr>
            <a:lvl5pPr lvl="4" algn="ctr" rtl="0">
              <a:spcBef>
                <a:spcPts val="0"/>
              </a:spcBef>
              <a:spcAft>
                <a:spcPts val="0"/>
              </a:spcAft>
              <a:buSzPts val="2300"/>
              <a:buNone/>
              <a:defRPr sz="3067"/>
            </a:lvl5pPr>
            <a:lvl6pPr lvl="5" algn="ctr" rtl="0">
              <a:spcBef>
                <a:spcPts val="0"/>
              </a:spcBef>
              <a:spcAft>
                <a:spcPts val="0"/>
              </a:spcAft>
              <a:buSzPts val="2300"/>
              <a:buNone/>
              <a:defRPr sz="3067"/>
            </a:lvl6pPr>
            <a:lvl7pPr lvl="6" algn="ctr" rtl="0">
              <a:spcBef>
                <a:spcPts val="0"/>
              </a:spcBef>
              <a:spcAft>
                <a:spcPts val="0"/>
              </a:spcAft>
              <a:buSzPts val="2300"/>
              <a:buNone/>
              <a:defRPr sz="3067"/>
            </a:lvl7pPr>
            <a:lvl8pPr lvl="7" algn="ctr" rtl="0">
              <a:spcBef>
                <a:spcPts val="0"/>
              </a:spcBef>
              <a:spcAft>
                <a:spcPts val="0"/>
              </a:spcAft>
              <a:buSzPts val="2300"/>
              <a:buNone/>
              <a:defRPr sz="3067"/>
            </a:lvl8pPr>
            <a:lvl9pPr lvl="8" algn="ctr" rtl="0">
              <a:spcBef>
                <a:spcPts val="0"/>
              </a:spcBef>
              <a:spcAft>
                <a:spcPts val="0"/>
              </a:spcAft>
              <a:buSzPts val="2300"/>
              <a:buNone/>
              <a:defRPr sz="3067"/>
            </a:lvl9pPr>
          </a:lstStyle>
          <a:p>
            <a:endParaRPr/>
          </a:p>
        </p:txBody>
      </p:sp>
      <p:sp>
        <p:nvSpPr>
          <p:cNvPr id="277" name="Google Shape;277;p27"/>
          <p:cNvSpPr txBox="1">
            <a:spLocks noGrp="1"/>
          </p:cNvSpPr>
          <p:nvPr>
            <p:ph type="body" idx="4"/>
          </p:nvPr>
        </p:nvSpPr>
        <p:spPr>
          <a:xfrm>
            <a:off x="6559296" y="4230624"/>
            <a:ext cx="1924000" cy="463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900"/>
              <a:buNone/>
              <a:defRPr sz="1467" b="0" i="0">
                <a:solidFill>
                  <a:schemeClr val="bg1"/>
                </a:solidFill>
                <a:latin typeface="Helvetica" pitchFamily="2" charset="0"/>
              </a:defRPr>
            </a:lvl1pPr>
            <a:lvl2pPr marL="1219170" lvl="1" indent="-380990">
              <a:spcBef>
                <a:spcPts val="0"/>
              </a:spcBef>
              <a:spcAft>
                <a:spcPts val="0"/>
              </a:spcAft>
              <a:buSzPts val="900"/>
              <a:buChar char="○"/>
              <a:defRPr sz="1200"/>
            </a:lvl2pPr>
            <a:lvl3pPr marL="1828754" lvl="2" indent="-380990">
              <a:spcBef>
                <a:spcPts val="0"/>
              </a:spcBef>
              <a:spcAft>
                <a:spcPts val="0"/>
              </a:spcAft>
              <a:buSzPts val="900"/>
              <a:buChar char="■"/>
              <a:defRPr sz="1200"/>
            </a:lvl3pPr>
            <a:lvl4pPr marL="2438339" lvl="3" indent="-380990">
              <a:spcBef>
                <a:spcPts val="0"/>
              </a:spcBef>
              <a:spcAft>
                <a:spcPts val="0"/>
              </a:spcAft>
              <a:buSzPts val="900"/>
              <a:buChar char="●"/>
              <a:defRPr sz="1200"/>
            </a:lvl4pPr>
            <a:lvl5pPr marL="3047924" lvl="4" indent="-380990">
              <a:spcBef>
                <a:spcPts val="0"/>
              </a:spcBef>
              <a:spcAft>
                <a:spcPts val="0"/>
              </a:spcAft>
              <a:buSzPts val="900"/>
              <a:buChar char="○"/>
              <a:defRPr sz="1200"/>
            </a:lvl5pPr>
            <a:lvl6pPr marL="3657509" lvl="5" indent="-380990">
              <a:spcBef>
                <a:spcPts val="0"/>
              </a:spcBef>
              <a:spcAft>
                <a:spcPts val="0"/>
              </a:spcAft>
              <a:buSzPts val="900"/>
              <a:buChar char="■"/>
              <a:defRPr sz="1200"/>
            </a:lvl6pPr>
            <a:lvl7pPr marL="4267093" lvl="6" indent="-380990">
              <a:spcBef>
                <a:spcPts val="0"/>
              </a:spcBef>
              <a:spcAft>
                <a:spcPts val="0"/>
              </a:spcAft>
              <a:buSzPts val="900"/>
              <a:buChar char="●"/>
              <a:defRPr sz="1200"/>
            </a:lvl7pPr>
            <a:lvl8pPr marL="4876678" lvl="7" indent="-380990">
              <a:spcBef>
                <a:spcPts val="0"/>
              </a:spcBef>
              <a:spcAft>
                <a:spcPts val="0"/>
              </a:spcAft>
              <a:buSzPts val="900"/>
              <a:buChar char="○"/>
              <a:defRPr sz="1200"/>
            </a:lvl8pPr>
            <a:lvl9pPr marL="5486263" lvl="8" indent="-380990">
              <a:spcBef>
                <a:spcPts val="0"/>
              </a:spcBef>
              <a:spcAft>
                <a:spcPts val="0"/>
              </a:spcAft>
              <a:buSzPts val="900"/>
              <a:buChar char="■"/>
              <a:defRPr sz="1200"/>
            </a:lvl9pPr>
          </a:lstStyle>
          <a:p>
            <a:endParaRPr/>
          </a:p>
        </p:txBody>
      </p:sp>
      <p:sp>
        <p:nvSpPr>
          <p:cNvPr id="278" name="Google Shape;278;p27"/>
          <p:cNvSpPr txBox="1">
            <a:spLocks noGrp="1"/>
          </p:cNvSpPr>
          <p:nvPr>
            <p:ph type="body" idx="5"/>
          </p:nvPr>
        </p:nvSpPr>
        <p:spPr>
          <a:xfrm>
            <a:off x="6559296" y="4767072"/>
            <a:ext cx="1731200" cy="97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279" name="Google Shape;279;p27"/>
          <p:cNvSpPr txBox="1">
            <a:spLocks noGrp="1"/>
          </p:cNvSpPr>
          <p:nvPr>
            <p:ph type="body" idx="6"/>
          </p:nvPr>
        </p:nvSpPr>
        <p:spPr>
          <a:xfrm>
            <a:off x="8924544" y="4230624"/>
            <a:ext cx="1924000" cy="463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900"/>
              <a:buNone/>
              <a:defRPr sz="1467" b="0" i="0">
                <a:solidFill>
                  <a:schemeClr val="bg1"/>
                </a:solidFill>
                <a:latin typeface="Helvetica" pitchFamily="2" charset="0"/>
              </a:defRPr>
            </a:lvl1pPr>
            <a:lvl2pPr marL="1219170" lvl="1" indent="-380990" rtl="0">
              <a:spcBef>
                <a:spcPts val="0"/>
              </a:spcBef>
              <a:spcAft>
                <a:spcPts val="0"/>
              </a:spcAft>
              <a:buSzPts val="900"/>
              <a:buChar char="○"/>
              <a:defRPr sz="1200"/>
            </a:lvl2pPr>
            <a:lvl3pPr marL="1828754" lvl="2" indent="-380990" rtl="0">
              <a:spcBef>
                <a:spcPts val="0"/>
              </a:spcBef>
              <a:spcAft>
                <a:spcPts val="0"/>
              </a:spcAft>
              <a:buSzPts val="900"/>
              <a:buChar char="■"/>
              <a:defRPr sz="1200"/>
            </a:lvl3pPr>
            <a:lvl4pPr marL="2438339" lvl="3" indent="-380990" rtl="0">
              <a:spcBef>
                <a:spcPts val="0"/>
              </a:spcBef>
              <a:spcAft>
                <a:spcPts val="0"/>
              </a:spcAft>
              <a:buSzPts val="900"/>
              <a:buChar char="●"/>
              <a:defRPr sz="1200"/>
            </a:lvl4pPr>
            <a:lvl5pPr marL="3047924" lvl="4" indent="-380990" rtl="0">
              <a:spcBef>
                <a:spcPts val="0"/>
              </a:spcBef>
              <a:spcAft>
                <a:spcPts val="0"/>
              </a:spcAft>
              <a:buSzPts val="900"/>
              <a:buChar char="○"/>
              <a:defRPr sz="1200"/>
            </a:lvl5pPr>
            <a:lvl6pPr marL="3657509" lvl="5" indent="-380990" rtl="0">
              <a:spcBef>
                <a:spcPts val="0"/>
              </a:spcBef>
              <a:spcAft>
                <a:spcPts val="0"/>
              </a:spcAft>
              <a:buSzPts val="900"/>
              <a:buChar char="■"/>
              <a:defRPr sz="1200"/>
            </a:lvl6pPr>
            <a:lvl7pPr marL="4267093" lvl="6" indent="-380990" rtl="0">
              <a:spcBef>
                <a:spcPts val="0"/>
              </a:spcBef>
              <a:spcAft>
                <a:spcPts val="0"/>
              </a:spcAft>
              <a:buSzPts val="900"/>
              <a:buChar char="●"/>
              <a:defRPr sz="1200"/>
            </a:lvl7pPr>
            <a:lvl8pPr marL="4876678" lvl="7" indent="-380990" rtl="0">
              <a:spcBef>
                <a:spcPts val="0"/>
              </a:spcBef>
              <a:spcAft>
                <a:spcPts val="0"/>
              </a:spcAft>
              <a:buSzPts val="900"/>
              <a:buChar char="○"/>
              <a:defRPr sz="1200"/>
            </a:lvl8pPr>
            <a:lvl9pPr marL="5486263" lvl="8" indent="-380990" rtl="0">
              <a:spcBef>
                <a:spcPts val="0"/>
              </a:spcBef>
              <a:spcAft>
                <a:spcPts val="0"/>
              </a:spcAft>
              <a:buSzPts val="900"/>
              <a:buChar char="■"/>
              <a:defRPr sz="1200"/>
            </a:lvl9pPr>
          </a:lstStyle>
          <a:p>
            <a:endParaRPr/>
          </a:p>
        </p:txBody>
      </p:sp>
      <p:sp>
        <p:nvSpPr>
          <p:cNvPr id="280" name="Google Shape;280;p27"/>
          <p:cNvSpPr txBox="1">
            <a:spLocks noGrp="1"/>
          </p:cNvSpPr>
          <p:nvPr>
            <p:ph type="body" idx="7"/>
          </p:nvPr>
        </p:nvSpPr>
        <p:spPr>
          <a:xfrm>
            <a:off x="8924544" y="4767072"/>
            <a:ext cx="1731200" cy="9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cxnSp>
        <p:nvCxnSpPr>
          <p:cNvPr id="17" name="Google Shape;67;p15">
            <a:extLst>
              <a:ext uri="{FF2B5EF4-FFF2-40B4-BE49-F238E27FC236}">
                <a16:creationId xmlns:a16="http://schemas.microsoft.com/office/drawing/2014/main" id="{77D23077-C636-7041-8945-BC542592AEE5}"/>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8" name="Google Shape;56;p14">
            <a:extLst>
              <a:ext uri="{FF2B5EF4-FFF2-40B4-BE49-F238E27FC236}">
                <a16:creationId xmlns:a16="http://schemas.microsoft.com/office/drawing/2014/main" id="{743F17DF-7406-FB45-87F9-51AE8826C18C}"/>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66540855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matchingName="Quote" preserve="1">
  <p:cSld name="Quote">
    <p:spTree>
      <p:nvGrpSpPr>
        <p:cNvPr id="1" name="Shape 281"/>
        <p:cNvGrpSpPr/>
        <p:nvPr/>
      </p:nvGrpSpPr>
      <p:grpSpPr>
        <a:xfrm>
          <a:off x="0" y="0"/>
          <a:ext cx="0" cy="0"/>
          <a:chOff x="0" y="0"/>
          <a:chExt cx="0" cy="0"/>
        </a:xfrm>
      </p:grpSpPr>
      <p:pic>
        <p:nvPicPr>
          <p:cNvPr id="285" name="Google Shape;285;p28" descr="Diagram&#10;&#10;Description automatically generated with medium confidence"/>
          <p:cNvPicPr preferRelativeResize="0"/>
          <p:nvPr/>
        </p:nvPicPr>
        <p:blipFill rotWithShape="1">
          <a:blip r:embed="rId2">
            <a:alphaModFix amt="50000"/>
          </a:blip>
          <a:srcRect/>
          <a:stretch/>
        </p:blipFill>
        <p:spPr>
          <a:xfrm>
            <a:off x="1" y="1"/>
            <a:ext cx="7846684" cy="6858001"/>
          </a:xfrm>
          <a:prstGeom prst="rect">
            <a:avLst/>
          </a:prstGeom>
          <a:noFill/>
          <a:ln>
            <a:noFill/>
          </a:ln>
        </p:spPr>
      </p:pic>
      <p:cxnSp>
        <p:nvCxnSpPr>
          <p:cNvPr id="282" name="Google Shape;282;p28"/>
          <p:cNvCxnSpPr/>
          <p:nvPr/>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283" name="Google Shape;283;p28"/>
          <p:cNvSpPr/>
          <p:nvPr/>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
        <p:nvSpPr>
          <p:cNvPr id="284" name="Google Shape;284;p28"/>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grpSp>
        <p:nvGrpSpPr>
          <p:cNvPr id="3" name="Group 2">
            <a:extLst>
              <a:ext uri="{FF2B5EF4-FFF2-40B4-BE49-F238E27FC236}">
                <a16:creationId xmlns:a16="http://schemas.microsoft.com/office/drawing/2014/main" id="{6E286D62-03BB-174A-B73A-AEAD28239285}"/>
              </a:ext>
            </a:extLst>
          </p:cNvPr>
          <p:cNvGrpSpPr/>
          <p:nvPr userDrawn="1"/>
        </p:nvGrpSpPr>
        <p:grpSpPr>
          <a:xfrm>
            <a:off x="1667521" y="863019"/>
            <a:ext cx="4467835" cy="5195392"/>
            <a:chOff x="1250641" y="647264"/>
            <a:chExt cx="3350876" cy="3896544"/>
          </a:xfrm>
          <a:gradFill>
            <a:gsLst>
              <a:gs pos="0">
                <a:srgbClr val="1F9CF0"/>
              </a:gs>
              <a:gs pos="100000">
                <a:schemeClr val="accent2"/>
              </a:gs>
            </a:gsLst>
            <a:lin ang="2700006" scaled="0"/>
          </a:gradFill>
        </p:grpSpPr>
        <p:sp>
          <p:nvSpPr>
            <p:cNvPr id="287" name="Google Shape;287;p28"/>
            <p:cNvSpPr/>
            <p:nvPr/>
          </p:nvSpPr>
          <p:spPr>
            <a:xfrm>
              <a:off x="1250641" y="1140105"/>
              <a:ext cx="3350876" cy="2910862"/>
            </a:xfrm>
            <a:prstGeom prst="roundRect">
              <a:avLst>
                <a:gd name="adj" fmla="val 0"/>
              </a:avLst>
            </a:pr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88" name="Google Shape;288;p28"/>
            <p:cNvSpPr/>
            <p:nvPr/>
          </p:nvSpPr>
          <p:spPr>
            <a:xfrm rot="10800000" flipH="1">
              <a:off x="1250641" y="647264"/>
              <a:ext cx="990493" cy="492841"/>
            </a:xfrm>
            <a:custGeom>
              <a:avLst/>
              <a:gdLst/>
              <a:ahLst/>
              <a:cxnLst/>
              <a:rect l="l" t="t" r="r" b="b"/>
              <a:pathLst>
                <a:path w="1525539" h="760240" extrusionOk="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289" name="Google Shape;289;p28"/>
            <p:cNvSpPr/>
            <p:nvPr/>
          </p:nvSpPr>
          <p:spPr>
            <a:xfrm>
              <a:off x="3611024" y="4050967"/>
              <a:ext cx="990493" cy="492841"/>
            </a:xfrm>
            <a:custGeom>
              <a:avLst/>
              <a:gdLst/>
              <a:ahLst/>
              <a:cxnLst/>
              <a:rect l="l" t="t" r="r" b="b"/>
              <a:pathLst>
                <a:path w="1525539" h="760240" extrusionOk="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grpFill/>
            <a:ln>
              <a:noFill/>
            </a:ln>
            <a:effectLst>
              <a:outerShdw blurRad="1270000" dist="1968500" dir="5400000" sx="90000" sy="90000" algn="t" rotWithShape="0">
                <a:srgbClr val="000000">
                  <a:alpha val="4000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sp>
        <p:nvSpPr>
          <p:cNvPr id="290" name="Google Shape;290;p28"/>
          <p:cNvSpPr/>
          <p:nvPr/>
        </p:nvSpPr>
        <p:spPr>
          <a:xfrm>
            <a:off x="2087125" y="1125200"/>
            <a:ext cx="405180" cy="265265"/>
          </a:xfrm>
          <a:custGeom>
            <a:avLst/>
            <a:gdLst/>
            <a:ahLst/>
            <a:cxnLst/>
            <a:rect l="l" t="t" r="r" b="b"/>
            <a:pathLst>
              <a:path w="173154" h="113523" extrusionOk="0">
                <a:moveTo>
                  <a:pt x="124690" y="0"/>
                </a:moveTo>
                <a:lnTo>
                  <a:pt x="173154" y="0"/>
                </a:lnTo>
                <a:lnTo>
                  <a:pt x="148922" y="113523"/>
                </a:lnTo>
                <a:lnTo>
                  <a:pt x="85314" y="113523"/>
                </a:lnTo>
                <a:close/>
                <a:moveTo>
                  <a:pt x="39376" y="0"/>
                </a:moveTo>
                <a:lnTo>
                  <a:pt x="87839" y="0"/>
                </a:lnTo>
                <a:lnTo>
                  <a:pt x="63607" y="113523"/>
                </a:lnTo>
                <a:lnTo>
                  <a:pt x="0" y="113523"/>
                </a:lnTo>
                <a:close/>
              </a:path>
            </a:pathLst>
          </a:custGeom>
          <a:solidFill>
            <a:schemeClr val="lt1"/>
          </a:soli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291" name="Google Shape;291;p28"/>
          <p:cNvCxnSpPr/>
          <p:nvPr/>
        </p:nvCxnSpPr>
        <p:spPr>
          <a:xfrm>
            <a:off x="7044475" y="1438777"/>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292" name="Google Shape;292;p28"/>
          <p:cNvPicPr preferRelativeResize="0"/>
          <p:nvPr/>
        </p:nvPicPr>
        <p:blipFill rotWithShape="1">
          <a:blip r:embed="rId3">
            <a:alphaModFix amt="30000"/>
          </a:blip>
          <a:srcRect/>
          <a:stretch/>
        </p:blipFill>
        <p:spPr>
          <a:xfrm>
            <a:off x="11356713" y="952506"/>
            <a:ext cx="5016492" cy="5016492"/>
          </a:xfrm>
          <a:prstGeom prst="rect">
            <a:avLst/>
          </a:prstGeom>
          <a:noFill/>
          <a:ln>
            <a:noFill/>
          </a:ln>
        </p:spPr>
      </p:pic>
      <p:sp>
        <p:nvSpPr>
          <p:cNvPr id="293" name="Google Shape;293;p28"/>
          <p:cNvSpPr txBox="1">
            <a:spLocks noGrp="1"/>
          </p:cNvSpPr>
          <p:nvPr>
            <p:ph type="body" idx="1"/>
          </p:nvPr>
        </p:nvSpPr>
        <p:spPr>
          <a:xfrm>
            <a:off x="2036064" y="2243328"/>
            <a:ext cx="3718400" cy="17068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1100"/>
              <a:buNone/>
              <a:defRPr sz="1467" b="0" i="0">
                <a:latin typeface="Helvetica" pitchFamily="2" charset="0"/>
              </a:defRPr>
            </a:lvl1pPr>
            <a:lvl2pPr marL="1219170" lvl="1" indent="-397923" algn="ctr">
              <a:spcBef>
                <a:spcPts val="0"/>
              </a:spcBef>
              <a:spcAft>
                <a:spcPts val="0"/>
              </a:spcAft>
              <a:buSzPts val="1100"/>
              <a:buChar char="○"/>
              <a:defRPr sz="1467" i="1"/>
            </a:lvl2pPr>
            <a:lvl3pPr marL="1828754" lvl="2" indent="-397923" algn="ctr">
              <a:spcBef>
                <a:spcPts val="0"/>
              </a:spcBef>
              <a:spcAft>
                <a:spcPts val="0"/>
              </a:spcAft>
              <a:buSzPts val="1100"/>
              <a:buChar char="■"/>
              <a:defRPr sz="1467" i="1"/>
            </a:lvl3pPr>
            <a:lvl4pPr marL="2438339" lvl="3" indent="-397923" algn="ctr">
              <a:spcBef>
                <a:spcPts val="0"/>
              </a:spcBef>
              <a:spcAft>
                <a:spcPts val="0"/>
              </a:spcAft>
              <a:buSzPts val="1100"/>
              <a:buChar char="●"/>
              <a:defRPr sz="1467" i="1"/>
            </a:lvl4pPr>
            <a:lvl5pPr marL="3047924" lvl="4" indent="-397923" algn="ctr">
              <a:spcBef>
                <a:spcPts val="0"/>
              </a:spcBef>
              <a:spcAft>
                <a:spcPts val="0"/>
              </a:spcAft>
              <a:buSzPts val="1100"/>
              <a:buChar char="○"/>
              <a:defRPr sz="1467" i="1"/>
            </a:lvl5pPr>
            <a:lvl6pPr marL="3657509" lvl="5" indent="-397923" algn="ctr">
              <a:spcBef>
                <a:spcPts val="0"/>
              </a:spcBef>
              <a:spcAft>
                <a:spcPts val="0"/>
              </a:spcAft>
              <a:buSzPts val="1100"/>
              <a:buChar char="■"/>
              <a:defRPr sz="1467" i="1"/>
            </a:lvl6pPr>
            <a:lvl7pPr marL="4267093" lvl="6" indent="-397923" algn="ctr">
              <a:spcBef>
                <a:spcPts val="0"/>
              </a:spcBef>
              <a:spcAft>
                <a:spcPts val="0"/>
              </a:spcAft>
              <a:buSzPts val="1100"/>
              <a:buChar char="●"/>
              <a:defRPr sz="1467" i="1"/>
            </a:lvl7pPr>
            <a:lvl8pPr marL="4876678" lvl="7" indent="-397923" algn="ctr">
              <a:spcBef>
                <a:spcPts val="0"/>
              </a:spcBef>
              <a:spcAft>
                <a:spcPts val="0"/>
              </a:spcAft>
              <a:buSzPts val="1100"/>
              <a:buChar char="○"/>
              <a:defRPr sz="1467" i="1"/>
            </a:lvl8pPr>
            <a:lvl9pPr marL="5486263" lvl="8" indent="-397923" algn="ctr">
              <a:spcBef>
                <a:spcPts val="0"/>
              </a:spcBef>
              <a:spcAft>
                <a:spcPts val="0"/>
              </a:spcAft>
              <a:buSzPts val="1100"/>
              <a:buChar char="■"/>
              <a:defRPr sz="1467" i="1"/>
            </a:lvl9pPr>
          </a:lstStyle>
          <a:p>
            <a:endParaRPr/>
          </a:p>
        </p:txBody>
      </p:sp>
      <p:sp>
        <p:nvSpPr>
          <p:cNvPr id="294" name="Google Shape;294;p28"/>
          <p:cNvSpPr txBox="1">
            <a:spLocks noGrp="1"/>
          </p:cNvSpPr>
          <p:nvPr>
            <p:ph type="body" idx="2"/>
          </p:nvPr>
        </p:nvSpPr>
        <p:spPr>
          <a:xfrm>
            <a:off x="2535936" y="4255008"/>
            <a:ext cx="2760400" cy="8940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1500"/>
              <a:buNone/>
              <a:defRPr sz="2000" b="0" i="0">
                <a:latin typeface="Helvetica" pitchFamily="2" charset="0"/>
              </a:defRPr>
            </a:lvl1pPr>
            <a:lvl2pPr marL="1219170" lvl="1" indent="-397923" algn="ctr">
              <a:lnSpc>
                <a:spcPct val="100000"/>
              </a:lnSpc>
              <a:spcBef>
                <a:spcPts val="0"/>
              </a:spcBef>
              <a:spcAft>
                <a:spcPts val="0"/>
              </a:spcAft>
              <a:buSzPts val="1100"/>
              <a:buChar char="○"/>
              <a:defRPr sz="1467" i="1"/>
            </a:lvl2pPr>
            <a:lvl3pPr marL="1828754" lvl="2" indent="-397923" algn="ctr">
              <a:lnSpc>
                <a:spcPct val="100000"/>
              </a:lnSpc>
              <a:spcBef>
                <a:spcPts val="0"/>
              </a:spcBef>
              <a:spcAft>
                <a:spcPts val="0"/>
              </a:spcAft>
              <a:buSzPts val="1100"/>
              <a:buChar char="■"/>
              <a:defRPr sz="1467" i="1"/>
            </a:lvl3pPr>
            <a:lvl4pPr marL="2438339" lvl="3" indent="-389457" algn="ctr">
              <a:lnSpc>
                <a:spcPct val="100000"/>
              </a:lnSpc>
              <a:spcBef>
                <a:spcPts val="0"/>
              </a:spcBef>
              <a:spcAft>
                <a:spcPts val="0"/>
              </a:spcAft>
              <a:buSzPts val="1000"/>
              <a:buChar char="●"/>
              <a:defRPr/>
            </a:lvl4pPr>
            <a:lvl5pPr marL="3047924" lvl="4" indent="-389457" algn="ctr">
              <a:lnSpc>
                <a:spcPct val="100000"/>
              </a:lnSpc>
              <a:spcBef>
                <a:spcPts val="0"/>
              </a:spcBef>
              <a:spcAft>
                <a:spcPts val="0"/>
              </a:spcAft>
              <a:buSzPts val="1000"/>
              <a:buChar char="○"/>
              <a:defRPr/>
            </a:lvl5pPr>
            <a:lvl6pPr marL="3657509" lvl="5" indent="-389457" algn="ctr">
              <a:lnSpc>
                <a:spcPct val="100000"/>
              </a:lnSpc>
              <a:spcBef>
                <a:spcPts val="0"/>
              </a:spcBef>
              <a:spcAft>
                <a:spcPts val="0"/>
              </a:spcAft>
              <a:buSzPts val="1000"/>
              <a:buChar char="■"/>
              <a:defRPr/>
            </a:lvl6pPr>
            <a:lvl7pPr marL="4267093" lvl="6" indent="-389457" algn="ctr">
              <a:lnSpc>
                <a:spcPct val="100000"/>
              </a:lnSpc>
              <a:spcBef>
                <a:spcPts val="0"/>
              </a:spcBef>
              <a:spcAft>
                <a:spcPts val="0"/>
              </a:spcAft>
              <a:buSzPts val="1000"/>
              <a:buChar char="●"/>
              <a:defRPr/>
            </a:lvl7pPr>
            <a:lvl8pPr marL="4876678" lvl="7" indent="-389457" algn="ctr">
              <a:lnSpc>
                <a:spcPct val="100000"/>
              </a:lnSpc>
              <a:spcBef>
                <a:spcPts val="0"/>
              </a:spcBef>
              <a:spcAft>
                <a:spcPts val="0"/>
              </a:spcAft>
              <a:buSzPts val="1000"/>
              <a:buChar char="○"/>
              <a:defRPr/>
            </a:lvl8pPr>
            <a:lvl9pPr marL="5486263" lvl="8" indent="-389457" algn="ctr">
              <a:lnSpc>
                <a:spcPct val="100000"/>
              </a:lnSpc>
              <a:spcBef>
                <a:spcPts val="0"/>
              </a:spcBef>
              <a:spcAft>
                <a:spcPts val="0"/>
              </a:spcAft>
              <a:buSzPts val="1000"/>
              <a:buChar char="■"/>
              <a:defRPr/>
            </a:lvl9pPr>
          </a:lstStyle>
          <a:p>
            <a:endParaRPr/>
          </a:p>
        </p:txBody>
      </p:sp>
      <p:sp>
        <p:nvSpPr>
          <p:cNvPr id="295" name="Google Shape;295;p28"/>
          <p:cNvSpPr txBox="1">
            <a:spLocks noGrp="1"/>
          </p:cNvSpPr>
          <p:nvPr>
            <p:ph type="subTitle" idx="3"/>
          </p:nvPr>
        </p:nvSpPr>
        <p:spPr>
          <a:xfrm>
            <a:off x="6998208" y="1182624"/>
            <a:ext cx="4035600" cy="233949"/>
          </a:xfrm>
          <a:prstGeom prst="rect">
            <a:avLst/>
          </a:prstGeom>
        </p:spPr>
        <p:txBody>
          <a:bodyPr spcFirstLastPara="1" wrap="square" lIns="45700" tIns="18275" rIns="45700" bIns="18275" anchor="t" anchorCtr="0">
            <a:spAutoFit/>
          </a:bodyPr>
          <a:lstStyle>
            <a:lvl1pPr marL="0" lvl="0">
              <a:spcBef>
                <a:spcPts val="0"/>
              </a:spcBef>
              <a:spcAft>
                <a:spcPts val="0"/>
              </a:spcAft>
              <a:buSzPts val="800"/>
              <a:buNone/>
              <a:defRPr sz="1067"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a:p>
        </p:txBody>
      </p:sp>
      <p:sp>
        <p:nvSpPr>
          <p:cNvPr id="296" name="Google Shape;296;p28"/>
          <p:cNvSpPr txBox="1">
            <a:spLocks noGrp="1"/>
          </p:cNvSpPr>
          <p:nvPr>
            <p:ph type="title"/>
          </p:nvPr>
        </p:nvSpPr>
        <p:spPr>
          <a:xfrm>
            <a:off x="6998208" y="1828800"/>
            <a:ext cx="39744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7" name="Google Shape;297;p28"/>
          <p:cNvSpPr txBox="1">
            <a:spLocks noGrp="1"/>
          </p:cNvSpPr>
          <p:nvPr>
            <p:ph type="body" idx="4"/>
          </p:nvPr>
        </p:nvSpPr>
        <p:spPr>
          <a:xfrm>
            <a:off x="6998208" y="3413760"/>
            <a:ext cx="3974400" cy="1706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298" name="Google Shape;298;p28"/>
          <p:cNvSpPr>
            <a:spLocks noGrp="1"/>
          </p:cNvSpPr>
          <p:nvPr>
            <p:ph type="pic" idx="5"/>
          </p:nvPr>
        </p:nvSpPr>
        <p:spPr>
          <a:xfrm>
            <a:off x="4959867" y="4852852"/>
            <a:ext cx="1036400" cy="1036400"/>
          </a:xfrm>
          <a:prstGeom prst="ellipse">
            <a:avLst/>
          </a:prstGeom>
          <a:noFill/>
          <a:ln>
            <a:noFill/>
          </a:ln>
        </p:spPr>
        <p:txBody>
          <a:bodyPr anchor="ctr"/>
          <a:lstStyle>
            <a:lvl1pPr marL="0" indent="0" algn="ctr">
              <a:buNone/>
              <a:defRPr sz="1067" b="0" i="0">
                <a:latin typeface="Helvetica" pitchFamily="2" charset="0"/>
              </a:defRPr>
            </a:lvl1pPr>
          </a:lstStyle>
          <a:p>
            <a:endParaRPr lang="en-US"/>
          </a:p>
        </p:txBody>
      </p:sp>
    </p:spTree>
    <p:extLst>
      <p:ext uri="{BB962C8B-B14F-4D97-AF65-F5344CB8AC3E}">
        <p14:creationId xmlns:p14="http://schemas.microsoft.com/office/powerpoint/2010/main" val="186700688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matchingName="Four Feature Percent" preserve="1" userDrawn="1">
  <p:cSld name="Four Feature Percent">
    <p:spTree>
      <p:nvGrpSpPr>
        <p:cNvPr id="1" name="Shape 319"/>
        <p:cNvGrpSpPr/>
        <p:nvPr/>
      </p:nvGrpSpPr>
      <p:grpSpPr>
        <a:xfrm>
          <a:off x="0" y="0"/>
          <a:ext cx="0" cy="0"/>
          <a:chOff x="0" y="0"/>
          <a:chExt cx="0" cy="0"/>
        </a:xfrm>
      </p:grpSpPr>
      <p:cxnSp>
        <p:nvCxnSpPr>
          <p:cNvPr id="320" name="Google Shape;320;p30"/>
          <p:cNvCxnSpPr/>
          <p:nvPr/>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321" name="Google Shape;321;p30"/>
          <p:cNvSpPr/>
          <p:nvPr/>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
        <p:nvSpPr>
          <p:cNvPr id="322" name="Google Shape;322;p30"/>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sp>
        <p:nvSpPr>
          <p:cNvPr id="323" name="Google Shape;323;p30"/>
          <p:cNvSpPr/>
          <p:nvPr/>
        </p:nvSpPr>
        <p:spPr>
          <a:xfrm>
            <a:off x="9106244" y="2095740"/>
            <a:ext cx="1447600" cy="1445600"/>
          </a:xfrm>
          <a:prstGeom prst="roundRect">
            <a:avLst>
              <a:gd name="adj" fmla="val 16667"/>
            </a:avLst>
          </a:prstGeom>
          <a:gradFill>
            <a:gsLst>
              <a:gs pos="0">
                <a:srgbClr val="9477E2">
                  <a:alpha val="20000"/>
                </a:srgbClr>
              </a:gs>
              <a:gs pos="2000">
                <a:srgbClr val="9477E2">
                  <a:alpha val="20000"/>
                </a:srgbClr>
              </a:gs>
              <a:gs pos="100000">
                <a:srgbClr val="1F9CF0"/>
              </a:gs>
            </a:gsLst>
            <a:lin ang="18900044"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Arial"/>
              <a:cs typeface="Arial"/>
              <a:sym typeface="Arial"/>
            </a:endParaRPr>
          </a:p>
        </p:txBody>
      </p:sp>
      <p:sp>
        <p:nvSpPr>
          <p:cNvPr id="324" name="Google Shape;324;p30"/>
          <p:cNvSpPr/>
          <p:nvPr/>
        </p:nvSpPr>
        <p:spPr>
          <a:xfrm>
            <a:off x="7856785" y="3678179"/>
            <a:ext cx="1085600" cy="1084000"/>
          </a:xfrm>
          <a:prstGeom prst="roundRect">
            <a:avLst>
              <a:gd name="adj" fmla="val 16667"/>
            </a:avLst>
          </a:prstGeom>
          <a:gradFill>
            <a:gsLst>
              <a:gs pos="0">
                <a:srgbClr val="19C8EB"/>
              </a:gs>
              <a:gs pos="2000">
                <a:srgbClr val="19C8EB"/>
              </a:gs>
              <a:gs pos="100000">
                <a:srgbClr val="9477E2">
                  <a:alpha val="20000"/>
                </a:srgbClr>
              </a:gs>
            </a:gsLst>
            <a:lin ang="18900044"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Arial"/>
              <a:cs typeface="Arial"/>
              <a:sym typeface="Arial"/>
            </a:endParaRPr>
          </a:p>
        </p:txBody>
      </p:sp>
      <p:sp>
        <p:nvSpPr>
          <p:cNvPr id="325" name="Google Shape;325;p30"/>
          <p:cNvSpPr/>
          <p:nvPr/>
        </p:nvSpPr>
        <p:spPr>
          <a:xfrm>
            <a:off x="6771023" y="1373019"/>
            <a:ext cx="2171600" cy="2168000"/>
          </a:xfrm>
          <a:prstGeom prst="roundRect">
            <a:avLst>
              <a:gd name="adj" fmla="val 16667"/>
            </a:avLst>
          </a:prstGeom>
          <a:gradFill>
            <a:gsLst>
              <a:gs pos="0">
                <a:srgbClr val="EC2B8C"/>
              </a:gs>
              <a:gs pos="2000">
                <a:srgbClr val="EC2B8C"/>
              </a:gs>
              <a:gs pos="100000">
                <a:srgbClr val="9477E2">
                  <a:alpha val="2000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Arial"/>
              <a:cs typeface="Arial"/>
              <a:sym typeface="Arial"/>
            </a:endParaRPr>
          </a:p>
        </p:txBody>
      </p:sp>
      <p:sp>
        <p:nvSpPr>
          <p:cNvPr id="326" name="Google Shape;326;p30"/>
          <p:cNvSpPr/>
          <p:nvPr/>
        </p:nvSpPr>
        <p:spPr>
          <a:xfrm>
            <a:off x="9106244" y="3678179"/>
            <a:ext cx="1809600" cy="1806800"/>
          </a:xfrm>
          <a:prstGeom prst="roundRect">
            <a:avLst>
              <a:gd name="adj" fmla="val 16667"/>
            </a:avLst>
          </a:prstGeom>
          <a:gradFill>
            <a:gsLst>
              <a:gs pos="0">
                <a:srgbClr val="9477E2">
                  <a:alpha val="20000"/>
                </a:srgbClr>
              </a:gs>
              <a:gs pos="100000">
                <a:schemeClr val="accent3"/>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Arial"/>
              <a:cs typeface="Arial"/>
              <a:sym typeface="Arial"/>
            </a:endParaRPr>
          </a:p>
        </p:txBody>
      </p:sp>
      <p:cxnSp>
        <p:nvCxnSpPr>
          <p:cNvPr id="327" name="Google Shape;327;p30"/>
          <p:cNvCxnSpPr/>
          <p:nvPr/>
        </p:nvCxnSpPr>
        <p:spPr>
          <a:xfrm>
            <a:off x="1115295" y="983141"/>
            <a:ext cx="2760400" cy="0"/>
          </a:xfrm>
          <a:prstGeom prst="straightConnector1">
            <a:avLst/>
          </a:prstGeom>
          <a:noFill/>
          <a:ln w="12700" cap="flat" cmpd="sng">
            <a:solidFill>
              <a:srgbClr val="627597"/>
            </a:solidFill>
            <a:prstDash val="solid"/>
            <a:miter lim="800000"/>
            <a:headEnd type="none" w="sm" len="sm"/>
            <a:tailEnd type="none" w="sm" len="sm"/>
          </a:ln>
        </p:spPr>
      </p:cxnSp>
      <p:cxnSp>
        <p:nvCxnSpPr>
          <p:cNvPr id="328" name="Google Shape;328;p30"/>
          <p:cNvCxnSpPr/>
          <p:nvPr/>
        </p:nvCxnSpPr>
        <p:spPr>
          <a:xfrm>
            <a:off x="1121639" y="2926556"/>
            <a:ext cx="2028000" cy="11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29" name="Google Shape;329;p30"/>
          <p:cNvCxnSpPr/>
          <p:nvPr/>
        </p:nvCxnSpPr>
        <p:spPr>
          <a:xfrm>
            <a:off x="3727400" y="2937037"/>
            <a:ext cx="2028000" cy="11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30" name="Google Shape;330;p30"/>
          <p:cNvCxnSpPr/>
          <p:nvPr/>
        </p:nvCxnSpPr>
        <p:spPr>
          <a:xfrm>
            <a:off x="1121639" y="4588096"/>
            <a:ext cx="2028000" cy="11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331" name="Google Shape;331;p30"/>
          <p:cNvCxnSpPr/>
          <p:nvPr/>
        </p:nvCxnSpPr>
        <p:spPr>
          <a:xfrm>
            <a:off x="3727400" y="4598576"/>
            <a:ext cx="2028000" cy="11200"/>
          </a:xfrm>
          <a:prstGeom prst="straightConnector1">
            <a:avLst/>
          </a:prstGeom>
          <a:noFill/>
          <a:ln w="12700" cap="flat" cmpd="sng">
            <a:solidFill>
              <a:srgbClr val="627597">
                <a:alpha val="49800"/>
              </a:srgbClr>
            </a:solidFill>
            <a:prstDash val="solid"/>
            <a:miter lim="800000"/>
            <a:headEnd type="none" w="sm" len="sm"/>
            <a:tailEnd type="none" w="sm" len="sm"/>
          </a:ln>
        </p:spPr>
      </p:cxnSp>
      <p:grpSp>
        <p:nvGrpSpPr>
          <p:cNvPr id="332" name="Google Shape;332;p30"/>
          <p:cNvGrpSpPr/>
          <p:nvPr/>
        </p:nvGrpSpPr>
        <p:grpSpPr>
          <a:xfrm>
            <a:off x="8391338" y="2979789"/>
            <a:ext cx="1254273" cy="1251552"/>
            <a:chOff x="6104965" y="2265289"/>
            <a:chExt cx="1855800" cy="1855800"/>
          </a:xfrm>
        </p:grpSpPr>
        <p:sp>
          <p:nvSpPr>
            <p:cNvPr id="333" name="Google Shape;333;p30"/>
            <p:cNvSpPr/>
            <p:nvPr/>
          </p:nvSpPr>
          <p:spPr>
            <a:xfrm>
              <a:off x="6104965" y="2265289"/>
              <a:ext cx="1855800" cy="1855800"/>
            </a:xfrm>
            <a:prstGeom prst="ellipse">
              <a:avLst/>
            </a:prstGeom>
            <a:solidFill>
              <a:srgbClr val="1F9CF0">
                <a:alpha val="30980"/>
              </a:srgbClr>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334" name="Google Shape;334;p30"/>
            <p:cNvSpPr/>
            <p:nvPr/>
          </p:nvSpPr>
          <p:spPr>
            <a:xfrm>
              <a:off x="6326459" y="2482124"/>
              <a:ext cx="1422000" cy="14220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335" name="Google Shape;335;p30"/>
            <p:cNvSpPr/>
            <p:nvPr/>
          </p:nvSpPr>
          <p:spPr>
            <a:xfrm>
              <a:off x="6566834" y="2724359"/>
              <a:ext cx="942600" cy="9426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pic>
        <p:nvPicPr>
          <p:cNvPr id="336" name="Google Shape;336;p30"/>
          <p:cNvPicPr preferRelativeResize="0"/>
          <p:nvPr/>
        </p:nvPicPr>
        <p:blipFill rotWithShape="1">
          <a:blip r:embed="rId2">
            <a:alphaModFix amt="30000"/>
          </a:blip>
          <a:srcRect/>
          <a:stretch/>
        </p:blipFill>
        <p:spPr>
          <a:xfrm>
            <a:off x="6771023" y="-4241506"/>
            <a:ext cx="5016492" cy="5016492"/>
          </a:xfrm>
          <a:prstGeom prst="rect">
            <a:avLst/>
          </a:prstGeom>
          <a:noFill/>
          <a:ln>
            <a:noFill/>
          </a:ln>
        </p:spPr>
      </p:pic>
      <p:pic>
        <p:nvPicPr>
          <p:cNvPr id="337" name="Google Shape;337;p30"/>
          <p:cNvPicPr preferRelativeResize="0"/>
          <p:nvPr/>
        </p:nvPicPr>
        <p:blipFill rotWithShape="1">
          <a:blip r:embed="rId2">
            <a:alphaModFix amt="30000"/>
          </a:blip>
          <a:srcRect/>
          <a:stretch/>
        </p:blipFill>
        <p:spPr>
          <a:xfrm>
            <a:off x="11356713" y="1097465"/>
            <a:ext cx="5016492" cy="5016492"/>
          </a:xfrm>
          <a:prstGeom prst="rect">
            <a:avLst/>
          </a:prstGeom>
          <a:noFill/>
          <a:ln>
            <a:noFill/>
          </a:ln>
        </p:spPr>
      </p:pic>
      <p:sp>
        <p:nvSpPr>
          <p:cNvPr id="338" name="Google Shape;338;p30"/>
          <p:cNvSpPr/>
          <p:nvPr/>
        </p:nvSpPr>
        <p:spPr>
          <a:xfrm rot="10800000">
            <a:off x="543900" y="467"/>
            <a:ext cx="97600" cy="25676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339" name="Google Shape;339;p30"/>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340" name="Google Shape;340;p30"/>
          <p:cNvSpPr txBox="1">
            <a:spLocks noGrp="1"/>
          </p:cNvSpPr>
          <p:nvPr>
            <p:ph type="title"/>
          </p:nvPr>
        </p:nvSpPr>
        <p:spPr>
          <a:xfrm>
            <a:off x="1060704" y="1243584"/>
            <a:ext cx="4681600" cy="14388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7" b="0" i="0">
                <a:latin typeface="Helvetica" pitchFamily="2" charset="0"/>
              </a:defRPr>
            </a:lvl1pPr>
            <a:lvl2pPr lvl="1">
              <a:spcBef>
                <a:spcPts val="0"/>
              </a:spcBef>
              <a:spcAft>
                <a:spcPts val="0"/>
              </a:spcAft>
              <a:buSzPts val="1700"/>
              <a:buNone/>
              <a:defRPr sz="2267"/>
            </a:lvl2pPr>
            <a:lvl3pPr lvl="2">
              <a:spcBef>
                <a:spcPts val="0"/>
              </a:spcBef>
              <a:spcAft>
                <a:spcPts val="0"/>
              </a:spcAft>
              <a:buSzPts val="1700"/>
              <a:buNone/>
              <a:defRPr sz="2267"/>
            </a:lvl3pPr>
            <a:lvl4pPr lvl="3">
              <a:spcBef>
                <a:spcPts val="0"/>
              </a:spcBef>
              <a:spcAft>
                <a:spcPts val="0"/>
              </a:spcAft>
              <a:buSzPts val="1700"/>
              <a:buNone/>
              <a:defRPr sz="2267"/>
            </a:lvl4pPr>
            <a:lvl5pPr lvl="4">
              <a:spcBef>
                <a:spcPts val="0"/>
              </a:spcBef>
              <a:spcAft>
                <a:spcPts val="0"/>
              </a:spcAft>
              <a:buSzPts val="1700"/>
              <a:buNone/>
              <a:defRPr sz="2267"/>
            </a:lvl5pPr>
            <a:lvl6pPr lvl="5">
              <a:spcBef>
                <a:spcPts val="0"/>
              </a:spcBef>
              <a:spcAft>
                <a:spcPts val="0"/>
              </a:spcAft>
              <a:buSzPts val="1700"/>
              <a:buNone/>
              <a:defRPr sz="2267"/>
            </a:lvl6pPr>
            <a:lvl7pPr lvl="6">
              <a:spcBef>
                <a:spcPts val="0"/>
              </a:spcBef>
              <a:spcAft>
                <a:spcPts val="0"/>
              </a:spcAft>
              <a:buSzPts val="1700"/>
              <a:buNone/>
              <a:defRPr sz="2267"/>
            </a:lvl7pPr>
            <a:lvl8pPr lvl="7">
              <a:spcBef>
                <a:spcPts val="0"/>
              </a:spcBef>
              <a:spcAft>
                <a:spcPts val="0"/>
              </a:spcAft>
              <a:buSzPts val="1700"/>
              <a:buNone/>
              <a:defRPr sz="2267"/>
            </a:lvl8pPr>
            <a:lvl9pPr lvl="8">
              <a:spcBef>
                <a:spcPts val="0"/>
              </a:spcBef>
              <a:spcAft>
                <a:spcPts val="0"/>
              </a:spcAft>
              <a:buSzPts val="1700"/>
              <a:buNone/>
              <a:defRPr sz="2267"/>
            </a:lvl9pPr>
          </a:lstStyle>
          <a:p>
            <a:endParaRPr/>
          </a:p>
        </p:txBody>
      </p:sp>
      <p:sp>
        <p:nvSpPr>
          <p:cNvPr id="341" name="Google Shape;341;p30"/>
          <p:cNvSpPr>
            <a:spLocks noGrp="1"/>
          </p:cNvSpPr>
          <p:nvPr>
            <p:ph type="pic" idx="2"/>
          </p:nvPr>
        </p:nvSpPr>
        <p:spPr>
          <a:xfrm>
            <a:off x="1121664" y="3108005"/>
            <a:ext cx="330400" cy="330400"/>
          </a:xfrm>
          <a:prstGeom prst="ellipse">
            <a:avLst/>
          </a:prstGeom>
          <a:noFill/>
          <a:ln>
            <a:noFill/>
          </a:ln>
        </p:spPr>
        <p:txBody>
          <a:bodyPr/>
          <a:lstStyle>
            <a:lvl1pPr marL="0" indent="0" algn="ctr">
              <a:buNone/>
              <a:defRPr sz="133" b="0" i="0">
                <a:latin typeface="Helvetica" pitchFamily="2" charset="0"/>
              </a:defRPr>
            </a:lvl1pPr>
          </a:lstStyle>
          <a:p>
            <a:endParaRPr lang="en-US"/>
          </a:p>
        </p:txBody>
      </p:sp>
      <p:sp>
        <p:nvSpPr>
          <p:cNvPr id="345" name="Google Shape;345;p30"/>
          <p:cNvSpPr txBox="1">
            <a:spLocks noGrp="1"/>
          </p:cNvSpPr>
          <p:nvPr>
            <p:ph type="body" idx="6"/>
          </p:nvPr>
        </p:nvSpPr>
        <p:spPr>
          <a:xfrm>
            <a:off x="1560576" y="3097245"/>
            <a:ext cx="1736992" cy="2316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467" b="1" i="0">
                <a:solidFill>
                  <a:schemeClr val="bg1"/>
                </a:solidFill>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346" name="Google Shape;346;p30"/>
          <p:cNvSpPr txBox="1">
            <a:spLocks noGrp="1"/>
          </p:cNvSpPr>
          <p:nvPr>
            <p:ph type="body" idx="7"/>
          </p:nvPr>
        </p:nvSpPr>
        <p:spPr>
          <a:xfrm>
            <a:off x="4169664" y="3097245"/>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47" name="Google Shape;347;p30"/>
          <p:cNvSpPr txBox="1">
            <a:spLocks noGrp="1"/>
          </p:cNvSpPr>
          <p:nvPr>
            <p:ph type="body" idx="8"/>
          </p:nvPr>
        </p:nvSpPr>
        <p:spPr>
          <a:xfrm>
            <a:off x="1560576" y="4779741"/>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48" name="Google Shape;348;p30"/>
          <p:cNvSpPr txBox="1">
            <a:spLocks noGrp="1"/>
          </p:cNvSpPr>
          <p:nvPr>
            <p:ph type="body" idx="9"/>
          </p:nvPr>
        </p:nvSpPr>
        <p:spPr>
          <a:xfrm>
            <a:off x="4169664" y="4767549"/>
            <a:ext cx="1736992"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4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49" name="Google Shape;349;p30"/>
          <p:cNvSpPr txBox="1">
            <a:spLocks noGrp="1"/>
          </p:cNvSpPr>
          <p:nvPr>
            <p:ph type="body" idx="13"/>
          </p:nvPr>
        </p:nvSpPr>
        <p:spPr>
          <a:xfrm>
            <a:off x="1560576" y="3377661"/>
            <a:ext cx="1816800" cy="78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350" name="Google Shape;350;p30"/>
          <p:cNvSpPr txBox="1">
            <a:spLocks noGrp="1"/>
          </p:cNvSpPr>
          <p:nvPr>
            <p:ph type="body" idx="14"/>
          </p:nvPr>
        </p:nvSpPr>
        <p:spPr>
          <a:xfrm>
            <a:off x="1560576" y="5047965"/>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51" name="Google Shape;351;p30"/>
          <p:cNvSpPr txBox="1">
            <a:spLocks noGrp="1"/>
          </p:cNvSpPr>
          <p:nvPr>
            <p:ph type="body" idx="15"/>
          </p:nvPr>
        </p:nvSpPr>
        <p:spPr>
          <a:xfrm>
            <a:off x="4169676" y="5047965"/>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52" name="Google Shape;352;p30"/>
          <p:cNvSpPr txBox="1">
            <a:spLocks noGrp="1"/>
          </p:cNvSpPr>
          <p:nvPr>
            <p:ph type="body" idx="16"/>
          </p:nvPr>
        </p:nvSpPr>
        <p:spPr>
          <a:xfrm>
            <a:off x="4169664" y="3365469"/>
            <a:ext cx="1816800" cy="78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353" name="Google Shape;353;p30"/>
          <p:cNvSpPr txBox="1">
            <a:spLocks noGrp="1"/>
          </p:cNvSpPr>
          <p:nvPr>
            <p:ph type="title" idx="17"/>
          </p:nvPr>
        </p:nvSpPr>
        <p:spPr>
          <a:xfrm>
            <a:off x="7193280" y="1706880"/>
            <a:ext cx="987600" cy="549804"/>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2500"/>
              <a:buNone/>
              <a:defRPr sz="3333" b="1" i="0">
                <a:latin typeface="Helvetica" pitchFamily="2" charset="0"/>
              </a:defRPr>
            </a:lvl1pPr>
            <a:lvl2pPr lvl="1">
              <a:spcBef>
                <a:spcPts val="0"/>
              </a:spcBef>
              <a:spcAft>
                <a:spcPts val="0"/>
              </a:spcAft>
              <a:buSzPts val="2500"/>
              <a:buNone/>
              <a:defRPr sz="3333"/>
            </a:lvl2pPr>
            <a:lvl3pPr lvl="2">
              <a:spcBef>
                <a:spcPts val="0"/>
              </a:spcBef>
              <a:spcAft>
                <a:spcPts val="0"/>
              </a:spcAft>
              <a:buSzPts val="2500"/>
              <a:buNone/>
              <a:defRPr sz="3333"/>
            </a:lvl3pPr>
            <a:lvl4pPr lvl="3">
              <a:spcBef>
                <a:spcPts val="0"/>
              </a:spcBef>
              <a:spcAft>
                <a:spcPts val="0"/>
              </a:spcAft>
              <a:buSzPts val="2500"/>
              <a:buNone/>
              <a:defRPr sz="3333"/>
            </a:lvl4pPr>
            <a:lvl5pPr lvl="4">
              <a:spcBef>
                <a:spcPts val="0"/>
              </a:spcBef>
              <a:spcAft>
                <a:spcPts val="0"/>
              </a:spcAft>
              <a:buSzPts val="2500"/>
              <a:buNone/>
              <a:defRPr sz="3333"/>
            </a:lvl5pPr>
            <a:lvl6pPr lvl="5">
              <a:spcBef>
                <a:spcPts val="0"/>
              </a:spcBef>
              <a:spcAft>
                <a:spcPts val="0"/>
              </a:spcAft>
              <a:buSzPts val="2500"/>
              <a:buNone/>
              <a:defRPr sz="3333"/>
            </a:lvl6pPr>
            <a:lvl7pPr lvl="6">
              <a:spcBef>
                <a:spcPts val="0"/>
              </a:spcBef>
              <a:spcAft>
                <a:spcPts val="0"/>
              </a:spcAft>
              <a:buSzPts val="2500"/>
              <a:buNone/>
              <a:defRPr sz="3333"/>
            </a:lvl7pPr>
            <a:lvl8pPr lvl="7">
              <a:spcBef>
                <a:spcPts val="0"/>
              </a:spcBef>
              <a:spcAft>
                <a:spcPts val="0"/>
              </a:spcAft>
              <a:buSzPts val="2500"/>
              <a:buNone/>
              <a:defRPr sz="3333"/>
            </a:lvl8pPr>
            <a:lvl9pPr lvl="8">
              <a:spcBef>
                <a:spcPts val="0"/>
              </a:spcBef>
              <a:spcAft>
                <a:spcPts val="0"/>
              </a:spcAft>
              <a:buSzPts val="2500"/>
              <a:buNone/>
              <a:defRPr sz="3333"/>
            </a:lvl9pPr>
          </a:lstStyle>
          <a:p>
            <a:endParaRPr/>
          </a:p>
        </p:txBody>
      </p:sp>
      <p:sp>
        <p:nvSpPr>
          <p:cNvPr id="354" name="Google Shape;354;p30"/>
          <p:cNvSpPr txBox="1">
            <a:spLocks noGrp="1"/>
          </p:cNvSpPr>
          <p:nvPr>
            <p:ph type="title" idx="18"/>
          </p:nvPr>
        </p:nvSpPr>
        <p:spPr>
          <a:xfrm>
            <a:off x="9668256" y="2340864"/>
            <a:ext cx="694800" cy="385785"/>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1700"/>
              <a:buNone/>
              <a:defRPr sz="2267"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30"/>
          <p:cNvSpPr>
            <a:spLocks noGrp="1"/>
          </p:cNvSpPr>
          <p:nvPr>
            <p:ph type="pic" idx="19"/>
          </p:nvPr>
        </p:nvSpPr>
        <p:spPr>
          <a:xfrm>
            <a:off x="8802624" y="3389376"/>
            <a:ext cx="438800" cy="438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356" name="Google Shape;356;p30"/>
          <p:cNvSpPr txBox="1">
            <a:spLocks noGrp="1"/>
          </p:cNvSpPr>
          <p:nvPr>
            <p:ph type="title" idx="20"/>
          </p:nvPr>
        </p:nvSpPr>
        <p:spPr>
          <a:xfrm>
            <a:off x="9814560" y="4657344"/>
            <a:ext cx="841200" cy="475600"/>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2100"/>
              <a:buNone/>
              <a:defRPr sz="2800"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 name="Google Shape;357;p30"/>
          <p:cNvSpPr txBox="1">
            <a:spLocks noGrp="1"/>
          </p:cNvSpPr>
          <p:nvPr>
            <p:ph type="title" idx="21"/>
          </p:nvPr>
        </p:nvSpPr>
        <p:spPr>
          <a:xfrm>
            <a:off x="7985760" y="4279392"/>
            <a:ext cx="500000" cy="262674"/>
          </a:xfrm>
          <a:prstGeom prst="rect">
            <a:avLst/>
          </a:prstGeom>
        </p:spPr>
        <p:txBody>
          <a:bodyPr spcFirstLastPara="1" wrap="square" lIns="45700" tIns="18275" rIns="45700" bIns="18275" anchor="t" anchorCtr="0">
            <a:spAutoFit/>
          </a:bodyPr>
          <a:lstStyle>
            <a:lvl1pPr lvl="0">
              <a:lnSpc>
                <a:spcPct val="100000"/>
              </a:lnSpc>
              <a:spcBef>
                <a:spcPts val="0"/>
              </a:spcBef>
              <a:spcAft>
                <a:spcPts val="0"/>
              </a:spcAft>
              <a:buSzPts val="1100"/>
              <a:buNone/>
              <a:defRPr sz="1467"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 name="Google Shape;341;p30">
            <a:extLst>
              <a:ext uri="{FF2B5EF4-FFF2-40B4-BE49-F238E27FC236}">
                <a16:creationId xmlns:a16="http://schemas.microsoft.com/office/drawing/2014/main" id="{AAF7FB6C-EEA2-5E4D-88E3-B14173AFD815}"/>
              </a:ext>
            </a:extLst>
          </p:cNvPr>
          <p:cNvSpPr>
            <a:spLocks noGrp="1"/>
          </p:cNvSpPr>
          <p:nvPr>
            <p:ph type="pic" idx="22"/>
          </p:nvPr>
        </p:nvSpPr>
        <p:spPr>
          <a:xfrm>
            <a:off x="3727397" y="3108005"/>
            <a:ext cx="330400" cy="330400"/>
          </a:xfrm>
          <a:prstGeom prst="ellipse">
            <a:avLst/>
          </a:prstGeom>
          <a:noFill/>
          <a:ln>
            <a:noFill/>
          </a:ln>
        </p:spPr>
        <p:txBody>
          <a:bodyPr/>
          <a:lstStyle>
            <a:lvl1pPr marL="0" indent="0" algn="ctr">
              <a:buNone/>
              <a:defRPr sz="133" b="0" i="0">
                <a:latin typeface="Helvetica" pitchFamily="2" charset="0"/>
              </a:defRPr>
            </a:lvl1pPr>
          </a:lstStyle>
          <a:p>
            <a:endParaRPr lang="en-US"/>
          </a:p>
        </p:txBody>
      </p:sp>
      <p:sp>
        <p:nvSpPr>
          <p:cNvPr id="43" name="Google Shape;341;p30">
            <a:extLst>
              <a:ext uri="{FF2B5EF4-FFF2-40B4-BE49-F238E27FC236}">
                <a16:creationId xmlns:a16="http://schemas.microsoft.com/office/drawing/2014/main" id="{3CD1E6E8-5829-0C4F-95A7-191B2706C885}"/>
              </a:ext>
            </a:extLst>
          </p:cNvPr>
          <p:cNvSpPr>
            <a:spLocks noGrp="1"/>
          </p:cNvSpPr>
          <p:nvPr>
            <p:ph type="pic" idx="23"/>
          </p:nvPr>
        </p:nvSpPr>
        <p:spPr>
          <a:xfrm>
            <a:off x="1121664" y="4770973"/>
            <a:ext cx="330400" cy="330400"/>
          </a:xfrm>
          <a:prstGeom prst="ellipse">
            <a:avLst/>
          </a:prstGeom>
          <a:noFill/>
          <a:ln>
            <a:noFill/>
          </a:ln>
        </p:spPr>
        <p:txBody>
          <a:bodyPr/>
          <a:lstStyle>
            <a:lvl1pPr marL="0" indent="0" algn="ctr">
              <a:buNone/>
              <a:defRPr sz="133" b="0" i="0">
                <a:latin typeface="Helvetica" pitchFamily="2" charset="0"/>
              </a:defRPr>
            </a:lvl1pPr>
          </a:lstStyle>
          <a:p>
            <a:endParaRPr lang="en-US"/>
          </a:p>
        </p:txBody>
      </p:sp>
      <p:sp>
        <p:nvSpPr>
          <p:cNvPr id="44" name="Google Shape;341;p30">
            <a:extLst>
              <a:ext uri="{FF2B5EF4-FFF2-40B4-BE49-F238E27FC236}">
                <a16:creationId xmlns:a16="http://schemas.microsoft.com/office/drawing/2014/main" id="{7ED488E1-94AA-6041-9182-6D4897990A6D}"/>
              </a:ext>
            </a:extLst>
          </p:cNvPr>
          <p:cNvSpPr>
            <a:spLocks noGrp="1"/>
          </p:cNvSpPr>
          <p:nvPr>
            <p:ph type="pic" idx="24"/>
          </p:nvPr>
        </p:nvSpPr>
        <p:spPr>
          <a:xfrm>
            <a:off x="3727397" y="4770973"/>
            <a:ext cx="330400" cy="330400"/>
          </a:xfrm>
          <a:prstGeom prst="ellipse">
            <a:avLst/>
          </a:prstGeom>
          <a:noFill/>
          <a:ln>
            <a:noFill/>
          </a:ln>
        </p:spPr>
        <p:txBody>
          <a:bodyPr/>
          <a:lstStyle>
            <a:lvl1pPr marL="0" indent="0" algn="ctr">
              <a:buNone/>
              <a:defRPr sz="133" b="0" i="0">
                <a:latin typeface="Helvetica" pitchFamily="2" charset="0"/>
              </a:defRPr>
            </a:lvl1pPr>
          </a:lstStyle>
          <a:p>
            <a:endParaRPr lang="en-US"/>
          </a:p>
        </p:txBody>
      </p:sp>
    </p:spTree>
    <p:extLst>
      <p:ext uri="{BB962C8B-B14F-4D97-AF65-F5344CB8AC3E}">
        <p14:creationId xmlns:p14="http://schemas.microsoft.com/office/powerpoint/2010/main" val="412898233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matchingName="Three Photo Features" preserve="1" userDrawn="1">
  <p:cSld name="Three Photo Features">
    <p:spTree>
      <p:nvGrpSpPr>
        <p:cNvPr id="1" name="Shape 358"/>
        <p:cNvGrpSpPr/>
        <p:nvPr/>
      </p:nvGrpSpPr>
      <p:grpSpPr>
        <a:xfrm>
          <a:off x="0" y="0"/>
          <a:ext cx="0" cy="0"/>
          <a:chOff x="0" y="0"/>
          <a:chExt cx="0" cy="0"/>
        </a:xfrm>
      </p:grpSpPr>
      <p:cxnSp>
        <p:nvCxnSpPr>
          <p:cNvPr id="362" name="Google Shape;362;p31"/>
          <p:cNvCxnSpPr/>
          <p:nvPr/>
        </p:nvCxnSpPr>
        <p:spPr>
          <a:xfrm>
            <a:off x="4715777" y="817736"/>
            <a:ext cx="2760400" cy="0"/>
          </a:xfrm>
          <a:prstGeom prst="straightConnector1">
            <a:avLst/>
          </a:prstGeom>
          <a:noFill/>
          <a:ln w="12700" cap="flat" cmpd="sng">
            <a:solidFill>
              <a:srgbClr val="627597"/>
            </a:solidFill>
            <a:prstDash val="solid"/>
            <a:miter lim="800000"/>
            <a:headEnd type="none" w="sm" len="sm"/>
            <a:tailEnd type="none" w="sm" len="sm"/>
          </a:ln>
        </p:spPr>
      </p:cxnSp>
      <p:sp>
        <p:nvSpPr>
          <p:cNvPr id="363" name="Google Shape;363;p31"/>
          <p:cNvSpPr/>
          <p:nvPr/>
        </p:nvSpPr>
        <p:spPr>
          <a:xfrm>
            <a:off x="1298221" y="5950144"/>
            <a:ext cx="3109200" cy="90000"/>
          </a:xfrm>
          <a:prstGeom prst="rect">
            <a:avLst/>
          </a:prstGeom>
          <a:gradFill>
            <a:gsLst>
              <a:gs pos="0">
                <a:srgbClr val="EC2B8C"/>
              </a:gs>
              <a:gs pos="2000">
                <a:srgbClr val="EC2B8C"/>
              </a:gs>
              <a:gs pos="99000">
                <a:srgbClr val="9477E2"/>
              </a:gs>
              <a:gs pos="100000">
                <a:srgbClr val="9477E2"/>
              </a:gs>
            </a:gsLst>
            <a:lin ang="0"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364" name="Google Shape;364;p31"/>
          <p:cNvSpPr/>
          <p:nvPr/>
        </p:nvSpPr>
        <p:spPr>
          <a:xfrm>
            <a:off x="4541397" y="5950008"/>
            <a:ext cx="3109200" cy="90000"/>
          </a:xfrm>
          <a:prstGeom prst="rect">
            <a:avLst/>
          </a:prstGeom>
          <a:gradFill>
            <a:gsLst>
              <a:gs pos="0">
                <a:schemeClr val="accent2"/>
              </a:gs>
              <a:gs pos="100000">
                <a:srgbClr val="5C30D3"/>
              </a:gs>
            </a:gsLst>
            <a:lin ang="0"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365" name="Google Shape;365;p31"/>
          <p:cNvSpPr/>
          <p:nvPr/>
        </p:nvSpPr>
        <p:spPr>
          <a:xfrm>
            <a:off x="7784569" y="5950009"/>
            <a:ext cx="3109200" cy="90000"/>
          </a:xfrm>
          <a:prstGeom prst="rect">
            <a:avLst/>
          </a:prstGeom>
          <a:gradFill>
            <a:gsLst>
              <a:gs pos="0">
                <a:schemeClr val="accent3"/>
              </a:gs>
              <a:gs pos="100000">
                <a:srgbClr val="0070C0"/>
              </a:gs>
            </a:gsLst>
            <a:lin ang="0"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pic>
        <p:nvPicPr>
          <p:cNvPr id="366" name="Google Shape;366;p31"/>
          <p:cNvPicPr preferRelativeResize="0"/>
          <p:nvPr/>
        </p:nvPicPr>
        <p:blipFill rotWithShape="1">
          <a:blip r:embed="rId2">
            <a:alphaModFix amt="30000"/>
          </a:blip>
          <a:srcRect/>
          <a:stretch/>
        </p:blipFill>
        <p:spPr>
          <a:xfrm>
            <a:off x="11153603" y="829071"/>
            <a:ext cx="5016492" cy="5016492"/>
          </a:xfrm>
          <a:prstGeom prst="rect">
            <a:avLst/>
          </a:prstGeom>
          <a:noFill/>
          <a:ln>
            <a:noFill/>
          </a:ln>
        </p:spPr>
      </p:pic>
      <p:pic>
        <p:nvPicPr>
          <p:cNvPr id="367" name="Google Shape;367;p31"/>
          <p:cNvPicPr preferRelativeResize="0"/>
          <p:nvPr/>
        </p:nvPicPr>
        <p:blipFill rotWithShape="1">
          <a:blip r:embed="rId2">
            <a:alphaModFix amt="30000"/>
          </a:blip>
          <a:srcRect/>
          <a:stretch/>
        </p:blipFill>
        <p:spPr>
          <a:xfrm>
            <a:off x="-3985858" y="829071"/>
            <a:ext cx="5016492" cy="5016492"/>
          </a:xfrm>
          <a:prstGeom prst="rect">
            <a:avLst/>
          </a:prstGeom>
          <a:noFill/>
          <a:ln>
            <a:noFill/>
          </a:ln>
        </p:spPr>
      </p:pic>
      <p:sp>
        <p:nvSpPr>
          <p:cNvPr id="368" name="Google Shape;368;p31"/>
          <p:cNvSpPr txBox="1">
            <a:spLocks noGrp="1"/>
          </p:cNvSpPr>
          <p:nvPr>
            <p:ph type="subTitle" idx="1"/>
          </p:nvPr>
        </p:nvSpPr>
        <p:spPr>
          <a:xfrm>
            <a:off x="4084320" y="573024"/>
            <a:ext cx="4035600" cy="2072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800"/>
              <a:buNone/>
              <a:defRPr sz="1067"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a:p>
        </p:txBody>
      </p:sp>
      <p:sp>
        <p:nvSpPr>
          <p:cNvPr id="369" name="Google Shape;369;p31"/>
          <p:cNvSpPr txBox="1">
            <a:spLocks noGrp="1"/>
          </p:cNvSpPr>
          <p:nvPr>
            <p:ph type="title"/>
          </p:nvPr>
        </p:nvSpPr>
        <p:spPr>
          <a:xfrm>
            <a:off x="1292352" y="1121664"/>
            <a:ext cx="9595200" cy="560800"/>
          </a:xfrm>
          <a:prstGeom prst="rect">
            <a:avLst/>
          </a:prstGeom>
        </p:spPr>
        <p:txBody>
          <a:bodyPr spcFirstLastPara="1" wrap="square" lIns="45700" tIns="18275" rIns="45700" bIns="18275" anchor="t" anchorCtr="0">
            <a:noAutofit/>
          </a:bodyPr>
          <a:lstStyle>
            <a:lvl1pPr lvl="0" algn="ctr">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1"/>
          <p:cNvSpPr>
            <a:spLocks noGrp="1"/>
          </p:cNvSpPr>
          <p:nvPr>
            <p:ph type="pic" idx="2"/>
          </p:nvPr>
        </p:nvSpPr>
        <p:spPr>
          <a:xfrm>
            <a:off x="1280160"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a:p>
        </p:txBody>
      </p:sp>
      <p:sp>
        <p:nvSpPr>
          <p:cNvPr id="373" name="Google Shape;373;p31"/>
          <p:cNvSpPr txBox="1">
            <a:spLocks noGrp="1"/>
          </p:cNvSpPr>
          <p:nvPr>
            <p:ph type="body" idx="5"/>
          </p:nvPr>
        </p:nvSpPr>
        <p:spPr>
          <a:xfrm>
            <a:off x="1721555" y="4255008"/>
            <a:ext cx="2268555" cy="292800"/>
          </a:xfrm>
          <a:prstGeom prst="rect">
            <a:avLst/>
          </a:prstGeom>
        </p:spPr>
        <p:txBody>
          <a:bodyPr spcFirstLastPara="1" wrap="square" lIns="45700" tIns="18275" rIns="45700" bIns="18275" anchor="t" anchorCtr="0">
            <a:noAutofit/>
          </a:bodyPr>
          <a:lstStyle>
            <a:lvl1pPr marL="0" lvl="0" indent="0" algn="ctr">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algn="ctr">
              <a:lnSpc>
                <a:spcPct val="100000"/>
              </a:lnSpc>
              <a:spcBef>
                <a:spcPts val="0"/>
              </a:spcBef>
              <a:spcAft>
                <a:spcPts val="0"/>
              </a:spcAft>
              <a:buSzPts val="1100"/>
              <a:buChar char="○"/>
              <a:defRPr sz="1467"/>
            </a:lvl2pPr>
            <a:lvl3pPr marL="1828754" lvl="2" indent="-397923" algn="ctr">
              <a:lnSpc>
                <a:spcPct val="100000"/>
              </a:lnSpc>
              <a:spcBef>
                <a:spcPts val="0"/>
              </a:spcBef>
              <a:spcAft>
                <a:spcPts val="0"/>
              </a:spcAft>
              <a:buSzPts val="1100"/>
              <a:buChar char="■"/>
              <a:defRPr sz="1467"/>
            </a:lvl3pPr>
            <a:lvl4pPr marL="2438339" lvl="3" indent="-397923" algn="ctr">
              <a:lnSpc>
                <a:spcPct val="100000"/>
              </a:lnSpc>
              <a:spcBef>
                <a:spcPts val="0"/>
              </a:spcBef>
              <a:spcAft>
                <a:spcPts val="0"/>
              </a:spcAft>
              <a:buSzPts val="1100"/>
              <a:buChar char="●"/>
              <a:defRPr sz="1467"/>
            </a:lvl4pPr>
            <a:lvl5pPr marL="3047924" lvl="4" indent="-397923" algn="ctr">
              <a:lnSpc>
                <a:spcPct val="100000"/>
              </a:lnSpc>
              <a:spcBef>
                <a:spcPts val="0"/>
              </a:spcBef>
              <a:spcAft>
                <a:spcPts val="0"/>
              </a:spcAft>
              <a:buSzPts val="1100"/>
              <a:buChar char="○"/>
              <a:defRPr sz="1467"/>
            </a:lvl5pPr>
            <a:lvl6pPr marL="3657509" lvl="5" indent="-397923" algn="ctr">
              <a:lnSpc>
                <a:spcPct val="100000"/>
              </a:lnSpc>
              <a:spcBef>
                <a:spcPts val="0"/>
              </a:spcBef>
              <a:spcAft>
                <a:spcPts val="0"/>
              </a:spcAft>
              <a:buSzPts val="1100"/>
              <a:buChar char="■"/>
              <a:defRPr sz="1467"/>
            </a:lvl6pPr>
            <a:lvl7pPr marL="4267093" lvl="6" indent="-397923" algn="ctr">
              <a:lnSpc>
                <a:spcPct val="100000"/>
              </a:lnSpc>
              <a:spcBef>
                <a:spcPts val="0"/>
              </a:spcBef>
              <a:spcAft>
                <a:spcPts val="0"/>
              </a:spcAft>
              <a:buSzPts val="1100"/>
              <a:buChar char="●"/>
              <a:defRPr sz="1467"/>
            </a:lvl7pPr>
            <a:lvl8pPr marL="4876678" lvl="7" indent="-397923" algn="ctr">
              <a:lnSpc>
                <a:spcPct val="100000"/>
              </a:lnSpc>
              <a:spcBef>
                <a:spcPts val="0"/>
              </a:spcBef>
              <a:spcAft>
                <a:spcPts val="0"/>
              </a:spcAft>
              <a:buSzPts val="1100"/>
              <a:buChar char="○"/>
              <a:defRPr sz="1467"/>
            </a:lvl8pPr>
            <a:lvl9pPr marL="5486263" lvl="8" indent="-397923" algn="ctr">
              <a:lnSpc>
                <a:spcPct val="100000"/>
              </a:lnSpc>
              <a:spcBef>
                <a:spcPts val="0"/>
              </a:spcBef>
              <a:spcAft>
                <a:spcPts val="0"/>
              </a:spcAft>
              <a:buSzPts val="1100"/>
              <a:buChar char="■"/>
              <a:defRPr sz="1467"/>
            </a:lvl9pPr>
          </a:lstStyle>
          <a:p>
            <a:endParaRPr/>
          </a:p>
        </p:txBody>
      </p:sp>
      <p:sp>
        <p:nvSpPr>
          <p:cNvPr id="374" name="Google Shape;374;p31"/>
          <p:cNvSpPr txBox="1">
            <a:spLocks noGrp="1"/>
          </p:cNvSpPr>
          <p:nvPr>
            <p:ph type="body" idx="6"/>
          </p:nvPr>
        </p:nvSpPr>
        <p:spPr>
          <a:xfrm>
            <a:off x="1487424" y="4596384"/>
            <a:ext cx="2731200" cy="1084400"/>
          </a:xfrm>
          <a:prstGeom prst="rect">
            <a:avLst/>
          </a:prstGeom>
        </p:spPr>
        <p:txBody>
          <a:bodyPr spcFirstLastPara="1" wrap="square" lIns="45700" tIns="18275" rIns="45700" bIns="18275" anchor="t" anchorCtr="0">
            <a:noAutofit/>
          </a:bodyPr>
          <a:lstStyle>
            <a:lvl1pPr marL="0" lvl="0" indent="0" algn="ctr">
              <a:spcBef>
                <a:spcPts val="0"/>
              </a:spcBef>
              <a:spcAft>
                <a:spcPts val="0"/>
              </a:spcAft>
              <a:buSzPts val="800"/>
              <a:buNone/>
              <a:defRPr sz="1067" b="0" i="0">
                <a:latin typeface="Helvetica" pitchFamily="2" charset="0"/>
              </a:defRPr>
            </a:lvl1pPr>
            <a:lvl2pPr marL="1219170" lvl="1" indent="-372524" algn="ctr">
              <a:spcBef>
                <a:spcPts val="0"/>
              </a:spcBef>
              <a:spcAft>
                <a:spcPts val="0"/>
              </a:spcAft>
              <a:buSzPts val="800"/>
              <a:buChar char="○"/>
              <a:defRPr sz="1067"/>
            </a:lvl2pPr>
            <a:lvl3pPr marL="1828754" lvl="2" indent="-372524" algn="ctr">
              <a:spcBef>
                <a:spcPts val="0"/>
              </a:spcBef>
              <a:spcAft>
                <a:spcPts val="0"/>
              </a:spcAft>
              <a:buSzPts val="800"/>
              <a:buChar char="■"/>
              <a:defRPr sz="1067"/>
            </a:lvl3pPr>
            <a:lvl4pPr marL="2438339" lvl="3" indent="-372524" algn="ctr">
              <a:spcBef>
                <a:spcPts val="0"/>
              </a:spcBef>
              <a:spcAft>
                <a:spcPts val="0"/>
              </a:spcAft>
              <a:buSzPts val="800"/>
              <a:buChar char="●"/>
              <a:defRPr sz="1067"/>
            </a:lvl4pPr>
            <a:lvl5pPr marL="3047924" lvl="4" indent="-372524" algn="ctr">
              <a:spcBef>
                <a:spcPts val="0"/>
              </a:spcBef>
              <a:spcAft>
                <a:spcPts val="0"/>
              </a:spcAft>
              <a:buSzPts val="800"/>
              <a:buChar char="○"/>
              <a:defRPr sz="1067"/>
            </a:lvl5pPr>
            <a:lvl6pPr marL="3657509" lvl="5" indent="-372524" algn="ctr">
              <a:spcBef>
                <a:spcPts val="0"/>
              </a:spcBef>
              <a:spcAft>
                <a:spcPts val="0"/>
              </a:spcAft>
              <a:buSzPts val="800"/>
              <a:buChar char="■"/>
              <a:defRPr sz="1067"/>
            </a:lvl6pPr>
            <a:lvl7pPr marL="4267093" lvl="6" indent="-372524" algn="ctr">
              <a:spcBef>
                <a:spcPts val="0"/>
              </a:spcBef>
              <a:spcAft>
                <a:spcPts val="0"/>
              </a:spcAft>
              <a:buSzPts val="800"/>
              <a:buChar char="●"/>
              <a:defRPr sz="1067"/>
            </a:lvl7pPr>
            <a:lvl8pPr marL="4876678" lvl="7" indent="-372524" algn="ctr">
              <a:spcBef>
                <a:spcPts val="0"/>
              </a:spcBef>
              <a:spcAft>
                <a:spcPts val="0"/>
              </a:spcAft>
              <a:buSzPts val="800"/>
              <a:buChar char="○"/>
              <a:defRPr sz="1067"/>
            </a:lvl8pPr>
            <a:lvl9pPr marL="5486263" lvl="8" indent="-372524" algn="ctr">
              <a:spcBef>
                <a:spcPts val="0"/>
              </a:spcBef>
              <a:spcAft>
                <a:spcPts val="0"/>
              </a:spcAft>
              <a:buSzPts val="800"/>
              <a:buChar char="■"/>
              <a:defRPr sz="1067"/>
            </a:lvl9pPr>
          </a:lstStyle>
          <a:p>
            <a:endParaRPr/>
          </a:p>
        </p:txBody>
      </p:sp>
      <p:sp>
        <p:nvSpPr>
          <p:cNvPr id="375" name="Google Shape;375;p31"/>
          <p:cNvSpPr txBox="1">
            <a:spLocks noGrp="1"/>
          </p:cNvSpPr>
          <p:nvPr>
            <p:ph type="body" idx="7"/>
          </p:nvPr>
        </p:nvSpPr>
        <p:spPr>
          <a:xfrm>
            <a:off x="4922944" y="4249364"/>
            <a:ext cx="234394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algn="ctr" rtl="0">
              <a:lnSpc>
                <a:spcPct val="100000"/>
              </a:lnSpc>
              <a:spcBef>
                <a:spcPts val="0"/>
              </a:spcBef>
              <a:spcAft>
                <a:spcPts val="0"/>
              </a:spcAft>
              <a:buSzPts val="1100"/>
              <a:buChar char="○"/>
              <a:defRPr sz="1467"/>
            </a:lvl2pPr>
            <a:lvl3pPr marL="1828754" lvl="2" indent="-397923" algn="ctr" rtl="0">
              <a:lnSpc>
                <a:spcPct val="100000"/>
              </a:lnSpc>
              <a:spcBef>
                <a:spcPts val="0"/>
              </a:spcBef>
              <a:spcAft>
                <a:spcPts val="0"/>
              </a:spcAft>
              <a:buSzPts val="1100"/>
              <a:buChar char="■"/>
              <a:defRPr sz="1467"/>
            </a:lvl3pPr>
            <a:lvl4pPr marL="2438339" lvl="3" indent="-397923" algn="ctr" rtl="0">
              <a:lnSpc>
                <a:spcPct val="100000"/>
              </a:lnSpc>
              <a:spcBef>
                <a:spcPts val="0"/>
              </a:spcBef>
              <a:spcAft>
                <a:spcPts val="0"/>
              </a:spcAft>
              <a:buSzPts val="1100"/>
              <a:buChar char="●"/>
              <a:defRPr sz="1467"/>
            </a:lvl4pPr>
            <a:lvl5pPr marL="3047924" lvl="4" indent="-397923" algn="ctr" rtl="0">
              <a:lnSpc>
                <a:spcPct val="100000"/>
              </a:lnSpc>
              <a:spcBef>
                <a:spcPts val="0"/>
              </a:spcBef>
              <a:spcAft>
                <a:spcPts val="0"/>
              </a:spcAft>
              <a:buSzPts val="1100"/>
              <a:buChar char="○"/>
              <a:defRPr sz="1467"/>
            </a:lvl5pPr>
            <a:lvl6pPr marL="3657509" lvl="5" indent="-397923" algn="ctr" rtl="0">
              <a:lnSpc>
                <a:spcPct val="100000"/>
              </a:lnSpc>
              <a:spcBef>
                <a:spcPts val="0"/>
              </a:spcBef>
              <a:spcAft>
                <a:spcPts val="0"/>
              </a:spcAft>
              <a:buSzPts val="1100"/>
              <a:buChar char="■"/>
              <a:defRPr sz="1467"/>
            </a:lvl6pPr>
            <a:lvl7pPr marL="4267093" lvl="6" indent="-397923" algn="ctr" rtl="0">
              <a:lnSpc>
                <a:spcPct val="100000"/>
              </a:lnSpc>
              <a:spcBef>
                <a:spcPts val="0"/>
              </a:spcBef>
              <a:spcAft>
                <a:spcPts val="0"/>
              </a:spcAft>
              <a:buSzPts val="1100"/>
              <a:buChar char="●"/>
              <a:defRPr sz="1467"/>
            </a:lvl7pPr>
            <a:lvl8pPr marL="4876678" lvl="7" indent="-397923" algn="ctr" rtl="0">
              <a:lnSpc>
                <a:spcPct val="100000"/>
              </a:lnSpc>
              <a:spcBef>
                <a:spcPts val="0"/>
              </a:spcBef>
              <a:spcAft>
                <a:spcPts val="0"/>
              </a:spcAft>
              <a:buSzPts val="1100"/>
              <a:buChar char="○"/>
              <a:defRPr sz="1467"/>
            </a:lvl8pPr>
            <a:lvl9pPr marL="5486263" lvl="8" indent="-397923" algn="ctr" rtl="0">
              <a:lnSpc>
                <a:spcPct val="100000"/>
              </a:lnSpc>
              <a:spcBef>
                <a:spcPts val="0"/>
              </a:spcBef>
              <a:spcAft>
                <a:spcPts val="0"/>
              </a:spcAft>
              <a:buSzPts val="1100"/>
              <a:buChar char="■"/>
              <a:defRPr sz="1467"/>
            </a:lvl9pPr>
          </a:lstStyle>
          <a:p>
            <a:endParaRPr/>
          </a:p>
        </p:txBody>
      </p:sp>
      <p:sp>
        <p:nvSpPr>
          <p:cNvPr id="376" name="Google Shape;376;p31"/>
          <p:cNvSpPr txBox="1">
            <a:spLocks noGrp="1"/>
          </p:cNvSpPr>
          <p:nvPr>
            <p:ph type="body" idx="8"/>
          </p:nvPr>
        </p:nvSpPr>
        <p:spPr>
          <a:xfrm>
            <a:off x="4726508" y="4596384"/>
            <a:ext cx="2731200" cy="108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377" name="Google Shape;377;p31"/>
          <p:cNvSpPr txBox="1">
            <a:spLocks noGrp="1"/>
          </p:cNvSpPr>
          <p:nvPr>
            <p:ph type="body" idx="9"/>
          </p:nvPr>
        </p:nvSpPr>
        <p:spPr>
          <a:xfrm>
            <a:off x="7979184" y="4242816"/>
            <a:ext cx="2725584" cy="2928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algn="ctr" rtl="0">
              <a:lnSpc>
                <a:spcPct val="100000"/>
              </a:lnSpc>
              <a:spcBef>
                <a:spcPts val="0"/>
              </a:spcBef>
              <a:spcAft>
                <a:spcPts val="0"/>
              </a:spcAft>
              <a:buSzPts val="1100"/>
              <a:buChar char="○"/>
              <a:defRPr sz="1467"/>
            </a:lvl2pPr>
            <a:lvl3pPr marL="1828754" lvl="2" indent="-397923" algn="ctr" rtl="0">
              <a:lnSpc>
                <a:spcPct val="100000"/>
              </a:lnSpc>
              <a:spcBef>
                <a:spcPts val="0"/>
              </a:spcBef>
              <a:spcAft>
                <a:spcPts val="0"/>
              </a:spcAft>
              <a:buSzPts val="1100"/>
              <a:buChar char="■"/>
              <a:defRPr sz="1467"/>
            </a:lvl3pPr>
            <a:lvl4pPr marL="2438339" lvl="3" indent="-397923" algn="ctr" rtl="0">
              <a:lnSpc>
                <a:spcPct val="100000"/>
              </a:lnSpc>
              <a:spcBef>
                <a:spcPts val="0"/>
              </a:spcBef>
              <a:spcAft>
                <a:spcPts val="0"/>
              </a:spcAft>
              <a:buSzPts val="1100"/>
              <a:buChar char="●"/>
              <a:defRPr sz="1467"/>
            </a:lvl4pPr>
            <a:lvl5pPr marL="3047924" lvl="4" indent="-397923" algn="ctr" rtl="0">
              <a:lnSpc>
                <a:spcPct val="100000"/>
              </a:lnSpc>
              <a:spcBef>
                <a:spcPts val="0"/>
              </a:spcBef>
              <a:spcAft>
                <a:spcPts val="0"/>
              </a:spcAft>
              <a:buSzPts val="1100"/>
              <a:buChar char="○"/>
              <a:defRPr sz="1467"/>
            </a:lvl5pPr>
            <a:lvl6pPr marL="3657509" lvl="5" indent="-397923" algn="ctr" rtl="0">
              <a:lnSpc>
                <a:spcPct val="100000"/>
              </a:lnSpc>
              <a:spcBef>
                <a:spcPts val="0"/>
              </a:spcBef>
              <a:spcAft>
                <a:spcPts val="0"/>
              </a:spcAft>
              <a:buSzPts val="1100"/>
              <a:buChar char="■"/>
              <a:defRPr sz="1467"/>
            </a:lvl6pPr>
            <a:lvl7pPr marL="4267093" lvl="6" indent="-397923" algn="ctr" rtl="0">
              <a:lnSpc>
                <a:spcPct val="100000"/>
              </a:lnSpc>
              <a:spcBef>
                <a:spcPts val="0"/>
              </a:spcBef>
              <a:spcAft>
                <a:spcPts val="0"/>
              </a:spcAft>
              <a:buSzPts val="1100"/>
              <a:buChar char="●"/>
              <a:defRPr sz="1467"/>
            </a:lvl7pPr>
            <a:lvl8pPr marL="4876678" lvl="7" indent="-397923" algn="ctr" rtl="0">
              <a:lnSpc>
                <a:spcPct val="100000"/>
              </a:lnSpc>
              <a:spcBef>
                <a:spcPts val="0"/>
              </a:spcBef>
              <a:spcAft>
                <a:spcPts val="0"/>
              </a:spcAft>
              <a:buSzPts val="1100"/>
              <a:buChar char="○"/>
              <a:defRPr sz="1467"/>
            </a:lvl8pPr>
            <a:lvl9pPr marL="5486263" lvl="8" indent="-397923" algn="ctr" rtl="0">
              <a:lnSpc>
                <a:spcPct val="100000"/>
              </a:lnSpc>
              <a:spcBef>
                <a:spcPts val="0"/>
              </a:spcBef>
              <a:spcAft>
                <a:spcPts val="0"/>
              </a:spcAft>
              <a:buSzPts val="1100"/>
              <a:buChar char="■"/>
              <a:defRPr sz="1467"/>
            </a:lvl9pPr>
          </a:lstStyle>
          <a:p>
            <a:endParaRPr/>
          </a:p>
        </p:txBody>
      </p:sp>
      <p:sp>
        <p:nvSpPr>
          <p:cNvPr id="378" name="Google Shape;378;p31"/>
          <p:cNvSpPr txBox="1">
            <a:spLocks noGrp="1"/>
          </p:cNvSpPr>
          <p:nvPr>
            <p:ph type="body" idx="13"/>
          </p:nvPr>
        </p:nvSpPr>
        <p:spPr>
          <a:xfrm>
            <a:off x="7973568" y="4584192"/>
            <a:ext cx="2731200" cy="108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22" name="Google Shape;370;p31">
            <a:extLst>
              <a:ext uri="{FF2B5EF4-FFF2-40B4-BE49-F238E27FC236}">
                <a16:creationId xmlns:a16="http://schemas.microsoft.com/office/drawing/2014/main" id="{26B93829-5EF5-CA41-B05B-10A28F1A387C}"/>
              </a:ext>
            </a:extLst>
          </p:cNvPr>
          <p:cNvSpPr>
            <a:spLocks noGrp="1"/>
          </p:cNvSpPr>
          <p:nvPr>
            <p:ph type="pic" idx="14"/>
          </p:nvPr>
        </p:nvSpPr>
        <p:spPr>
          <a:xfrm>
            <a:off x="4535424"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a:p>
        </p:txBody>
      </p:sp>
      <p:sp>
        <p:nvSpPr>
          <p:cNvPr id="23" name="Google Shape;370;p31">
            <a:extLst>
              <a:ext uri="{FF2B5EF4-FFF2-40B4-BE49-F238E27FC236}">
                <a16:creationId xmlns:a16="http://schemas.microsoft.com/office/drawing/2014/main" id="{1487CB7F-B5A7-BD46-92B5-05371B90E3A6}"/>
              </a:ext>
            </a:extLst>
          </p:cNvPr>
          <p:cNvSpPr>
            <a:spLocks noGrp="1"/>
          </p:cNvSpPr>
          <p:nvPr>
            <p:ph type="pic" idx="15"/>
          </p:nvPr>
        </p:nvSpPr>
        <p:spPr>
          <a:xfrm>
            <a:off x="7778496" y="2097024"/>
            <a:ext cx="3133200" cy="1987200"/>
          </a:xfrm>
          <a:prstGeom prst="roundRect">
            <a:avLst>
              <a:gd name="adj" fmla="val 16667"/>
            </a:avLst>
          </a:prstGeom>
          <a:noFill/>
          <a:ln>
            <a:noFill/>
          </a:ln>
        </p:spPr>
        <p:txBody>
          <a:bodyPr anchor="ctr"/>
          <a:lstStyle>
            <a:lvl1pPr marL="0" indent="0" algn="ctr">
              <a:buNone/>
              <a:defRPr b="0" i="0">
                <a:latin typeface="Helvetica" pitchFamily="2" charset="0"/>
              </a:defRPr>
            </a:lvl1pPr>
          </a:lstStyle>
          <a:p>
            <a:endParaRPr lang="en-US"/>
          </a:p>
        </p:txBody>
      </p:sp>
      <p:sp>
        <p:nvSpPr>
          <p:cNvPr id="24" name="Google Shape;268;p27">
            <a:extLst>
              <a:ext uri="{FF2B5EF4-FFF2-40B4-BE49-F238E27FC236}">
                <a16:creationId xmlns:a16="http://schemas.microsoft.com/office/drawing/2014/main" id="{F8758C0D-7D77-1D4E-AAC0-350EE46A5A68}"/>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25" name="Google Shape;67;p15">
            <a:extLst>
              <a:ext uri="{FF2B5EF4-FFF2-40B4-BE49-F238E27FC236}">
                <a16:creationId xmlns:a16="http://schemas.microsoft.com/office/drawing/2014/main" id="{59EF79C9-532E-EB4D-88E4-C7C259E88941}"/>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26" name="Google Shape;56;p14">
            <a:extLst>
              <a:ext uri="{FF2B5EF4-FFF2-40B4-BE49-F238E27FC236}">
                <a16:creationId xmlns:a16="http://schemas.microsoft.com/office/drawing/2014/main" id="{F725563D-7C07-A441-BAB1-37C63D1C97F8}"/>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141985319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matchingName="Timeline" preserve="1">
  <p:cSld name="Timeline">
    <p:spTree>
      <p:nvGrpSpPr>
        <p:cNvPr id="1" name="Shape 423"/>
        <p:cNvGrpSpPr/>
        <p:nvPr/>
      </p:nvGrpSpPr>
      <p:grpSpPr>
        <a:xfrm>
          <a:off x="0" y="0"/>
          <a:ext cx="0" cy="0"/>
          <a:chOff x="0" y="0"/>
          <a:chExt cx="0" cy="0"/>
        </a:xfrm>
      </p:grpSpPr>
      <p:pic>
        <p:nvPicPr>
          <p:cNvPr id="427" name="Google Shape;427;p33" descr="Icon&#10;&#10;Description automatically generated with medium confidence"/>
          <p:cNvPicPr preferRelativeResize="0"/>
          <p:nvPr userDrawn="1"/>
        </p:nvPicPr>
        <p:blipFill rotWithShape="1">
          <a:blip r:embed="rId2">
            <a:alphaModFix amt="40000"/>
          </a:blip>
          <a:srcRect r="33453" b="13524"/>
          <a:stretch/>
        </p:blipFill>
        <p:spPr>
          <a:xfrm>
            <a:off x="6504258" y="5"/>
            <a:ext cx="5687749" cy="6857996"/>
          </a:xfrm>
          <a:prstGeom prst="rect">
            <a:avLst/>
          </a:prstGeom>
          <a:noFill/>
          <a:ln>
            <a:noFill/>
          </a:ln>
        </p:spPr>
      </p:pic>
      <p:cxnSp>
        <p:nvCxnSpPr>
          <p:cNvPr id="428" name="Google Shape;428;p33"/>
          <p:cNvCxnSpPr/>
          <p:nvPr/>
        </p:nvCxnSpPr>
        <p:spPr>
          <a:xfrm>
            <a:off x="1738489" y="4778329"/>
            <a:ext cx="8715200" cy="0"/>
          </a:xfrm>
          <a:prstGeom prst="straightConnector1">
            <a:avLst/>
          </a:prstGeom>
          <a:noFill/>
          <a:ln w="88900" cap="rnd" cmpd="sng">
            <a:solidFill>
              <a:srgbClr val="D8D8D8">
                <a:alpha val="24710"/>
              </a:srgbClr>
            </a:solidFill>
            <a:prstDash val="solid"/>
            <a:round/>
            <a:headEnd type="none" w="sm" len="sm"/>
            <a:tailEnd type="none" w="sm" len="sm"/>
          </a:ln>
        </p:spPr>
      </p:cxnSp>
      <p:grpSp>
        <p:nvGrpSpPr>
          <p:cNvPr id="429" name="Google Shape;429;p33"/>
          <p:cNvGrpSpPr/>
          <p:nvPr/>
        </p:nvGrpSpPr>
        <p:grpSpPr>
          <a:xfrm flipH="1">
            <a:off x="2035085" y="3263573"/>
            <a:ext cx="2415088" cy="1151819"/>
            <a:chOff x="1851659" y="5043862"/>
            <a:chExt cx="4393200" cy="2356422"/>
          </a:xfrm>
        </p:grpSpPr>
        <p:sp>
          <p:nvSpPr>
            <p:cNvPr id="430" name="Google Shape;430;p33"/>
            <p:cNvSpPr/>
            <p:nvPr/>
          </p:nvSpPr>
          <p:spPr>
            <a:xfrm flipH="1">
              <a:off x="1851659" y="5043862"/>
              <a:ext cx="4393200" cy="2109000"/>
            </a:xfrm>
            <a:prstGeom prst="roundRect">
              <a:avLst>
                <a:gd name="adj" fmla="val 3087"/>
              </a:avLst>
            </a:prstGeom>
            <a:gradFill>
              <a:gsLst>
                <a:gs pos="0">
                  <a:srgbClr val="1F9CF0"/>
                </a:gs>
                <a:gs pos="2000">
                  <a:srgbClr val="1F9CF0"/>
                </a:gs>
                <a:gs pos="100000">
                  <a:srgbClr val="9477E2">
                    <a:alpha val="29803"/>
                  </a:srgbClr>
                </a:gs>
              </a:gsLst>
              <a:lin ang="2700006" scaled="0"/>
            </a:gradFill>
            <a:ln>
              <a:noFill/>
            </a:ln>
            <a:effectLst>
              <a:outerShdw blurRad="1270000" dist="1219200" dir="8100000" sx="90000" sy="90000" algn="tr" rotWithShape="0">
                <a:srgbClr val="000000">
                  <a:alpha val="4000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31" name="Google Shape;431;p33"/>
            <p:cNvSpPr/>
            <p:nvPr/>
          </p:nvSpPr>
          <p:spPr>
            <a:xfrm rot="10800000">
              <a:off x="3863414" y="7153684"/>
              <a:ext cx="369600" cy="246600"/>
            </a:xfrm>
            <a:prstGeom prst="triangle">
              <a:avLst>
                <a:gd name="adj" fmla="val 50000"/>
              </a:avLst>
            </a:prstGeom>
            <a:gradFill>
              <a:gsLst>
                <a:gs pos="0">
                  <a:srgbClr val="1F9CF0"/>
                </a:gs>
                <a:gs pos="2000">
                  <a:srgbClr val="1F9CF0"/>
                </a:gs>
                <a:gs pos="100000">
                  <a:srgbClr val="9477E2">
                    <a:alpha val="29803"/>
                  </a:srgbClr>
                </a:gs>
              </a:gsLst>
              <a:lin ang="2700006" scaled="0"/>
            </a:gra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32" name="Google Shape;432;p33"/>
          <p:cNvGrpSpPr/>
          <p:nvPr/>
        </p:nvGrpSpPr>
        <p:grpSpPr>
          <a:xfrm>
            <a:off x="1720636" y="4701176"/>
            <a:ext cx="155499" cy="155267"/>
            <a:chOff x="2991668" y="6807571"/>
            <a:chExt cx="248400" cy="248400"/>
          </a:xfrm>
        </p:grpSpPr>
        <p:sp>
          <p:nvSpPr>
            <p:cNvPr id="433" name="Google Shape;433;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34" name="Google Shape;434;p33"/>
            <p:cNvSpPr/>
            <p:nvPr/>
          </p:nvSpPr>
          <p:spPr>
            <a:xfrm>
              <a:off x="3049014" y="6864917"/>
              <a:ext cx="133800" cy="133800"/>
            </a:xfrm>
            <a:prstGeom prst="ellipse">
              <a:avLst/>
            </a:prstGeom>
            <a:gradFill>
              <a:gsLst>
                <a:gs pos="0">
                  <a:schemeClr val="accent2"/>
                </a:gs>
                <a:gs pos="2000">
                  <a:schemeClr val="accent2"/>
                </a:gs>
                <a:gs pos="100000">
                  <a:srgbClr val="5C2FD2"/>
                </a:gs>
              </a:gsLst>
              <a:path path="circle">
                <a:fillToRect l="50000" t="50000" r="50000" b="50000"/>
              </a:path>
              <a:tileRect/>
            </a:gradFill>
            <a:ln>
              <a:noFill/>
            </a:ln>
            <a:effectLst>
              <a:outerShdw blurRad="1270000" algn="ctr" rotWithShape="0">
                <a:schemeClr val="accen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35" name="Google Shape;435;p33"/>
          <p:cNvGrpSpPr/>
          <p:nvPr/>
        </p:nvGrpSpPr>
        <p:grpSpPr>
          <a:xfrm>
            <a:off x="3165180" y="4701176"/>
            <a:ext cx="155499" cy="155267"/>
            <a:chOff x="2991668" y="6807571"/>
            <a:chExt cx="248400" cy="248400"/>
          </a:xfrm>
        </p:grpSpPr>
        <p:sp>
          <p:nvSpPr>
            <p:cNvPr id="436" name="Google Shape;436;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37" name="Google Shape;437;p33"/>
            <p:cNvSpPr/>
            <p:nvPr/>
          </p:nvSpPr>
          <p:spPr>
            <a:xfrm>
              <a:off x="3049014" y="6864917"/>
              <a:ext cx="133800" cy="133800"/>
            </a:xfrm>
            <a:prstGeom prst="ellipse">
              <a:avLst/>
            </a:prstGeom>
            <a:gradFill>
              <a:gsLst>
                <a:gs pos="0">
                  <a:schemeClr val="accent1"/>
                </a:gs>
                <a:gs pos="2000">
                  <a:schemeClr val="accent1"/>
                </a:gs>
                <a:gs pos="100000">
                  <a:srgbClr val="C01169"/>
                </a:gs>
              </a:gsLst>
              <a:path path="circle">
                <a:fillToRect l="50000" t="50000" r="50000" b="50000"/>
              </a:path>
              <a:tileRect/>
            </a:gradFill>
            <a:ln>
              <a:noFill/>
            </a:ln>
            <a:effectLst>
              <a:outerShdw blurRad="1270000" algn="ctr" rotWithShape="0">
                <a:schemeClr val="accent2">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38" name="Google Shape;438;p33"/>
          <p:cNvGrpSpPr/>
          <p:nvPr/>
        </p:nvGrpSpPr>
        <p:grpSpPr>
          <a:xfrm>
            <a:off x="4591776" y="4701176"/>
            <a:ext cx="155499" cy="155267"/>
            <a:chOff x="2991668" y="6807571"/>
            <a:chExt cx="248400" cy="248400"/>
          </a:xfrm>
        </p:grpSpPr>
        <p:sp>
          <p:nvSpPr>
            <p:cNvPr id="439" name="Google Shape;439;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40" name="Google Shape;440;p33"/>
            <p:cNvSpPr/>
            <p:nvPr/>
          </p:nvSpPr>
          <p:spPr>
            <a:xfrm>
              <a:off x="3049014" y="6864917"/>
              <a:ext cx="133800" cy="133800"/>
            </a:xfrm>
            <a:prstGeom prst="ellipse">
              <a:avLst/>
            </a:prstGeom>
            <a:gradFill>
              <a:gsLst>
                <a:gs pos="0">
                  <a:schemeClr val="accent3"/>
                </a:gs>
                <a:gs pos="2000">
                  <a:schemeClr val="accent3"/>
                </a:gs>
                <a:gs pos="100000">
                  <a:srgbClr val="4F2995"/>
                </a:gs>
              </a:gsLst>
              <a:path path="circle">
                <a:fillToRect l="50000" t="50000" r="50000" b="50000"/>
              </a:path>
              <a:tileRect/>
            </a:gradFill>
            <a:ln>
              <a:noFill/>
            </a:ln>
            <a:effectLst>
              <a:outerShdw blurRad="1270000" algn="ctr" rotWithShape="0">
                <a:schemeClr val="accent3">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41" name="Google Shape;441;p33"/>
          <p:cNvGrpSpPr/>
          <p:nvPr/>
        </p:nvGrpSpPr>
        <p:grpSpPr>
          <a:xfrm>
            <a:off x="6018371" y="4701176"/>
            <a:ext cx="155499" cy="155267"/>
            <a:chOff x="2991668" y="6807571"/>
            <a:chExt cx="248400" cy="248400"/>
          </a:xfrm>
        </p:grpSpPr>
        <p:sp>
          <p:nvSpPr>
            <p:cNvPr id="442" name="Google Shape;442;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43" name="Google Shape;443;p33"/>
            <p:cNvSpPr/>
            <p:nvPr/>
          </p:nvSpPr>
          <p:spPr>
            <a:xfrm>
              <a:off x="3049014" y="6864917"/>
              <a:ext cx="133800" cy="133800"/>
            </a:xfrm>
            <a:prstGeom prst="ellipse">
              <a:avLst/>
            </a:prstGeom>
            <a:gradFill>
              <a:gsLst>
                <a:gs pos="0">
                  <a:schemeClr val="accent4"/>
                </a:gs>
                <a:gs pos="2000">
                  <a:schemeClr val="accent4"/>
                </a:gs>
                <a:gs pos="100000">
                  <a:srgbClr val="0F98B3"/>
                </a:gs>
              </a:gsLst>
              <a:path path="circle">
                <a:fillToRect l="50000" t="50000" r="50000" b="50000"/>
              </a:path>
              <a:tileRect/>
            </a:gradFill>
            <a:ln>
              <a:noFill/>
            </a:ln>
            <a:effectLst>
              <a:outerShdw blurRad="1270000" algn="ctr" rotWithShape="0">
                <a:schemeClr val="accent4">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44" name="Google Shape;444;p33"/>
          <p:cNvGrpSpPr/>
          <p:nvPr/>
        </p:nvGrpSpPr>
        <p:grpSpPr>
          <a:xfrm>
            <a:off x="7444967" y="4701176"/>
            <a:ext cx="155499" cy="155267"/>
            <a:chOff x="2991668" y="6807571"/>
            <a:chExt cx="248400" cy="248400"/>
          </a:xfrm>
        </p:grpSpPr>
        <p:sp>
          <p:nvSpPr>
            <p:cNvPr id="445" name="Google Shape;445;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46" name="Google Shape;446;p33"/>
            <p:cNvSpPr/>
            <p:nvPr/>
          </p:nvSpPr>
          <p:spPr>
            <a:xfrm>
              <a:off x="3049014" y="6864917"/>
              <a:ext cx="133800" cy="133800"/>
            </a:xfrm>
            <a:prstGeom prst="ellipse">
              <a:avLst/>
            </a:prstGeom>
            <a:gradFill>
              <a:gsLst>
                <a:gs pos="0">
                  <a:schemeClr val="accent5"/>
                </a:gs>
                <a:gs pos="2000">
                  <a:schemeClr val="accent5"/>
                </a:gs>
                <a:gs pos="100000">
                  <a:srgbClr val="66196E"/>
                </a:gs>
              </a:gsLst>
              <a:path path="circle">
                <a:fillToRect l="50000" t="50000" r="50000" b="50000"/>
              </a:path>
              <a:tileRect/>
            </a:gradFill>
            <a:ln>
              <a:noFill/>
            </a:ln>
            <a:effectLst>
              <a:outerShdw blurRad="1270000" algn="ctr" rotWithShape="0">
                <a:schemeClr val="accent5">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47" name="Google Shape;447;p33"/>
          <p:cNvGrpSpPr/>
          <p:nvPr/>
        </p:nvGrpSpPr>
        <p:grpSpPr>
          <a:xfrm>
            <a:off x="8871561" y="4701176"/>
            <a:ext cx="155499" cy="155267"/>
            <a:chOff x="2991668" y="6807571"/>
            <a:chExt cx="248400" cy="248400"/>
          </a:xfrm>
        </p:grpSpPr>
        <p:sp>
          <p:nvSpPr>
            <p:cNvPr id="448" name="Google Shape;448;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49" name="Google Shape;449;p33"/>
            <p:cNvSpPr/>
            <p:nvPr/>
          </p:nvSpPr>
          <p:spPr>
            <a:xfrm>
              <a:off x="3049014" y="6864917"/>
              <a:ext cx="133800" cy="133800"/>
            </a:xfrm>
            <a:prstGeom prst="ellipse">
              <a:avLst/>
            </a:prstGeom>
            <a:gradFill>
              <a:gsLst>
                <a:gs pos="0">
                  <a:schemeClr val="accent6"/>
                </a:gs>
                <a:gs pos="2000">
                  <a:schemeClr val="accent6"/>
                </a:gs>
                <a:gs pos="100000">
                  <a:srgbClr val="980B84"/>
                </a:gs>
              </a:gsLst>
              <a:path path="circle">
                <a:fillToRect l="50000" t="50000" r="50000" b="50000"/>
              </a:path>
              <a:tileRect/>
            </a:gradFill>
            <a:ln>
              <a:noFill/>
            </a:ln>
            <a:effectLst>
              <a:outerShdw blurRad="1270000" algn="ctr" rotWithShape="0">
                <a:schemeClr val="accent6">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450" name="Google Shape;450;p33"/>
          <p:cNvGrpSpPr/>
          <p:nvPr/>
        </p:nvGrpSpPr>
        <p:grpSpPr>
          <a:xfrm>
            <a:off x="10316107" y="4701176"/>
            <a:ext cx="155499" cy="155267"/>
            <a:chOff x="2991668" y="6807571"/>
            <a:chExt cx="248400" cy="248400"/>
          </a:xfrm>
        </p:grpSpPr>
        <p:sp>
          <p:nvSpPr>
            <p:cNvPr id="451" name="Google Shape;451;p33"/>
            <p:cNvSpPr/>
            <p:nvPr/>
          </p:nvSpPr>
          <p:spPr>
            <a:xfrm>
              <a:off x="2991668" y="6807571"/>
              <a:ext cx="248400" cy="248400"/>
            </a:xfrm>
            <a:prstGeom prst="ellipse">
              <a:avLst/>
            </a:prstGeom>
            <a:solidFill>
              <a:schemeClr val="lt1"/>
            </a:solidFill>
            <a:ln>
              <a:noFill/>
            </a:ln>
            <a:effectLst>
              <a:outerShdw blurRad="1270000" algn="ctr" rotWithShape="0">
                <a:schemeClr val="l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52" name="Google Shape;452;p33"/>
            <p:cNvSpPr/>
            <p:nvPr/>
          </p:nvSpPr>
          <p:spPr>
            <a:xfrm>
              <a:off x="3049014" y="6864917"/>
              <a:ext cx="133800" cy="133800"/>
            </a:xfrm>
            <a:prstGeom prst="ellipse">
              <a:avLst/>
            </a:prstGeom>
            <a:gradFill>
              <a:gsLst>
                <a:gs pos="0">
                  <a:schemeClr val="accent1"/>
                </a:gs>
                <a:gs pos="2000">
                  <a:schemeClr val="accent1"/>
                </a:gs>
                <a:gs pos="100000">
                  <a:srgbClr val="C01169"/>
                </a:gs>
              </a:gsLst>
              <a:path path="circle">
                <a:fillToRect l="50000" t="50000" r="50000" b="50000"/>
              </a:path>
              <a:tileRect/>
            </a:gradFill>
            <a:ln>
              <a:noFill/>
            </a:ln>
            <a:effectLst>
              <a:outerShdw blurRad="1270000" algn="ctr" rotWithShape="0">
                <a:schemeClr val="accent1">
                  <a:alpha val="40000"/>
                </a:scheme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cxnSp>
        <p:nvCxnSpPr>
          <p:cNvPr id="453" name="Google Shape;453;p33"/>
          <p:cNvCxnSpPr/>
          <p:nvPr/>
        </p:nvCxnSpPr>
        <p:spPr>
          <a:xfrm>
            <a:off x="1044273" y="817736"/>
            <a:ext cx="2760400" cy="0"/>
          </a:xfrm>
          <a:prstGeom prst="straightConnector1">
            <a:avLst/>
          </a:prstGeom>
          <a:noFill/>
          <a:ln w="12700" cap="flat" cmpd="sng">
            <a:solidFill>
              <a:srgbClr val="627597"/>
            </a:solidFill>
            <a:prstDash val="solid"/>
            <a:miter lim="800000"/>
            <a:headEnd type="none" w="sm" len="sm"/>
            <a:tailEnd type="none" w="sm" len="sm"/>
          </a:ln>
        </p:spPr>
      </p:cxnSp>
      <p:sp>
        <p:nvSpPr>
          <p:cNvPr id="454" name="Google Shape;454;p33"/>
          <p:cNvSpPr/>
          <p:nvPr/>
        </p:nvSpPr>
        <p:spPr>
          <a:xfrm rot="10800000">
            <a:off x="494067" y="233"/>
            <a:ext cx="100000" cy="23120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455" name="Google Shape;455;p33"/>
          <p:cNvSpPr txBox="1">
            <a:spLocks noGrp="1"/>
          </p:cNvSpPr>
          <p:nvPr>
            <p:ph type="subTitle" idx="1"/>
          </p:nvPr>
        </p:nvSpPr>
        <p:spPr>
          <a:xfrm>
            <a:off x="999744" y="573024"/>
            <a:ext cx="4035600" cy="2072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456" name="Google Shape;456;p33"/>
          <p:cNvSpPr txBox="1">
            <a:spLocks noGrp="1"/>
          </p:cNvSpPr>
          <p:nvPr>
            <p:ph type="title"/>
          </p:nvPr>
        </p:nvSpPr>
        <p:spPr>
          <a:xfrm>
            <a:off x="987552" y="1121664"/>
            <a:ext cx="43768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solidFill>
                  <a:schemeClr val="bg1"/>
                </a:solidFill>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7" name="Google Shape;457;p33"/>
          <p:cNvSpPr txBox="1">
            <a:spLocks noGrp="1"/>
          </p:cNvSpPr>
          <p:nvPr>
            <p:ph type="body" idx="2"/>
          </p:nvPr>
        </p:nvSpPr>
        <p:spPr>
          <a:xfrm>
            <a:off x="5364352" y="1121664"/>
            <a:ext cx="3901600" cy="1085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458" name="Google Shape;458;p33"/>
          <p:cNvSpPr txBox="1">
            <a:spLocks noGrp="1"/>
          </p:cNvSpPr>
          <p:nvPr>
            <p:ph type="body" idx="3"/>
          </p:nvPr>
        </p:nvSpPr>
        <p:spPr>
          <a:xfrm>
            <a:off x="2426208" y="3352800"/>
            <a:ext cx="1633600" cy="195200"/>
          </a:xfrm>
          <a:prstGeom prst="rect">
            <a:avLst/>
          </a:prstGeom>
        </p:spPr>
        <p:txBody>
          <a:bodyPr spcFirstLastPara="1" wrap="square" lIns="45700" tIns="18275" rIns="45700" bIns="18275" anchor="t" anchorCtr="0">
            <a:noAutofit/>
          </a:bodyPr>
          <a:lstStyle>
            <a:lvl1pPr marL="1693" lvl="0" indent="0" algn="ctr">
              <a:lnSpc>
                <a:spcPct val="100000"/>
              </a:lnSpc>
              <a:spcBef>
                <a:spcPts val="0"/>
              </a:spcBef>
              <a:spcAft>
                <a:spcPts val="0"/>
              </a:spcAft>
              <a:buSzPts val="700"/>
              <a:buNone/>
              <a:defRPr sz="800" b="0" i="0">
                <a:latin typeface="Helvetica" pitchFamily="2" charset="0"/>
              </a:defRPr>
            </a:lvl1pPr>
            <a:lvl2pPr marL="1219170" lvl="1" indent="-364058" algn="ctr">
              <a:spcBef>
                <a:spcPts val="0"/>
              </a:spcBef>
              <a:spcAft>
                <a:spcPts val="0"/>
              </a:spcAft>
              <a:buSzPts val="700"/>
              <a:buChar char="○"/>
              <a:defRPr sz="933"/>
            </a:lvl2pPr>
            <a:lvl3pPr marL="1828754" lvl="2" indent="-364058" algn="ctr">
              <a:spcBef>
                <a:spcPts val="0"/>
              </a:spcBef>
              <a:spcAft>
                <a:spcPts val="0"/>
              </a:spcAft>
              <a:buSzPts val="700"/>
              <a:buChar char="■"/>
              <a:defRPr sz="933"/>
            </a:lvl3pPr>
            <a:lvl4pPr marL="2438339" lvl="3" indent="-364058" algn="ctr">
              <a:spcBef>
                <a:spcPts val="0"/>
              </a:spcBef>
              <a:spcAft>
                <a:spcPts val="0"/>
              </a:spcAft>
              <a:buSzPts val="700"/>
              <a:buChar char="●"/>
              <a:defRPr sz="933"/>
            </a:lvl4pPr>
            <a:lvl5pPr marL="3047924" lvl="4" indent="-364058" algn="ctr">
              <a:spcBef>
                <a:spcPts val="0"/>
              </a:spcBef>
              <a:spcAft>
                <a:spcPts val="0"/>
              </a:spcAft>
              <a:buSzPts val="700"/>
              <a:buChar char="○"/>
              <a:defRPr sz="933"/>
            </a:lvl5pPr>
            <a:lvl6pPr marL="3657509" lvl="5" indent="-364058" algn="ctr">
              <a:spcBef>
                <a:spcPts val="0"/>
              </a:spcBef>
              <a:spcAft>
                <a:spcPts val="0"/>
              </a:spcAft>
              <a:buSzPts val="700"/>
              <a:buChar char="■"/>
              <a:defRPr sz="933"/>
            </a:lvl6pPr>
            <a:lvl7pPr marL="4267093" lvl="6" indent="-364058" algn="ctr">
              <a:spcBef>
                <a:spcPts val="0"/>
              </a:spcBef>
              <a:spcAft>
                <a:spcPts val="0"/>
              </a:spcAft>
              <a:buSzPts val="700"/>
              <a:buChar char="●"/>
              <a:defRPr sz="933"/>
            </a:lvl7pPr>
            <a:lvl8pPr marL="4876678" lvl="7" indent="-364058" algn="ctr">
              <a:spcBef>
                <a:spcPts val="0"/>
              </a:spcBef>
              <a:spcAft>
                <a:spcPts val="0"/>
              </a:spcAft>
              <a:buSzPts val="700"/>
              <a:buChar char="○"/>
              <a:defRPr sz="933"/>
            </a:lvl8pPr>
            <a:lvl9pPr marL="5486263" lvl="8" indent="-364058" algn="ctr">
              <a:spcBef>
                <a:spcPts val="0"/>
              </a:spcBef>
              <a:spcAft>
                <a:spcPts val="0"/>
              </a:spcAft>
              <a:buSzPts val="700"/>
              <a:buChar char="■"/>
              <a:defRPr sz="933"/>
            </a:lvl9pPr>
          </a:lstStyle>
          <a:p>
            <a:endParaRPr/>
          </a:p>
        </p:txBody>
      </p:sp>
      <p:sp>
        <p:nvSpPr>
          <p:cNvPr id="459" name="Google Shape;459;p33"/>
          <p:cNvSpPr txBox="1">
            <a:spLocks noGrp="1"/>
          </p:cNvSpPr>
          <p:nvPr>
            <p:ph type="body" idx="4"/>
          </p:nvPr>
        </p:nvSpPr>
        <p:spPr>
          <a:xfrm>
            <a:off x="2426208" y="3535680"/>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0" name="Google Shape;460;p33"/>
          <p:cNvSpPr txBox="1">
            <a:spLocks noGrp="1"/>
          </p:cNvSpPr>
          <p:nvPr>
            <p:ph type="body" idx="5"/>
          </p:nvPr>
        </p:nvSpPr>
        <p:spPr>
          <a:xfrm>
            <a:off x="2036064" y="3779520"/>
            <a:ext cx="2414000" cy="414400"/>
          </a:xfrm>
          <a:prstGeom prst="rect">
            <a:avLst/>
          </a:prstGeom>
        </p:spPr>
        <p:txBody>
          <a:bodyPr spcFirstLastPara="1" wrap="square" lIns="45700" tIns="18275" rIns="45700" bIns="18275" anchor="t" anchorCtr="0">
            <a:noAutofit/>
          </a:bodyPr>
          <a:lstStyle>
            <a:lvl1pPr marL="0" lvl="0" indent="0" algn="ctr" rtl="0">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1" name="Google Shape;461;p33"/>
          <p:cNvSpPr txBox="1">
            <a:spLocks noGrp="1"/>
          </p:cNvSpPr>
          <p:nvPr>
            <p:ph type="body" idx="6"/>
          </p:nvPr>
        </p:nvSpPr>
        <p:spPr>
          <a:xfrm>
            <a:off x="987552"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2" name="Google Shape;462;p33"/>
          <p:cNvSpPr txBox="1">
            <a:spLocks noGrp="1"/>
          </p:cNvSpPr>
          <p:nvPr>
            <p:ph type="body" idx="7"/>
          </p:nvPr>
        </p:nvSpPr>
        <p:spPr>
          <a:xfrm>
            <a:off x="3852703"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3" name="Google Shape;463;p33"/>
          <p:cNvSpPr txBox="1">
            <a:spLocks noGrp="1"/>
          </p:cNvSpPr>
          <p:nvPr>
            <p:ph type="body" idx="8"/>
          </p:nvPr>
        </p:nvSpPr>
        <p:spPr>
          <a:xfrm>
            <a:off x="5279136" y="3730752"/>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4" name="Google Shape;464;p33"/>
          <p:cNvSpPr txBox="1">
            <a:spLocks noGrp="1"/>
          </p:cNvSpPr>
          <p:nvPr>
            <p:ph type="body" idx="9"/>
          </p:nvPr>
        </p:nvSpPr>
        <p:spPr>
          <a:xfrm>
            <a:off x="6705600"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5" name="Google Shape;465;p33"/>
          <p:cNvSpPr txBox="1">
            <a:spLocks noGrp="1"/>
          </p:cNvSpPr>
          <p:nvPr>
            <p:ph type="body" idx="13"/>
          </p:nvPr>
        </p:nvSpPr>
        <p:spPr>
          <a:xfrm>
            <a:off x="8132064" y="374294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6" name="Google Shape;466;p33"/>
          <p:cNvSpPr txBox="1">
            <a:spLocks noGrp="1"/>
          </p:cNvSpPr>
          <p:nvPr>
            <p:ph type="body" idx="14"/>
          </p:nvPr>
        </p:nvSpPr>
        <p:spPr>
          <a:xfrm>
            <a:off x="9582912" y="5145024"/>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200" b="1" i="0">
                <a:solidFill>
                  <a:schemeClr val="bg1"/>
                </a:solidFill>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7" name="Google Shape;467;p33"/>
          <p:cNvSpPr txBox="1">
            <a:spLocks noGrp="1"/>
          </p:cNvSpPr>
          <p:nvPr>
            <p:ph type="body" idx="15"/>
          </p:nvPr>
        </p:nvSpPr>
        <p:spPr>
          <a:xfrm>
            <a:off x="987552"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8" name="Google Shape;468;p33"/>
          <p:cNvSpPr txBox="1">
            <a:spLocks noGrp="1"/>
          </p:cNvSpPr>
          <p:nvPr>
            <p:ph type="body" idx="16"/>
          </p:nvPr>
        </p:nvSpPr>
        <p:spPr>
          <a:xfrm>
            <a:off x="3852672"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69" name="Google Shape;469;p33"/>
          <p:cNvSpPr txBox="1">
            <a:spLocks noGrp="1"/>
          </p:cNvSpPr>
          <p:nvPr>
            <p:ph type="body" idx="17"/>
          </p:nvPr>
        </p:nvSpPr>
        <p:spPr>
          <a:xfrm>
            <a:off x="6705600"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70" name="Google Shape;470;p33"/>
          <p:cNvSpPr txBox="1">
            <a:spLocks noGrp="1"/>
          </p:cNvSpPr>
          <p:nvPr>
            <p:ph type="body" idx="18"/>
          </p:nvPr>
        </p:nvSpPr>
        <p:spPr>
          <a:xfrm>
            <a:off x="9582912" y="541324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71" name="Google Shape;471;p33"/>
          <p:cNvSpPr txBox="1">
            <a:spLocks noGrp="1"/>
          </p:cNvSpPr>
          <p:nvPr>
            <p:ph type="body" idx="19"/>
          </p:nvPr>
        </p:nvSpPr>
        <p:spPr>
          <a:xfrm>
            <a:off x="5279136" y="3998976"/>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472" name="Google Shape;472;p33"/>
          <p:cNvSpPr txBox="1">
            <a:spLocks noGrp="1"/>
          </p:cNvSpPr>
          <p:nvPr>
            <p:ph type="body" idx="20"/>
          </p:nvPr>
        </p:nvSpPr>
        <p:spPr>
          <a:xfrm>
            <a:off x="8132064" y="4011168"/>
            <a:ext cx="1633600" cy="231600"/>
          </a:xfrm>
          <a:prstGeom prst="rect">
            <a:avLst/>
          </a:prstGeom>
        </p:spPr>
        <p:txBody>
          <a:bodyPr spcFirstLastPara="1" wrap="square" lIns="45700" tIns="18275" rIns="45700" bIns="18275" anchor="t" anchorCtr="0">
            <a:noAutofit/>
          </a:bodyPr>
          <a:lstStyle>
            <a:lvl1pPr marL="0" lvl="0" indent="0" algn="ctr" rtl="0">
              <a:lnSpc>
                <a:spcPct val="100000"/>
              </a:lnSpc>
              <a:spcBef>
                <a:spcPts val="0"/>
              </a:spcBef>
              <a:spcAft>
                <a:spcPts val="0"/>
              </a:spcAft>
              <a:buSzPts val="800"/>
              <a:buNone/>
              <a:defRPr sz="1067" b="0" i="0">
                <a:latin typeface="Helvetica" pitchFamily="2" charset="0"/>
              </a:defRPr>
            </a:lvl1pPr>
            <a:lvl2pPr marL="1219170" lvl="1" indent="-372524" algn="ctr" rtl="0">
              <a:spcBef>
                <a:spcPts val="0"/>
              </a:spcBef>
              <a:spcAft>
                <a:spcPts val="0"/>
              </a:spcAft>
              <a:buSzPts val="800"/>
              <a:buChar char="○"/>
              <a:defRPr sz="1067"/>
            </a:lvl2pPr>
            <a:lvl3pPr marL="1828754" lvl="2" indent="-372524" algn="ctr" rtl="0">
              <a:spcBef>
                <a:spcPts val="0"/>
              </a:spcBef>
              <a:spcAft>
                <a:spcPts val="0"/>
              </a:spcAft>
              <a:buSzPts val="800"/>
              <a:buChar char="■"/>
              <a:defRPr sz="1067"/>
            </a:lvl3pPr>
            <a:lvl4pPr marL="2438339" lvl="3" indent="-372524" algn="ctr" rtl="0">
              <a:spcBef>
                <a:spcPts val="0"/>
              </a:spcBef>
              <a:spcAft>
                <a:spcPts val="0"/>
              </a:spcAft>
              <a:buSzPts val="800"/>
              <a:buChar char="●"/>
              <a:defRPr sz="1067"/>
            </a:lvl4pPr>
            <a:lvl5pPr marL="3047924" lvl="4" indent="-372524" algn="ctr" rtl="0">
              <a:spcBef>
                <a:spcPts val="0"/>
              </a:spcBef>
              <a:spcAft>
                <a:spcPts val="0"/>
              </a:spcAft>
              <a:buSzPts val="800"/>
              <a:buChar char="○"/>
              <a:defRPr sz="1067"/>
            </a:lvl5pPr>
            <a:lvl6pPr marL="3657509" lvl="5" indent="-372524" algn="ctr" rtl="0">
              <a:spcBef>
                <a:spcPts val="0"/>
              </a:spcBef>
              <a:spcAft>
                <a:spcPts val="0"/>
              </a:spcAft>
              <a:buSzPts val="800"/>
              <a:buChar char="■"/>
              <a:defRPr sz="1067"/>
            </a:lvl6pPr>
            <a:lvl7pPr marL="4267093" lvl="6" indent="-372524" algn="ctr" rtl="0">
              <a:spcBef>
                <a:spcPts val="0"/>
              </a:spcBef>
              <a:spcAft>
                <a:spcPts val="0"/>
              </a:spcAft>
              <a:buSzPts val="800"/>
              <a:buChar char="●"/>
              <a:defRPr sz="1067"/>
            </a:lvl7pPr>
            <a:lvl8pPr marL="4876678" lvl="7" indent="-372524" algn="ctr" rtl="0">
              <a:spcBef>
                <a:spcPts val="0"/>
              </a:spcBef>
              <a:spcAft>
                <a:spcPts val="0"/>
              </a:spcAft>
              <a:buSzPts val="800"/>
              <a:buChar char="○"/>
              <a:defRPr sz="1067"/>
            </a:lvl8pPr>
            <a:lvl9pPr marL="5486263" lvl="8" indent="-372524" algn="ctr" rtl="0">
              <a:spcBef>
                <a:spcPts val="0"/>
              </a:spcBef>
              <a:spcAft>
                <a:spcPts val="0"/>
              </a:spcAft>
              <a:buSzPts val="800"/>
              <a:buChar char="■"/>
              <a:defRPr sz="1067"/>
            </a:lvl9pPr>
          </a:lstStyle>
          <a:p>
            <a:endParaRPr/>
          </a:p>
        </p:txBody>
      </p:sp>
      <p:sp>
        <p:nvSpPr>
          <p:cNvPr id="51" name="Google Shape;268;p27">
            <a:extLst>
              <a:ext uri="{FF2B5EF4-FFF2-40B4-BE49-F238E27FC236}">
                <a16:creationId xmlns:a16="http://schemas.microsoft.com/office/drawing/2014/main" id="{BD598AAA-EC64-E247-A143-0FD7003A5EBE}"/>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52" name="Google Shape;67;p15">
            <a:extLst>
              <a:ext uri="{FF2B5EF4-FFF2-40B4-BE49-F238E27FC236}">
                <a16:creationId xmlns:a16="http://schemas.microsoft.com/office/drawing/2014/main" id="{1D16FF24-B0F8-B641-AD66-E286C3F257F6}"/>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53" name="Google Shape;56;p14">
            <a:extLst>
              <a:ext uri="{FF2B5EF4-FFF2-40B4-BE49-F238E27FC236}">
                <a16:creationId xmlns:a16="http://schemas.microsoft.com/office/drawing/2014/main" id="{F98B535C-A92F-3042-A017-2B58F04D3CD6}"/>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266335102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matchingName="Left-side Three Features" preserve="1" userDrawn="1">
  <p:cSld name="Left-side Three Features">
    <p:spTree>
      <p:nvGrpSpPr>
        <p:cNvPr id="1" name="Shape 473"/>
        <p:cNvGrpSpPr/>
        <p:nvPr/>
      </p:nvGrpSpPr>
      <p:grpSpPr>
        <a:xfrm>
          <a:off x="0" y="0"/>
          <a:ext cx="0" cy="0"/>
          <a:chOff x="0" y="0"/>
          <a:chExt cx="0" cy="0"/>
        </a:xfrm>
      </p:grpSpPr>
      <p:sp>
        <p:nvSpPr>
          <p:cNvPr id="477" name="Google Shape;477;p34"/>
          <p:cNvSpPr/>
          <p:nvPr/>
        </p:nvSpPr>
        <p:spPr>
          <a:xfrm>
            <a:off x="8848491" y="-840651"/>
            <a:ext cx="8552400" cy="8539200"/>
          </a:xfrm>
          <a:prstGeom prst="ellipse">
            <a:avLst/>
          </a:prstGeom>
          <a:gradFill>
            <a:gsLst>
              <a:gs pos="0">
                <a:srgbClr val="1F9CF0"/>
              </a:gs>
              <a:gs pos="100000">
                <a:srgbClr val="D59DFF">
                  <a:alpha val="42352"/>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78" name="Google Shape;478;p34"/>
          <p:cNvSpPr/>
          <p:nvPr/>
        </p:nvSpPr>
        <p:spPr>
          <a:xfrm>
            <a:off x="7031928" y="3824431"/>
            <a:ext cx="2150000" cy="2146400"/>
          </a:xfrm>
          <a:prstGeom prst="ellipse">
            <a:avLst/>
          </a:prstGeom>
          <a:gradFill>
            <a:gsLst>
              <a:gs pos="0">
                <a:srgbClr val="8661C5"/>
              </a:gs>
              <a:gs pos="100000">
                <a:srgbClr val="161828"/>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nvGrpSpPr>
          <p:cNvPr id="479" name="Google Shape;479;p34"/>
          <p:cNvGrpSpPr/>
          <p:nvPr/>
        </p:nvGrpSpPr>
        <p:grpSpPr>
          <a:xfrm>
            <a:off x="1287133" y="954654"/>
            <a:ext cx="4809008" cy="1480471"/>
            <a:chOff x="1981200" y="3575359"/>
            <a:chExt cx="6892330" cy="2368500"/>
          </a:xfrm>
        </p:grpSpPr>
        <p:sp>
          <p:nvSpPr>
            <p:cNvPr id="480" name="Google Shape;480;p34"/>
            <p:cNvSpPr/>
            <p:nvPr/>
          </p:nvSpPr>
          <p:spPr>
            <a:xfrm>
              <a:off x="1981200" y="3575359"/>
              <a:ext cx="6630300" cy="2368500"/>
            </a:xfrm>
            <a:prstGeom prst="roundRect">
              <a:avLst>
                <a:gd name="adj" fmla="val 3188"/>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733"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81" name="Google Shape;481;p34"/>
            <p:cNvSpPr/>
            <p:nvPr/>
          </p:nvSpPr>
          <p:spPr>
            <a:xfrm rot="5400000">
              <a:off x="8503930" y="4648452"/>
              <a:ext cx="477000" cy="262200"/>
            </a:xfrm>
            <a:prstGeom prst="triangle">
              <a:avLst>
                <a:gd name="adj" fmla="val 50000"/>
              </a:avLst>
            </a:prstGeom>
            <a:gradFill>
              <a:gsLst>
                <a:gs pos="0">
                  <a:srgbClr val="1F9CF0"/>
                </a:gs>
                <a:gs pos="100000">
                  <a:srgbClr val="9477E2">
                    <a:alpha val="0"/>
                  </a:srgbClr>
                </a:gs>
              </a:gsLst>
              <a:lin ang="2700006" scaled="0"/>
            </a:gra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pic>
        <p:nvPicPr>
          <p:cNvPr id="482" name="Google Shape;482;p34"/>
          <p:cNvPicPr preferRelativeResize="0"/>
          <p:nvPr/>
        </p:nvPicPr>
        <p:blipFill rotWithShape="1">
          <a:blip r:embed="rId2">
            <a:alphaModFix amt="30000"/>
          </a:blip>
          <a:srcRect/>
          <a:stretch/>
        </p:blipFill>
        <p:spPr>
          <a:xfrm>
            <a:off x="7365166" y="-1396267"/>
            <a:ext cx="5016492" cy="5016492"/>
          </a:xfrm>
          <a:prstGeom prst="rect">
            <a:avLst/>
          </a:prstGeom>
          <a:noFill/>
          <a:ln>
            <a:noFill/>
          </a:ln>
        </p:spPr>
      </p:pic>
      <p:grpSp>
        <p:nvGrpSpPr>
          <p:cNvPr id="483" name="Google Shape;483;p34"/>
          <p:cNvGrpSpPr/>
          <p:nvPr/>
        </p:nvGrpSpPr>
        <p:grpSpPr>
          <a:xfrm>
            <a:off x="806624" y="1225639"/>
            <a:ext cx="961160" cy="959165"/>
            <a:chOff x="1551767" y="2937134"/>
            <a:chExt cx="1535400" cy="1534500"/>
          </a:xfrm>
        </p:grpSpPr>
        <p:sp>
          <p:nvSpPr>
            <p:cNvPr id="484" name="Google Shape;484;p34"/>
            <p:cNvSpPr/>
            <p:nvPr/>
          </p:nvSpPr>
          <p:spPr>
            <a:xfrm>
              <a:off x="1551767" y="2937134"/>
              <a:ext cx="1535400" cy="15345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85" name="Google Shape;485;p34"/>
            <p:cNvSpPr/>
            <p:nvPr/>
          </p:nvSpPr>
          <p:spPr>
            <a:xfrm>
              <a:off x="1811292" y="3198537"/>
              <a:ext cx="1017600" cy="10170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sp>
        <p:nvSpPr>
          <p:cNvPr id="486" name="Google Shape;486;p34"/>
          <p:cNvSpPr/>
          <p:nvPr/>
        </p:nvSpPr>
        <p:spPr>
          <a:xfrm>
            <a:off x="806415" y="2735360"/>
            <a:ext cx="961200" cy="959200"/>
          </a:xfrm>
          <a:prstGeom prst="ellipse">
            <a:avLst/>
          </a:prstGeom>
          <a:solidFill>
            <a:schemeClr val="accent3">
              <a:alpha val="56860"/>
            </a:schemeClr>
          </a:solidFill>
          <a:ln>
            <a:noFill/>
          </a:ln>
          <a:effectLst>
            <a:outerShdw blurRad="889000" dist="50800" dir="5400000" sx="89000" sy="89000" algn="ctr" rotWithShape="0">
              <a:srgbClr val="000000">
                <a:alpha val="4863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87" name="Google Shape;487;p34"/>
          <p:cNvSpPr/>
          <p:nvPr/>
        </p:nvSpPr>
        <p:spPr>
          <a:xfrm>
            <a:off x="968788" y="2898737"/>
            <a:ext cx="636800" cy="635600"/>
          </a:xfrm>
          <a:prstGeom prst="ellipse">
            <a:avLst/>
          </a:prstGeom>
          <a:solidFill>
            <a:schemeClr val="accent3"/>
          </a:soli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88" name="Google Shape;488;p34"/>
          <p:cNvSpPr/>
          <p:nvPr/>
        </p:nvSpPr>
        <p:spPr>
          <a:xfrm>
            <a:off x="1286943" y="2515657"/>
            <a:ext cx="4626000" cy="1480400"/>
          </a:xfrm>
          <a:prstGeom prst="roundRect">
            <a:avLst>
              <a:gd name="adj" fmla="val 3188"/>
            </a:avLst>
          </a:prstGeom>
          <a:gradFill>
            <a:gsLst>
              <a:gs pos="0">
                <a:srgbClr val="6A37C7">
                  <a:alpha val="20000"/>
                </a:srgbClr>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733"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89" name="Google Shape;489;p34"/>
          <p:cNvSpPr/>
          <p:nvPr/>
        </p:nvSpPr>
        <p:spPr>
          <a:xfrm>
            <a:off x="806415" y="4296603"/>
            <a:ext cx="961200" cy="959200"/>
          </a:xfrm>
          <a:prstGeom prst="ellipse">
            <a:avLst/>
          </a:prstGeom>
          <a:solidFill>
            <a:schemeClr val="accent3">
              <a:alpha val="56860"/>
            </a:schemeClr>
          </a:solidFill>
          <a:ln>
            <a:noFill/>
          </a:ln>
          <a:effectLst>
            <a:outerShdw blurRad="889000" dist="50800" dir="5400000" sx="89000" sy="89000" algn="ctr" rotWithShape="0">
              <a:srgbClr val="000000">
                <a:alpha val="48630"/>
              </a:srgbClr>
            </a:outerShdw>
          </a:effectLst>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90" name="Google Shape;490;p34"/>
          <p:cNvSpPr/>
          <p:nvPr/>
        </p:nvSpPr>
        <p:spPr>
          <a:xfrm>
            <a:off x="968788" y="4459980"/>
            <a:ext cx="636800" cy="635600"/>
          </a:xfrm>
          <a:prstGeom prst="ellipse">
            <a:avLst/>
          </a:prstGeom>
          <a:solidFill>
            <a:schemeClr val="accent3"/>
          </a:soli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91" name="Google Shape;491;p34"/>
          <p:cNvSpPr/>
          <p:nvPr/>
        </p:nvSpPr>
        <p:spPr>
          <a:xfrm>
            <a:off x="1286943" y="4076900"/>
            <a:ext cx="4626000" cy="1480400"/>
          </a:xfrm>
          <a:prstGeom prst="roundRect">
            <a:avLst>
              <a:gd name="adj" fmla="val 3188"/>
            </a:avLst>
          </a:prstGeom>
          <a:gradFill>
            <a:gsLst>
              <a:gs pos="0">
                <a:srgbClr val="6A37C7">
                  <a:alpha val="20000"/>
                </a:srgbClr>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733"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492" name="Google Shape;492;p34"/>
          <p:cNvSpPr>
            <a:spLocks noGrp="1"/>
          </p:cNvSpPr>
          <p:nvPr>
            <p:ph type="pic" idx="2"/>
          </p:nvPr>
        </p:nvSpPr>
        <p:spPr>
          <a:xfrm>
            <a:off x="1060704" y="1487424"/>
            <a:ext cx="451200" cy="438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495" name="Google Shape;495;p34"/>
          <p:cNvSpPr txBox="1">
            <a:spLocks noGrp="1"/>
          </p:cNvSpPr>
          <p:nvPr>
            <p:ph type="body" idx="1"/>
          </p:nvPr>
        </p:nvSpPr>
        <p:spPr>
          <a:xfrm>
            <a:off x="1987296" y="1158240"/>
            <a:ext cx="2072800" cy="2928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a:lnSpc>
                <a:spcPct val="100000"/>
              </a:lnSpc>
              <a:spcBef>
                <a:spcPts val="0"/>
              </a:spcBef>
              <a:spcAft>
                <a:spcPts val="0"/>
              </a:spcAft>
              <a:buSzPts val="1100"/>
              <a:buChar char="○"/>
              <a:defRPr sz="1467"/>
            </a:lvl2pPr>
            <a:lvl3pPr marL="1828754" lvl="2" indent="-397923">
              <a:lnSpc>
                <a:spcPct val="100000"/>
              </a:lnSpc>
              <a:spcBef>
                <a:spcPts val="0"/>
              </a:spcBef>
              <a:spcAft>
                <a:spcPts val="0"/>
              </a:spcAft>
              <a:buSzPts val="1100"/>
              <a:buChar char="■"/>
              <a:defRPr sz="1467"/>
            </a:lvl3pPr>
            <a:lvl4pPr marL="2438339" lvl="3" indent="-397923">
              <a:lnSpc>
                <a:spcPct val="100000"/>
              </a:lnSpc>
              <a:spcBef>
                <a:spcPts val="0"/>
              </a:spcBef>
              <a:spcAft>
                <a:spcPts val="0"/>
              </a:spcAft>
              <a:buSzPts val="1100"/>
              <a:buChar char="●"/>
              <a:defRPr sz="1467"/>
            </a:lvl4pPr>
            <a:lvl5pPr marL="3047924" lvl="4" indent="-397923">
              <a:lnSpc>
                <a:spcPct val="100000"/>
              </a:lnSpc>
              <a:spcBef>
                <a:spcPts val="0"/>
              </a:spcBef>
              <a:spcAft>
                <a:spcPts val="0"/>
              </a:spcAft>
              <a:buSzPts val="1100"/>
              <a:buChar char="○"/>
              <a:defRPr sz="1467"/>
            </a:lvl5pPr>
            <a:lvl6pPr marL="3657509" lvl="5" indent="-397923">
              <a:lnSpc>
                <a:spcPct val="100000"/>
              </a:lnSpc>
              <a:spcBef>
                <a:spcPts val="0"/>
              </a:spcBef>
              <a:spcAft>
                <a:spcPts val="0"/>
              </a:spcAft>
              <a:buSzPts val="1100"/>
              <a:buChar char="■"/>
              <a:defRPr sz="1467"/>
            </a:lvl6pPr>
            <a:lvl7pPr marL="4267093" lvl="6" indent="-397923">
              <a:lnSpc>
                <a:spcPct val="100000"/>
              </a:lnSpc>
              <a:spcBef>
                <a:spcPts val="0"/>
              </a:spcBef>
              <a:spcAft>
                <a:spcPts val="0"/>
              </a:spcAft>
              <a:buSzPts val="1100"/>
              <a:buChar char="●"/>
              <a:defRPr sz="1467"/>
            </a:lvl7pPr>
            <a:lvl8pPr marL="4876678" lvl="7" indent="-397923">
              <a:lnSpc>
                <a:spcPct val="100000"/>
              </a:lnSpc>
              <a:spcBef>
                <a:spcPts val="0"/>
              </a:spcBef>
              <a:spcAft>
                <a:spcPts val="0"/>
              </a:spcAft>
              <a:buSzPts val="1100"/>
              <a:buChar char="○"/>
              <a:defRPr sz="1467"/>
            </a:lvl8pPr>
            <a:lvl9pPr marL="5486263" lvl="8" indent="-397923">
              <a:lnSpc>
                <a:spcPct val="100000"/>
              </a:lnSpc>
              <a:spcBef>
                <a:spcPts val="0"/>
              </a:spcBef>
              <a:spcAft>
                <a:spcPts val="0"/>
              </a:spcAft>
              <a:buSzPts val="1100"/>
              <a:buChar char="■"/>
              <a:defRPr sz="1467"/>
            </a:lvl9pPr>
          </a:lstStyle>
          <a:p>
            <a:endParaRPr/>
          </a:p>
        </p:txBody>
      </p:sp>
      <p:sp>
        <p:nvSpPr>
          <p:cNvPr id="496" name="Google Shape;496;p34"/>
          <p:cNvSpPr txBox="1">
            <a:spLocks noGrp="1"/>
          </p:cNvSpPr>
          <p:nvPr>
            <p:ph type="body" idx="5"/>
          </p:nvPr>
        </p:nvSpPr>
        <p:spPr>
          <a:xfrm>
            <a:off x="1987296" y="1499616"/>
            <a:ext cx="3413600" cy="6704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497" name="Google Shape;497;p34"/>
          <p:cNvSpPr txBox="1">
            <a:spLocks noGrp="1"/>
          </p:cNvSpPr>
          <p:nvPr>
            <p:ph type="body" idx="6"/>
          </p:nvPr>
        </p:nvSpPr>
        <p:spPr>
          <a:xfrm>
            <a:off x="1987296" y="2718816"/>
            <a:ext cx="2072800" cy="2928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rtl="0">
              <a:lnSpc>
                <a:spcPct val="100000"/>
              </a:lnSpc>
              <a:spcBef>
                <a:spcPts val="0"/>
              </a:spcBef>
              <a:spcAft>
                <a:spcPts val="0"/>
              </a:spcAft>
              <a:buSzPts val="1100"/>
              <a:buChar char="○"/>
              <a:defRPr sz="1467"/>
            </a:lvl2pPr>
            <a:lvl3pPr marL="1828754" lvl="2" indent="-397923" rtl="0">
              <a:lnSpc>
                <a:spcPct val="100000"/>
              </a:lnSpc>
              <a:spcBef>
                <a:spcPts val="0"/>
              </a:spcBef>
              <a:spcAft>
                <a:spcPts val="0"/>
              </a:spcAft>
              <a:buSzPts val="1100"/>
              <a:buChar char="■"/>
              <a:defRPr sz="1467"/>
            </a:lvl3pPr>
            <a:lvl4pPr marL="2438339" lvl="3" indent="-397923" rtl="0">
              <a:lnSpc>
                <a:spcPct val="100000"/>
              </a:lnSpc>
              <a:spcBef>
                <a:spcPts val="0"/>
              </a:spcBef>
              <a:spcAft>
                <a:spcPts val="0"/>
              </a:spcAft>
              <a:buSzPts val="1100"/>
              <a:buChar char="●"/>
              <a:defRPr sz="1467"/>
            </a:lvl4pPr>
            <a:lvl5pPr marL="3047924" lvl="4" indent="-397923" rtl="0">
              <a:lnSpc>
                <a:spcPct val="100000"/>
              </a:lnSpc>
              <a:spcBef>
                <a:spcPts val="0"/>
              </a:spcBef>
              <a:spcAft>
                <a:spcPts val="0"/>
              </a:spcAft>
              <a:buSzPts val="1100"/>
              <a:buChar char="○"/>
              <a:defRPr sz="1467"/>
            </a:lvl5pPr>
            <a:lvl6pPr marL="3657509" lvl="5" indent="-397923" rtl="0">
              <a:lnSpc>
                <a:spcPct val="100000"/>
              </a:lnSpc>
              <a:spcBef>
                <a:spcPts val="0"/>
              </a:spcBef>
              <a:spcAft>
                <a:spcPts val="0"/>
              </a:spcAft>
              <a:buSzPts val="1100"/>
              <a:buChar char="■"/>
              <a:defRPr sz="1467"/>
            </a:lvl6pPr>
            <a:lvl7pPr marL="4267093" lvl="6" indent="-397923" rtl="0">
              <a:lnSpc>
                <a:spcPct val="100000"/>
              </a:lnSpc>
              <a:spcBef>
                <a:spcPts val="0"/>
              </a:spcBef>
              <a:spcAft>
                <a:spcPts val="0"/>
              </a:spcAft>
              <a:buSzPts val="1100"/>
              <a:buChar char="●"/>
              <a:defRPr sz="1467"/>
            </a:lvl7pPr>
            <a:lvl8pPr marL="4876678" lvl="7" indent="-397923" rtl="0">
              <a:lnSpc>
                <a:spcPct val="100000"/>
              </a:lnSpc>
              <a:spcBef>
                <a:spcPts val="0"/>
              </a:spcBef>
              <a:spcAft>
                <a:spcPts val="0"/>
              </a:spcAft>
              <a:buSzPts val="1100"/>
              <a:buChar char="○"/>
              <a:defRPr sz="1467"/>
            </a:lvl8pPr>
            <a:lvl9pPr marL="5486263" lvl="8" indent="-397923" rtl="0">
              <a:lnSpc>
                <a:spcPct val="100000"/>
              </a:lnSpc>
              <a:spcBef>
                <a:spcPts val="0"/>
              </a:spcBef>
              <a:spcAft>
                <a:spcPts val="0"/>
              </a:spcAft>
              <a:buSzPts val="1100"/>
              <a:buChar char="■"/>
              <a:defRPr sz="1467"/>
            </a:lvl9pPr>
          </a:lstStyle>
          <a:p>
            <a:endParaRPr/>
          </a:p>
        </p:txBody>
      </p:sp>
      <p:sp>
        <p:nvSpPr>
          <p:cNvPr id="498" name="Google Shape;498;p34"/>
          <p:cNvSpPr txBox="1">
            <a:spLocks noGrp="1"/>
          </p:cNvSpPr>
          <p:nvPr>
            <p:ph type="body" idx="7"/>
          </p:nvPr>
        </p:nvSpPr>
        <p:spPr>
          <a:xfrm>
            <a:off x="1987296" y="3060192"/>
            <a:ext cx="34136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499" name="Google Shape;499;p34"/>
          <p:cNvSpPr txBox="1">
            <a:spLocks noGrp="1"/>
          </p:cNvSpPr>
          <p:nvPr>
            <p:ph type="body" idx="8"/>
          </p:nvPr>
        </p:nvSpPr>
        <p:spPr>
          <a:xfrm>
            <a:off x="1987296" y="4279392"/>
            <a:ext cx="2072800" cy="2928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1100"/>
              <a:buNone/>
              <a:defRPr sz="1467" b="1" i="0">
                <a:solidFill>
                  <a:schemeClr val="bg1"/>
                </a:solidFill>
                <a:latin typeface="Helvetica" pitchFamily="2" charset="0"/>
              </a:defRPr>
            </a:lvl1pPr>
            <a:lvl2pPr marL="1219170" lvl="1" indent="-397923" rtl="0">
              <a:lnSpc>
                <a:spcPct val="100000"/>
              </a:lnSpc>
              <a:spcBef>
                <a:spcPts val="0"/>
              </a:spcBef>
              <a:spcAft>
                <a:spcPts val="0"/>
              </a:spcAft>
              <a:buSzPts val="1100"/>
              <a:buChar char="○"/>
              <a:defRPr sz="1467"/>
            </a:lvl2pPr>
            <a:lvl3pPr marL="1828754" lvl="2" indent="-397923" rtl="0">
              <a:lnSpc>
                <a:spcPct val="100000"/>
              </a:lnSpc>
              <a:spcBef>
                <a:spcPts val="0"/>
              </a:spcBef>
              <a:spcAft>
                <a:spcPts val="0"/>
              </a:spcAft>
              <a:buSzPts val="1100"/>
              <a:buChar char="■"/>
              <a:defRPr sz="1467"/>
            </a:lvl3pPr>
            <a:lvl4pPr marL="2438339" lvl="3" indent="-397923" rtl="0">
              <a:lnSpc>
                <a:spcPct val="100000"/>
              </a:lnSpc>
              <a:spcBef>
                <a:spcPts val="0"/>
              </a:spcBef>
              <a:spcAft>
                <a:spcPts val="0"/>
              </a:spcAft>
              <a:buSzPts val="1100"/>
              <a:buChar char="●"/>
              <a:defRPr sz="1467"/>
            </a:lvl4pPr>
            <a:lvl5pPr marL="3047924" lvl="4" indent="-397923" rtl="0">
              <a:lnSpc>
                <a:spcPct val="100000"/>
              </a:lnSpc>
              <a:spcBef>
                <a:spcPts val="0"/>
              </a:spcBef>
              <a:spcAft>
                <a:spcPts val="0"/>
              </a:spcAft>
              <a:buSzPts val="1100"/>
              <a:buChar char="○"/>
              <a:defRPr sz="1467"/>
            </a:lvl5pPr>
            <a:lvl6pPr marL="3657509" lvl="5" indent="-397923" rtl="0">
              <a:lnSpc>
                <a:spcPct val="100000"/>
              </a:lnSpc>
              <a:spcBef>
                <a:spcPts val="0"/>
              </a:spcBef>
              <a:spcAft>
                <a:spcPts val="0"/>
              </a:spcAft>
              <a:buSzPts val="1100"/>
              <a:buChar char="■"/>
              <a:defRPr sz="1467"/>
            </a:lvl6pPr>
            <a:lvl7pPr marL="4267093" lvl="6" indent="-397923" rtl="0">
              <a:lnSpc>
                <a:spcPct val="100000"/>
              </a:lnSpc>
              <a:spcBef>
                <a:spcPts val="0"/>
              </a:spcBef>
              <a:spcAft>
                <a:spcPts val="0"/>
              </a:spcAft>
              <a:buSzPts val="1100"/>
              <a:buChar char="●"/>
              <a:defRPr sz="1467"/>
            </a:lvl7pPr>
            <a:lvl8pPr marL="4876678" lvl="7" indent="-397923" rtl="0">
              <a:lnSpc>
                <a:spcPct val="100000"/>
              </a:lnSpc>
              <a:spcBef>
                <a:spcPts val="0"/>
              </a:spcBef>
              <a:spcAft>
                <a:spcPts val="0"/>
              </a:spcAft>
              <a:buSzPts val="1100"/>
              <a:buChar char="○"/>
              <a:defRPr sz="1467"/>
            </a:lvl8pPr>
            <a:lvl9pPr marL="5486263" lvl="8" indent="-397923" rtl="0">
              <a:lnSpc>
                <a:spcPct val="100000"/>
              </a:lnSpc>
              <a:spcBef>
                <a:spcPts val="0"/>
              </a:spcBef>
              <a:spcAft>
                <a:spcPts val="0"/>
              </a:spcAft>
              <a:buSzPts val="1100"/>
              <a:buChar char="■"/>
              <a:defRPr sz="1467"/>
            </a:lvl9pPr>
          </a:lstStyle>
          <a:p>
            <a:endParaRPr/>
          </a:p>
        </p:txBody>
      </p:sp>
      <p:sp>
        <p:nvSpPr>
          <p:cNvPr id="500" name="Google Shape;500;p34"/>
          <p:cNvSpPr txBox="1">
            <a:spLocks noGrp="1"/>
          </p:cNvSpPr>
          <p:nvPr>
            <p:ph type="body" idx="9"/>
          </p:nvPr>
        </p:nvSpPr>
        <p:spPr>
          <a:xfrm>
            <a:off x="1987296" y="4620768"/>
            <a:ext cx="3413600" cy="6704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29" name="Google Shape;492;p34">
            <a:extLst>
              <a:ext uri="{FF2B5EF4-FFF2-40B4-BE49-F238E27FC236}">
                <a16:creationId xmlns:a16="http://schemas.microsoft.com/office/drawing/2014/main" id="{B2961469-D98A-3946-8147-3909918D86A6}"/>
              </a:ext>
            </a:extLst>
          </p:cNvPr>
          <p:cNvSpPr>
            <a:spLocks noGrp="1"/>
          </p:cNvSpPr>
          <p:nvPr>
            <p:ph type="pic" idx="10"/>
          </p:nvPr>
        </p:nvSpPr>
        <p:spPr>
          <a:xfrm>
            <a:off x="1060704" y="2995560"/>
            <a:ext cx="451200" cy="438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30" name="Google Shape;492;p34">
            <a:extLst>
              <a:ext uri="{FF2B5EF4-FFF2-40B4-BE49-F238E27FC236}">
                <a16:creationId xmlns:a16="http://schemas.microsoft.com/office/drawing/2014/main" id="{196967CD-4856-9243-9EFE-A327D7763891}"/>
              </a:ext>
            </a:extLst>
          </p:cNvPr>
          <p:cNvSpPr>
            <a:spLocks noGrp="1"/>
          </p:cNvSpPr>
          <p:nvPr>
            <p:ph type="pic" idx="11"/>
          </p:nvPr>
        </p:nvSpPr>
        <p:spPr>
          <a:xfrm>
            <a:off x="1060704" y="4556803"/>
            <a:ext cx="451200" cy="438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31" name="Google Shape;268;p27">
            <a:extLst>
              <a:ext uri="{FF2B5EF4-FFF2-40B4-BE49-F238E27FC236}">
                <a16:creationId xmlns:a16="http://schemas.microsoft.com/office/drawing/2014/main" id="{5366E105-BBFE-6A48-9C65-CFF9CF06D742}"/>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32" name="Google Shape;67;p15">
            <a:extLst>
              <a:ext uri="{FF2B5EF4-FFF2-40B4-BE49-F238E27FC236}">
                <a16:creationId xmlns:a16="http://schemas.microsoft.com/office/drawing/2014/main" id="{70CFA9DA-9887-894C-9497-56E08226B48E}"/>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33" name="Google Shape;56;p14">
            <a:extLst>
              <a:ext uri="{FF2B5EF4-FFF2-40B4-BE49-F238E27FC236}">
                <a16:creationId xmlns:a16="http://schemas.microsoft.com/office/drawing/2014/main" id="{645940EC-80D9-F94E-ADC7-16998CBD84A3}"/>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296624801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matchingName="Four Features - Right" preserve="1" userDrawn="1">
  <p:cSld name="Four Features - Right">
    <p:spTree>
      <p:nvGrpSpPr>
        <p:cNvPr id="1" name="Shape 501"/>
        <p:cNvGrpSpPr/>
        <p:nvPr/>
      </p:nvGrpSpPr>
      <p:grpSpPr>
        <a:xfrm>
          <a:off x="0" y="0"/>
          <a:ext cx="0" cy="0"/>
          <a:chOff x="0" y="0"/>
          <a:chExt cx="0" cy="0"/>
        </a:xfrm>
      </p:grpSpPr>
      <p:sp>
        <p:nvSpPr>
          <p:cNvPr id="505" name="Google Shape;505;p35"/>
          <p:cNvSpPr/>
          <p:nvPr/>
        </p:nvSpPr>
        <p:spPr>
          <a:xfrm>
            <a:off x="-2658759" y="-532000"/>
            <a:ext cx="8552400" cy="8539200"/>
          </a:xfrm>
          <a:prstGeom prst="ellipse">
            <a:avLst/>
          </a:prstGeom>
          <a:gradFill>
            <a:gsLst>
              <a:gs pos="0">
                <a:srgbClr val="1F9CF0">
                  <a:alpha val="74901"/>
                </a:srgbClr>
              </a:gs>
              <a:gs pos="72000">
                <a:srgbClr val="D59DFF">
                  <a:alpha val="0"/>
                </a:srgbClr>
              </a:gs>
              <a:gs pos="100000">
                <a:srgbClr val="D59DFF">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506" name="Google Shape;506;p35"/>
          <p:cNvCxnSpPr/>
          <p:nvPr/>
        </p:nvCxnSpPr>
        <p:spPr>
          <a:xfrm>
            <a:off x="1115295" y="983141"/>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507" name="Google Shape;507;p35"/>
          <p:cNvPicPr preferRelativeResize="0"/>
          <p:nvPr/>
        </p:nvPicPr>
        <p:blipFill rotWithShape="1">
          <a:blip r:embed="rId2">
            <a:alphaModFix amt="30000"/>
          </a:blip>
          <a:srcRect/>
          <a:stretch/>
        </p:blipFill>
        <p:spPr>
          <a:xfrm>
            <a:off x="6298306" y="-3905034"/>
            <a:ext cx="5016492" cy="5016492"/>
          </a:xfrm>
          <a:prstGeom prst="rect">
            <a:avLst/>
          </a:prstGeom>
          <a:noFill/>
          <a:ln>
            <a:noFill/>
          </a:ln>
        </p:spPr>
      </p:pic>
      <p:sp>
        <p:nvSpPr>
          <p:cNvPr id="508" name="Google Shape;508;p35"/>
          <p:cNvSpPr/>
          <p:nvPr/>
        </p:nvSpPr>
        <p:spPr>
          <a:xfrm>
            <a:off x="-1076467" y="4452464"/>
            <a:ext cx="1880000" cy="1877200"/>
          </a:xfrm>
          <a:prstGeom prst="ellipse">
            <a:avLst/>
          </a:prstGeom>
          <a:gradFill>
            <a:gsLst>
              <a:gs pos="0">
                <a:srgbClr val="8661C5"/>
              </a:gs>
              <a:gs pos="100000">
                <a:srgbClr val="161828">
                  <a:alpha val="74901"/>
                </a:srgbClr>
              </a:gs>
            </a:gsLst>
            <a:path path="circle">
              <a:fillToRect l="50000" t="50000" r="50000" b="50000"/>
            </a:path>
            <a:tileRect/>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nvGrpSpPr>
          <p:cNvPr id="509" name="Google Shape;509;p35"/>
          <p:cNvGrpSpPr/>
          <p:nvPr/>
        </p:nvGrpSpPr>
        <p:grpSpPr>
          <a:xfrm>
            <a:off x="6612317" y="1378239"/>
            <a:ext cx="651009" cy="649605"/>
            <a:chOff x="9522579" y="1481845"/>
            <a:chExt cx="1535400" cy="1534500"/>
          </a:xfrm>
        </p:grpSpPr>
        <p:sp>
          <p:nvSpPr>
            <p:cNvPr id="510" name="Google Shape;510;p35"/>
            <p:cNvSpPr/>
            <p:nvPr/>
          </p:nvSpPr>
          <p:spPr>
            <a:xfrm>
              <a:off x="9522579" y="1481845"/>
              <a:ext cx="1535400" cy="1534500"/>
            </a:xfrm>
            <a:prstGeom prst="ellipse">
              <a:avLst/>
            </a:prstGeom>
            <a:solidFill>
              <a:srgbClr val="1F9CF0">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511" name="Google Shape;511;p35"/>
            <p:cNvSpPr/>
            <p:nvPr/>
          </p:nvSpPr>
          <p:spPr>
            <a:xfrm>
              <a:off x="9782104" y="1743248"/>
              <a:ext cx="1017600" cy="1017000"/>
            </a:xfrm>
            <a:prstGeom prst="ellipse">
              <a:avLst/>
            </a:prstGeom>
            <a:solidFill>
              <a:srgbClr val="1F9CF0"/>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512" name="Google Shape;512;p35"/>
          <p:cNvGrpSpPr/>
          <p:nvPr/>
        </p:nvGrpSpPr>
        <p:grpSpPr>
          <a:xfrm>
            <a:off x="9235146" y="1384102"/>
            <a:ext cx="651009" cy="649605"/>
            <a:chOff x="9522579" y="1481845"/>
            <a:chExt cx="1535400" cy="1534500"/>
          </a:xfrm>
        </p:grpSpPr>
        <p:sp>
          <p:nvSpPr>
            <p:cNvPr id="513" name="Google Shape;513;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514" name="Google Shape;514;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515" name="Google Shape;515;p35"/>
          <p:cNvGrpSpPr/>
          <p:nvPr/>
        </p:nvGrpSpPr>
        <p:grpSpPr>
          <a:xfrm>
            <a:off x="6612317" y="3752891"/>
            <a:ext cx="651009" cy="649605"/>
            <a:chOff x="9522579" y="1481845"/>
            <a:chExt cx="1535400" cy="1534500"/>
          </a:xfrm>
        </p:grpSpPr>
        <p:sp>
          <p:nvSpPr>
            <p:cNvPr id="516" name="Google Shape;516;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517" name="Google Shape;517;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grpSp>
        <p:nvGrpSpPr>
          <p:cNvPr id="518" name="Google Shape;518;p35"/>
          <p:cNvGrpSpPr/>
          <p:nvPr/>
        </p:nvGrpSpPr>
        <p:grpSpPr>
          <a:xfrm>
            <a:off x="9235146" y="3758755"/>
            <a:ext cx="651009" cy="649605"/>
            <a:chOff x="9522579" y="1481845"/>
            <a:chExt cx="1535400" cy="1534500"/>
          </a:xfrm>
        </p:grpSpPr>
        <p:sp>
          <p:nvSpPr>
            <p:cNvPr id="519" name="Google Shape;519;p35"/>
            <p:cNvSpPr/>
            <p:nvPr/>
          </p:nvSpPr>
          <p:spPr>
            <a:xfrm>
              <a:off x="9522579" y="1481845"/>
              <a:ext cx="1535400" cy="1534500"/>
            </a:xfrm>
            <a:prstGeom prst="ellipse">
              <a:avLst/>
            </a:prstGeom>
            <a:solidFill>
              <a:srgbClr val="8661C5">
                <a:alpha val="56860"/>
              </a:srgbClr>
            </a:solidFill>
            <a:ln>
              <a:noFill/>
            </a:ln>
            <a:effectLst>
              <a:outerShdw blurRad="889000" dist="50800" dir="5400000" sx="89000" sy="89000" algn="ctr" rotWithShape="0">
                <a:srgbClr val="000000">
                  <a:alpha val="48630"/>
                </a:srgbClr>
              </a:outerShdw>
            </a:effectLst>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520" name="Google Shape;520;p35"/>
            <p:cNvSpPr/>
            <p:nvPr/>
          </p:nvSpPr>
          <p:spPr>
            <a:xfrm>
              <a:off x="9782104" y="1743248"/>
              <a:ext cx="1017600" cy="1017000"/>
            </a:xfrm>
            <a:prstGeom prst="ellipse">
              <a:avLst/>
            </a:prstGeom>
            <a:solidFill>
              <a:srgbClr val="8661C5"/>
            </a:solidFill>
            <a:ln>
              <a:noFill/>
            </a:ln>
          </p:spPr>
          <p:txBody>
            <a:bodyPr spcFirstLastPara="1" wrap="square" lIns="42900" tIns="21450" rIns="42900" bIns="214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grpSp>
      <p:cxnSp>
        <p:nvCxnSpPr>
          <p:cNvPr id="521" name="Google Shape;521;p35"/>
          <p:cNvCxnSpPr/>
          <p:nvPr/>
        </p:nvCxnSpPr>
        <p:spPr>
          <a:xfrm>
            <a:off x="8847511" y="1400361"/>
            <a:ext cx="0" cy="1955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2" name="Google Shape;522;p35"/>
          <p:cNvCxnSpPr/>
          <p:nvPr/>
        </p:nvCxnSpPr>
        <p:spPr>
          <a:xfrm>
            <a:off x="8847511" y="3791343"/>
            <a:ext cx="0" cy="1955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3" name="Google Shape;523;p35"/>
          <p:cNvCxnSpPr/>
          <p:nvPr/>
        </p:nvCxnSpPr>
        <p:spPr>
          <a:xfrm>
            <a:off x="6298305" y="1400361"/>
            <a:ext cx="0" cy="1955200"/>
          </a:xfrm>
          <a:prstGeom prst="straightConnector1">
            <a:avLst/>
          </a:prstGeom>
          <a:noFill/>
          <a:ln w="12700" cap="flat" cmpd="sng">
            <a:solidFill>
              <a:srgbClr val="627597">
                <a:alpha val="49800"/>
              </a:srgbClr>
            </a:solidFill>
            <a:prstDash val="solid"/>
            <a:miter lim="800000"/>
            <a:headEnd type="none" w="sm" len="sm"/>
            <a:tailEnd type="none" w="sm" len="sm"/>
          </a:ln>
        </p:spPr>
      </p:cxnSp>
      <p:cxnSp>
        <p:nvCxnSpPr>
          <p:cNvPr id="524" name="Google Shape;524;p35"/>
          <p:cNvCxnSpPr/>
          <p:nvPr/>
        </p:nvCxnSpPr>
        <p:spPr>
          <a:xfrm>
            <a:off x="6298305" y="3791343"/>
            <a:ext cx="0" cy="1955200"/>
          </a:xfrm>
          <a:prstGeom prst="straightConnector1">
            <a:avLst/>
          </a:prstGeom>
          <a:noFill/>
          <a:ln w="12700" cap="flat" cmpd="sng">
            <a:solidFill>
              <a:srgbClr val="627597">
                <a:alpha val="49800"/>
              </a:srgbClr>
            </a:solidFill>
            <a:prstDash val="solid"/>
            <a:miter lim="800000"/>
            <a:headEnd type="none" w="sm" len="sm"/>
            <a:tailEnd type="none" w="sm" len="sm"/>
          </a:ln>
        </p:spPr>
      </p:cxnSp>
      <p:sp>
        <p:nvSpPr>
          <p:cNvPr id="525" name="Google Shape;525;p35"/>
          <p:cNvSpPr/>
          <p:nvPr/>
        </p:nvSpPr>
        <p:spPr>
          <a:xfrm rot="10800000">
            <a:off x="543900" y="700"/>
            <a:ext cx="97600" cy="28972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000000"/>
              </a:solidFill>
              <a:effectLst/>
              <a:uLnTx/>
              <a:uFillTx/>
              <a:latin typeface="Helvetica" pitchFamily="2" charset="0"/>
              <a:ea typeface="+mn-ea"/>
              <a:cs typeface="+mn-cs"/>
            </a:endParaRPr>
          </a:p>
        </p:txBody>
      </p:sp>
      <p:sp>
        <p:nvSpPr>
          <p:cNvPr id="526" name="Google Shape;526;p35"/>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527" name="Google Shape;527;p35"/>
          <p:cNvSpPr txBox="1">
            <a:spLocks noGrp="1"/>
          </p:cNvSpPr>
          <p:nvPr>
            <p:ph type="title"/>
          </p:nvPr>
        </p:nvSpPr>
        <p:spPr>
          <a:xfrm>
            <a:off x="1072896" y="1377696"/>
            <a:ext cx="3243200" cy="1036400"/>
          </a:xfrm>
          <a:prstGeom prst="rect">
            <a:avLst/>
          </a:prstGeom>
        </p:spPr>
        <p:txBody>
          <a:bodyPr spcFirstLastPara="1" wrap="square" lIns="45700" tIns="18275" rIns="45700" bIns="18275" anchor="t" anchorCtr="0">
            <a:noAutofit/>
          </a:bodyPr>
          <a:lstStyle>
            <a:lvl1pPr lvl="0" rtl="0">
              <a:spcBef>
                <a:spcPts val="0"/>
              </a:spcBef>
              <a:spcAft>
                <a:spcPts val="0"/>
              </a:spcAft>
              <a:buSzPts val="1700"/>
              <a:buNone/>
              <a:defRPr sz="2267" b="0"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28" name="Google Shape;528;p35"/>
          <p:cNvSpPr txBox="1">
            <a:spLocks noGrp="1"/>
          </p:cNvSpPr>
          <p:nvPr>
            <p:ph type="body" idx="2"/>
          </p:nvPr>
        </p:nvSpPr>
        <p:spPr>
          <a:xfrm>
            <a:off x="1072896" y="3182112"/>
            <a:ext cx="3243200" cy="212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29" name="Google Shape;529;p35"/>
          <p:cNvSpPr>
            <a:spLocks noGrp="1"/>
          </p:cNvSpPr>
          <p:nvPr>
            <p:ph type="pic" idx="3"/>
          </p:nvPr>
        </p:nvSpPr>
        <p:spPr>
          <a:xfrm>
            <a:off x="6790944" y="1560576"/>
            <a:ext cx="304800" cy="304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533" name="Google Shape;533;p35"/>
          <p:cNvSpPr txBox="1">
            <a:spLocks noGrp="1"/>
          </p:cNvSpPr>
          <p:nvPr>
            <p:ph type="body" idx="7"/>
          </p:nvPr>
        </p:nvSpPr>
        <p:spPr>
          <a:xfrm>
            <a:off x="6608064" y="2438400"/>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34" name="Google Shape;534;p35"/>
          <p:cNvSpPr txBox="1">
            <a:spLocks noGrp="1"/>
          </p:cNvSpPr>
          <p:nvPr>
            <p:ph type="body" idx="8"/>
          </p:nvPr>
        </p:nvSpPr>
        <p:spPr>
          <a:xfrm>
            <a:off x="6608064" y="2194560"/>
            <a:ext cx="1536000" cy="201119"/>
          </a:xfrm>
          <a:prstGeom prst="rect">
            <a:avLst/>
          </a:prstGeom>
        </p:spPr>
        <p:txBody>
          <a:bodyPr spcFirstLastPara="1" wrap="square" lIns="45700" tIns="18275" rIns="45700" bIns="18275" anchor="t" anchorCtr="0">
            <a:spAutoFit/>
          </a:bodyPr>
          <a:lstStyle>
            <a:lvl1pPr marL="0" lvl="0" indent="0" rtl="0">
              <a:lnSpc>
                <a:spcPct val="100000"/>
              </a:lnSpc>
              <a:spcBef>
                <a:spcPts val="0"/>
              </a:spcBef>
              <a:spcAft>
                <a:spcPts val="0"/>
              </a:spcAft>
              <a:buSzPts val="800"/>
              <a:buNone/>
              <a:defRPr sz="10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35" name="Google Shape;535;p35"/>
          <p:cNvSpPr txBox="1">
            <a:spLocks noGrp="1"/>
          </p:cNvSpPr>
          <p:nvPr>
            <p:ph type="body" idx="9"/>
          </p:nvPr>
        </p:nvSpPr>
        <p:spPr>
          <a:xfrm>
            <a:off x="9192768" y="2438400"/>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36" name="Google Shape;536;p35"/>
          <p:cNvSpPr txBox="1">
            <a:spLocks noGrp="1"/>
          </p:cNvSpPr>
          <p:nvPr>
            <p:ph type="body" idx="13"/>
          </p:nvPr>
        </p:nvSpPr>
        <p:spPr>
          <a:xfrm>
            <a:off x="6608064" y="4828032"/>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37" name="Google Shape;537;p35"/>
          <p:cNvSpPr txBox="1">
            <a:spLocks noGrp="1"/>
          </p:cNvSpPr>
          <p:nvPr>
            <p:ph type="body" idx="14"/>
          </p:nvPr>
        </p:nvSpPr>
        <p:spPr>
          <a:xfrm>
            <a:off x="9192768" y="4828032"/>
            <a:ext cx="1816800" cy="9752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38" name="Google Shape;538;p35"/>
          <p:cNvSpPr txBox="1">
            <a:spLocks noGrp="1"/>
          </p:cNvSpPr>
          <p:nvPr>
            <p:ph type="body" idx="15"/>
          </p:nvPr>
        </p:nvSpPr>
        <p:spPr>
          <a:xfrm>
            <a:off x="9192768" y="2194560"/>
            <a:ext cx="1536000" cy="231600"/>
          </a:xfrm>
          <a:prstGeom prst="rect">
            <a:avLst/>
          </a:prstGeom>
        </p:spPr>
        <p:txBody>
          <a:bodyPr spcFirstLastPara="1" wrap="square" lIns="45700" tIns="18275" rIns="45700" bIns="18275" anchor="t" anchorCtr="0">
            <a:noAutofit/>
          </a:bodyPr>
          <a:lstStyle>
            <a:lvl1pPr marL="0" lvl="0" indent="0">
              <a:lnSpc>
                <a:spcPct val="100000"/>
              </a:lnSpc>
              <a:spcBef>
                <a:spcPts val="0"/>
              </a:spcBef>
              <a:spcAft>
                <a:spcPts val="0"/>
              </a:spcAft>
              <a:buSzPts val="800"/>
              <a:buNone/>
              <a:defRPr sz="1067" b="1" i="0">
                <a:solidFill>
                  <a:schemeClr val="bg1"/>
                </a:solidFill>
                <a:latin typeface="Helvetica" pitchFamily="2" charset="0"/>
              </a:defRPr>
            </a:lvl1pPr>
            <a:lvl2pPr marL="1219170" lvl="1" indent="-372524">
              <a:lnSpc>
                <a:spcPct val="100000"/>
              </a:lnSpc>
              <a:spcBef>
                <a:spcPts val="0"/>
              </a:spcBef>
              <a:spcAft>
                <a:spcPts val="0"/>
              </a:spcAft>
              <a:buSzPts val="800"/>
              <a:buChar char="○"/>
              <a:defRPr sz="1067"/>
            </a:lvl2pPr>
            <a:lvl3pPr marL="1828754" lvl="2" indent="-372524">
              <a:lnSpc>
                <a:spcPct val="100000"/>
              </a:lnSpc>
              <a:spcBef>
                <a:spcPts val="0"/>
              </a:spcBef>
              <a:spcAft>
                <a:spcPts val="0"/>
              </a:spcAft>
              <a:buSzPts val="800"/>
              <a:buChar char="■"/>
              <a:defRPr sz="1067"/>
            </a:lvl3pPr>
            <a:lvl4pPr marL="2438339" lvl="3" indent="-372524">
              <a:lnSpc>
                <a:spcPct val="100000"/>
              </a:lnSpc>
              <a:spcBef>
                <a:spcPts val="0"/>
              </a:spcBef>
              <a:spcAft>
                <a:spcPts val="0"/>
              </a:spcAft>
              <a:buSzPts val="800"/>
              <a:buChar char="●"/>
              <a:defRPr sz="1067"/>
            </a:lvl4pPr>
            <a:lvl5pPr marL="3047924" lvl="4" indent="-372524">
              <a:lnSpc>
                <a:spcPct val="100000"/>
              </a:lnSpc>
              <a:spcBef>
                <a:spcPts val="0"/>
              </a:spcBef>
              <a:spcAft>
                <a:spcPts val="0"/>
              </a:spcAft>
              <a:buSzPts val="800"/>
              <a:buChar char="○"/>
              <a:defRPr sz="1067"/>
            </a:lvl5pPr>
            <a:lvl6pPr marL="3657509" lvl="5" indent="-372524">
              <a:lnSpc>
                <a:spcPct val="100000"/>
              </a:lnSpc>
              <a:spcBef>
                <a:spcPts val="0"/>
              </a:spcBef>
              <a:spcAft>
                <a:spcPts val="0"/>
              </a:spcAft>
              <a:buSzPts val="800"/>
              <a:buChar char="■"/>
              <a:defRPr sz="1067"/>
            </a:lvl6pPr>
            <a:lvl7pPr marL="4267093" lvl="6" indent="-372524">
              <a:lnSpc>
                <a:spcPct val="100000"/>
              </a:lnSpc>
              <a:spcBef>
                <a:spcPts val="0"/>
              </a:spcBef>
              <a:spcAft>
                <a:spcPts val="0"/>
              </a:spcAft>
              <a:buSzPts val="800"/>
              <a:buChar char="●"/>
              <a:defRPr sz="1067"/>
            </a:lvl7pPr>
            <a:lvl8pPr marL="4876678" lvl="7" indent="-372524">
              <a:lnSpc>
                <a:spcPct val="100000"/>
              </a:lnSpc>
              <a:spcBef>
                <a:spcPts val="0"/>
              </a:spcBef>
              <a:spcAft>
                <a:spcPts val="0"/>
              </a:spcAft>
              <a:buSzPts val="800"/>
              <a:buChar char="○"/>
              <a:defRPr sz="1067"/>
            </a:lvl8pPr>
            <a:lvl9pPr marL="5486263" lvl="8" indent="-372524">
              <a:lnSpc>
                <a:spcPct val="100000"/>
              </a:lnSpc>
              <a:spcBef>
                <a:spcPts val="0"/>
              </a:spcBef>
              <a:spcAft>
                <a:spcPts val="0"/>
              </a:spcAft>
              <a:buSzPts val="800"/>
              <a:buChar char="■"/>
              <a:defRPr sz="1067"/>
            </a:lvl9pPr>
          </a:lstStyle>
          <a:p>
            <a:endParaRPr/>
          </a:p>
        </p:txBody>
      </p:sp>
      <p:sp>
        <p:nvSpPr>
          <p:cNvPr id="539" name="Google Shape;539;p35"/>
          <p:cNvSpPr txBox="1">
            <a:spLocks noGrp="1"/>
          </p:cNvSpPr>
          <p:nvPr>
            <p:ph type="body" idx="16"/>
          </p:nvPr>
        </p:nvSpPr>
        <p:spPr>
          <a:xfrm>
            <a:off x="6583680" y="4584192"/>
            <a:ext cx="15360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40" name="Google Shape;540;p35"/>
          <p:cNvSpPr txBox="1">
            <a:spLocks noGrp="1"/>
          </p:cNvSpPr>
          <p:nvPr>
            <p:ph type="body" idx="17"/>
          </p:nvPr>
        </p:nvSpPr>
        <p:spPr>
          <a:xfrm>
            <a:off x="9156192" y="4584192"/>
            <a:ext cx="1536000" cy="231600"/>
          </a:xfrm>
          <a:prstGeom prst="rect">
            <a:avLst/>
          </a:prstGeom>
        </p:spPr>
        <p:txBody>
          <a:bodyPr spcFirstLastPara="1" wrap="square" lIns="45700" tIns="18275" rIns="45700" bIns="18275" anchor="t" anchorCtr="0">
            <a:noAutofit/>
          </a:bodyPr>
          <a:lstStyle>
            <a:lvl1pPr marL="0" lvl="0" indent="0" rtl="0">
              <a:lnSpc>
                <a:spcPct val="100000"/>
              </a:lnSpc>
              <a:spcBef>
                <a:spcPts val="0"/>
              </a:spcBef>
              <a:spcAft>
                <a:spcPts val="0"/>
              </a:spcAft>
              <a:buSzPts val="800"/>
              <a:buNone/>
              <a:defRPr sz="1067" b="1" i="0">
                <a:solidFill>
                  <a:schemeClr val="bg1"/>
                </a:solidFill>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41" name="Google Shape;529;p35">
            <a:extLst>
              <a:ext uri="{FF2B5EF4-FFF2-40B4-BE49-F238E27FC236}">
                <a16:creationId xmlns:a16="http://schemas.microsoft.com/office/drawing/2014/main" id="{085155D3-6D50-BC48-B24E-D152D538DC6F}"/>
              </a:ext>
            </a:extLst>
          </p:cNvPr>
          <p:cNvSpPr>
            <a:spLocks noGrp="1"/>
          </p:cNvSpPr>
          <p:nvPr>
            <p:ph type="pic" idx="18"/>
          </p:nvPr>
        </p:nvSpPr>
        <p:spPr>
          <a:xfrm>
            <a:off x="9408249" y="1556504"/>
            <a:ext cx="304800" cy="304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42" name="Google Shape;529;p35">
            <a:extLst>
              <a:ext uri="{FF2B5EF4-FFF2-40B4-BE49-F238E27FC236}">
                <a16:creationId xmlns:a16="http://schemas.microsoft.com/office/drawing/2014/main" id="{0F57517A-1D54-1C4D-8A53-3CCD9BDD841B}"/>
              </a:ext>
            </a:extLst>
          </p:cNvPr>
          <p:cNvSpPr>
            <a:spLocks noGrp="1"/>
          </p:cNvSpPr>
          <p:nvPr>
            <p:ph type="pic" idx="19"/>
          </p:nvPr>
        </p:nvSpPr>
        <p:spPr>
          <a:xfrm>
            <a:off x="9408249" y="3931157"/>
            <a:ext cx="304800" cy="304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43" name="Google Shape;529;p35">
            <a:extLst>
              <a:ext uri="{FF2B5EF4-FFF2-40B4-BE49-F238E27FC236}">
                <a16:creationId xmlns:a16="http://schemas.microsoft.com/office/drawing/2014/main" id="{9F272546-E8C9-8C49-925B-DA02BC04B96C}"/>
              </a:ext>
            </a:extLst>
          </p:cNvPr>
          <p:cNvSpPr>
            <a:spLocks noGrp="1"/>
          </p:cNvSpPr>
          <p:nvPr>
            <p:ph type="pic" idx="20"/>
          </p:nvPr>
        </p:nvSpPr>
        <p:spPr>
          <a:xfrm>
            <a:off x="6785420" y="3925293"/>
            <a:ext cx="304800" cy="304800"/>
          </a:xfrm>
          <a:prstGeom prst="ellipse">
            <a:avLst/>
          </a:prstGeom>
          <a:noFill/>
          <a:ln>
            <a:noFill/>
          </a:ln>
        </p:spPr>
        <p:txBody>
          <a:bodyPr anchor="ctr"/>
          <a:lstStyle>
            <a:lvl1pPr marL="0" indent="0" algn="ctr">
              <a:buNone/>
              <a:defRPr sz="400" b="0" i="0">
                <a:latin typeface="Helvetica" pitchFamily="2" charset="0"/>
              </a:defRPr>
            </a:lvl1pPr>
          </a:lstStyle>
          <a:p>
            <a:endParaRPr lang="en-US"/>
          </a:p>
        </p:txBody>
      </p:sp>
      <p:sp>
        <p:nvSpPr>
          <p:cNvPr id="44" name="Google Shape;268;p27">
            <a:extLst>
              <a:ext uri="{FF2B5EF4-FFF2-40B4-BE49-F238E27FC236}">
                <a16:creationId xmlns:a16="http://schemas.microsoft.com/office/drawing/2014/main" id="{2A6E29A0-D670-464E-AA55-EA5B586AC6CB}"/>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45" name="Google Shape;67;p15">
            <a:extLst>
              <a:ext uri="{FF2B5EF4-FFF2-40B4-BE49-F238E27FC236}">
                <a16:creationId xmlns:a16="http://schemas.microsoft.com/office/drawing/2014/main" id="{DB2924D4-10FD-B348-BB9C-408508AD0696}"/>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46" name="Google Shape;56;p14">
            <a:extLst>
              <a:ext uri="{FF2B5EF4-FFF2-40B4-BE49-F238E27FC236}">
                <a16:creationId xmlns:a16="http://schemas.microsoft.com/office/drawing/2014/main" id="{4B24C25B-26C7-8741-9631-A0B4753F4E2A}"/>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368458066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matchingName="Monitor Graphic" preserve="1">
  <p:cSld name="Monitor Graphic">
    <p:spTree>
      <p:nvGrpSpPr>
        <p:cNvPr id="1" name="Shape 541"/>
        <p:cNvGrpSpPr/>
        <p:nvPr/>
      </p:nvGrpSpPr>
      <p:grpSpPr>
        <a:xfrm>
          <a:off x="0" y="0"/>
          <a:ext cx="0" cy="0"/>
          <a:chOff x="0" y="0"/>
          <a:chExt cx="0" cy="0"/>
        </a:xfrm>
      </p:grpSpPr>
      <p:sp>
        <p:nvSpPr>
          <p:cNvPr id="545" name="Google Shape;545;p36"/>
          <p:cNvSpPr/>
          <p:nvPr/>
        </p:nvSpPr>
        <p:spPr>
          <a:xfrm>
            <a:off x="-2658759" y="-532000"/>
            <a:ext cx="8552400" cy="8539200"/>
          </a:xfrm>
          <a:prstGeom prst="ellipse">
            <a:avLst/>
          </a:prstGeom>
          <a:gradFill>
            <a:gsLst>
              <a:gs pos="0">
                <a:schemeClr val="accent3"/>
              </a:gs>
              <a:gs pos="72000">
                <a:srgbClr val="D59DFF">
                  <a:alpha val="0"/>
                </a:srgbClr>
              </a:gs>
              <a:gs pos="100000">
                <a:srgbClr val="D59DFF">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546" name="Google Shape;546;p36"/>
          <p:cNvCxnSpPr/>
          <p:nvPr/>
        </p:nvCxnSpPr>
        <p:spPr>
          <a:xfrm>
            <a:off x="7439079" y="1194737"/>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547" name="Google Shape;547;p36"/>
          <p:cNvPicPr preferRelativeResize="0"/>
          <p:nvPr/>
        </p:nvPicPr>
        <p:blipFill rotWithShape="1">
          <a:blip r:embed="rId2">
            <a:alphaModFix amt="30000"/>
          </a:blip>
          <a:srcRect/>
          <a:stretch/>
        </p:blipFill>
        <p:spPr>
          <a:xfrm>
            <a:off x="-4192615" y="773646"/>
            <a:ext cx="5016492" cy="5016492"/>
          </a:xfrm>
          <a:prstGeom prst="rect">
            <a:avLst/>
          </a:prstGeom>
          <a:noFill/>
          <a:ln>
            <a:noFill/>
          </a:ln>
        </p:spPr>
      </p:pic>
      <p:pic>
        <p:nvPicPr>
          <p:cNvPr id="548" name="Google Shape;548;p36"/>
          <p:cNvPicPr preferRelativeResize="0"/>
          <p:nvPr/>
        </p:nvPicPr>
        <p:blipFill rotWithShape="1">
          <a:blip r:embed="rId2">
            <a:alphaModFix amt="30000"/>
          </a:blip>
          <a:srcRect/>
          <a:stretch/>
        </p:blipFill>
        <p:spPr>
          <a:xfrm>
            <a:off x="11424826" y="773646"/>
            <a:ext cx="5016492" cy="5016492"/>
          </a:xfrm>
          <a:prstGeom prst="rect">
            <a:avLst/>
          </a:prstGeom>
          <a:noFill/>
          <a:ln>
            <a:noFill/>
          </a:ln>
        </p:spPr>
      </p:pic>
      <p:sp>
        <p:nvSpPr>
          <p:cNvPr id="549" name="Google Shape;549;p36"/>
          <p:cNvSpPr txBox="1">
            <a:spLocks noGrp="1"/>
          </p:cNvSpPr>
          <p:nvPr>
            <p:ph type="subTitle" idx="1"/>
          </p:nvPr>
        </p:nvSpPr>
        <p:spPr>
          <a:xfrm>
            <a:off x="7388352" y="938784"/>
            <a:ext cx="4035600" cy="207200"/>
          </a:xfrm>
          <a:prstGeom prst="rect">
            <a:avLst/>
          </a:prstGeom>
        </p:spPr>
        <p:txBody>
          <a:bodyPr spcFirstLastPara="1" wrap="square" lIns="45700" tIns="18275" rIns="45700" bIns="18275" anchor="t" anchorCtr="0">
            <a:noAutofit/>
          </a:bodyPr>
          <a:lstStyle>
            <a:lvl1pPr marL="0" lvl="0" rtl="0">
              <a:lnSpc>
                <a:spcPct val="100000"/>
              </a:lnSpc>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550" name="Google Shape;550;p36"/>
          <p:cNvSpPr txBox="1">
            <a:spLocks noGrp="1"/>
          </p:cNvSpPr>
          <p:nvPr>
            <p:ph type="title"/>
          </p:nvPr>
        </p:nvSpPr>
        <p:spPr>
          <a:xfrm>
            <a:off x="7388352" y="1584960"/>
            <a:ext cx="3243200" cy="1036400"/>
          </a:xfrm>
          <a:prstGeom prst="rect">
            <a:avLst/>
          </a:prstGeom>
        </p:spPr>
        <p:txBody>
          <a:bodyPr spcFirstLastPara="1" wrap="square" lIns="45700" tIns="18275" rIns="45700" bIns="18275" anchor="t" anchorCtr="0">
            <a:noAutofit/>
          </a:bodyPr>
          <a:lstStyle>
            <a:lvl1pPr lvl="0" rtl="0">
              <a:spcBef>
                <a:spcPts val="0"/>
              </a:spcBef>
              <a:spcAft>
                <a:spcPts val="0"/>
              </a:spcAft>
              <a:buSzPts val="1700"/>
              <a:buNone/>
              <a:defRPr sz="2267" b="0"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51" name="Google Shape;551;p36"/>
          <p:cNvSpPr txBox="1">
            <a:spLocks noGrp="1"/>
          </p:cNvSpPr>
          <p:nvPr>
            <p:ph type="body" idx="2"/>
          </p:nvPr>
        </p:nvSpPr>
        <p:spPr>
          <a:xfrm>
            <a:off x="7388352" y="3389376"/>
            <a:ext cx="3243200" cy="212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12" name="Google Shape;268;p27">
            <a:extLst>
              <a:ext uri="{FF2B5EF4-FFF2-40B4-BE49-F238E27FC236}">
                <a16:creationId xmlns:a16="http://schemas.microsoft.com/office/drawing/2014/main" id="{268F1A49-11B7-8F40-B03E-43CCD03FF414}"/>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13" name="Google Shape;67;p15">
            <a:extLst>
              <a:ext uri="{FF2B5EF4-FFF2-40B4-BE49-F238E27FC236}">
                <a16:creationId xmlns:a16="http://schemas.microsoft.com/office/drawing/2014/main" id="{5ECC4230-B1D7-1545-A24E-C3E5EC1F8A3C}"/>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4" name="Google Shape;56;p14">
            <a:extLst>
              <a:ext uri="{FF2B5EF4-FFF2-40B4-BE49-F238E27FC236}">
                <a16:creationId xmlns:a16="http://schemas.microsoft.com/office/drawing/2014/main" id="{F760CE51-D62A-224A-AA46-37F49A02E050}"/>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6128359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matchingName="Left-side Copy" preserve="1">
  <p:cSld name="Left-side Copy">
    <p:spTree>
      <p:nvGrpSpPr>
        <p:cNvPr id="1" name="Shape 552"/>
        <p:cNvGrpSpPr/>
        <p:nvPr/>
      </p:nvGrpSpPr>
      <p:grpSpPr>
        <a:xfrm>
          <a:off x="0" y="0"/>
          <a:ext cx="0" cy="0"/>
          <a:chOff x="0" y="0"/>
          <a:chExt cx="0" cy="0"/>
        </a:xfrm>
      </p:grpSpPr>
      <p:sp>
        <p:nvSpPr>
          <p:cNvPr id="556" name="Google Shape;556;p37"/>
          <p:cNvSpPr/>
          <p:nvPr/>
        </p:nvSpPr>
        <p:spPr>
          <a:xfrm>
            <a:off x="8095955" y="1860436"/>
            <a:ext cx="1818000" cy="1345200"/>
          </a:xfrm>
          <a:prstGeom prst="roundRect">
            <a:avLst>
              <a:gd name="adj" fmla="val 6753"/>
            </a:avLst>
          </a:prstGeom>
          <a:gradFill>
            <a:gsLst>
              <a:gs pos="0">
                <a:srgbClr val="1F9CF0"/>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sp>
        <p:nvSpPr>
          <p:cNvPr id="557" name="Google Shape;557;p37"/>
          <p:cNvSpPr/>
          <p:nvPr/>
        </p:nvSpPr>
        <p:spPr>
          <a:xfrm>
            <a:off x="6515736" y="3938993"/>
            <a:ext cx="1328800" cy="983200"/>
          </a:xfrm>
          <a:prstGeom prst="roundRect">
            <a:avLst>
              <a:gd name="adj" fmla="val 6753"/>
            </a:avLst>
          </a:prstGeom>
          <a:gradFill>
            <a:gsLst>
              <a:gs pos="0">
                <a:schemeClr val="accent2"/>
              </a:gs>
              <a:gs pos="100000">
                <a:srgbClr val="9477E2">
                  <a:alpha val="0"/>
                </a:srgbClr>
              </a:gs>
            </a:gsLst>
            <a:lin ang="2700006" scaled="0"/>
          </a:gradFill>
          <a:ln>
            <a:noFill/>
          </a:ln>
        </p:spPr>
        <p:txBody>
          <a:bodyPr spcFirstLastPara="1" wrap="square" lIns="57200" tIns="28600" rIns="57200" bIns="286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0" i="0" u="none" strike="noStrike" kern="1200" cap="none" spc="0" normalizeH="0" baseline="0" noProof="0">
              <a:ln>
                <a:noFill/>
              </a:ln>
              <a:solidFill>
                <a:srgbClr val="FFFFFF"/>
              </a:solidFill>
              <a:effectLst/>
              <a:uLnTx/>
              <a:uFillTx/>
              <a:latin typeface="Helvetica" pitchFamily="2" charset="0"/>
              <a:ea typeface="Calibri"/>
              <a:cs typeface="Calibri"/>
              <a:sym typeface="Calibri"/>
            </a:endParaRPr>
          </a:p>
        </p:txBody>
      </p:sp>
      <p:cxnSp>
        <p:nvCxnSpPr>
          <p:cNvPr id="558" name="Google Shape;558;p37"/>
          <p:cNvCxnSpPr/>
          <p:nvPr/>
        </p:nvCxnSpPr>
        <p:spPr>
          <a:xfrm>
            <a:off x="1115295" y="983141"/>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559" name="Google Shape;559;p37"/>
          <p:cNvPicPr preferRelativeResize="0"/>
          <p:nvPr/>
        </p:nvPicPr>
        <p:blipFill rotWithShape="1">
          <a:blip r:embed="rId2">
            <a:alphaModFix amt="30000"/>
          </a:blip>
          <a:srcRect/>
          <a:stretch/>
        </p:blipFill>
        <p:spPr>
          <a:xfrm>
            <a:off x="-4192615" y="773646"/>
            <a:ext cx="5016492" cy="5016492"/>
          </a:xfrm>
          <a:prstGeom prst="rect">
            <a:avLst/>
          </a:prstGeom>
          <a:noFill/>
          <a:ln>
            <a:noFill/>
          </a:ln>
        </p:spPr>
      </p:pic>
      <p:pic>
        <p:nvPicPr>
          <p:cNvPr id="560" name="Google Shape;560;p37"/>
          <p:cNvPicPr preferRelativeResize="0"/>
          <p:nvPr/>
        </p:nvPicPr>
        <p:blipFill rotWithShape="1">
          <a:blip r:embed="rId2">
            <a:alphaModFix amt="30000"/>
          </a:blip>
          <a:srcRect/>
          <a:stretch/>
        </p:blipFill>
        <p:spPr>
          <a:xfrm>
            <a:off x="9068357" y="773646"/>
            <a:ext cx="5016492" cy="5016492"/>
          </a:xfrm>
          <a:prstGeom prst="rect">
            <a:avLst/>
          </a:prstGeom>
          <a:noFill/>
          <a:ln>
            <a:noFill/>
          </a:ln>
        </p:spPr>
      </p:pic>
      <p:sp>
        <p:nvSpPr>
          <p:cNvPr id="561" name="Google Shape;561;p37"/>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a:lnSpc>
                <a:spcPct val="100000"/>
              </a:lnSpc>
              <a:spcBef>
                <a:spcPts val="0"/>
              </a:spcBef>
              <a:spcAft>
                <a:spcPts val="0"/>
              </a:spcAft>
              <a:buSzPts val="800"/>
              <a:buNone/>
              <a:defRPr sz="1067"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a:p>
        </p:txBody>
      </p:sp>
      <p:sp>
        <p:nvSpPr>
          <p:cNvPr id="562" name="Google Shape;562;p37"/>
          <p:cNvSpPr txBox="1">
            <a:spLocks noGrp="1"/>
          </p:cNvSpPr>
          <p:nvPr>
            <p:ph type="title"/>
          </p:nvPr>
        </p:nvSpPr>
        <p:spPr>
          <a:xfrm>
            <a:off x="1072896" y="1377696"/>
            <a:ext cx="3243200" cy="1036400"/>
          </a:xfrm>
          <a:prstGeom prst="rect">
            <a:avLst/>
          </a:prstGeom>
        </p:spPr>
        <p:txBody>
          <a:bodyPr spcFirstLastPara="1" wrap="square" lIns="45700" tIns="18275" rIns="45700" bIns="18275" anchor="t" anchorCtr="0">
            <a:noAutofit/>
          </a:bodyPr>
          <a:lstStyle>
            <a:lvl1pPr lvl="0">
              <a:spcBef>
                <a:spcPts val="0"/>
              </a:spcBef>
              <a:spcAft>
                <a:spcPts val="0"/>
              </a:spcAft>
              <a:buSzPts val="1700"/>
              <a:buNone/>
              <a:defRPr sz="2267" b="0"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3" name="Google Shape;563;p37"/>
          <p:cNvSpPr txBox="1">
            <a:spLocks noGrp="1"/>
          </p:cNvSpPr>
          <p:nvPr>
            <p:ph type="body" idx="2"/>
          </p:nvPr>
        </p:nvSpPr>
        <p:spPr>
          <a:xfrm>
            <a:off x="1072896" y="3182112"/>
            <a:ext cx="3243200" cy="21216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13" name="Google Shape;268;p27">
            <a:extLst>
              <a:ext uri="{FF2B5EF4-FFF2-40B4-BE49-F238E27FC236}">
                <a16:creationId xmlns:a16="http://schemas.microsoft.com/office/drawing/2014/main" id="{4E669A2D-7E59-9049-9F3F-0BD200EFF36C}"/>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14" name="Google Shape;67;p15">
            <a:extLst>
              <a:ext uri="{FF2B5EF4-FFF2-40B4-BE49-F238E27FC236}">
                <a16:creationId xmlns:a16="http://schemas.microsoft.com/office/drawing/2014/main" id="{B560FB97-8D77-9349-A3B4-AF64D75E5332}"/>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15" name="Google Shape;56;p14">
            <a:extLst>
              <a:ext uri="{FF2B5EF4-FFF2-40B4-BE49-F238E27FC236}">
                <a16:creationId xmlns:a16="http://schemas.microsoft.com/office/drawing/2014/main" id="{C712E68A-58EE-284C-8932-960C77BBA975}"/>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33940727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matchingName="Right-Side Copy" preserve="1">
  <p:cSld name="Right-Side Copy">
    <p:spTree>
      <p:nvGrpSpPr>
        <p:cNvPr id="1" name="Shape 594"/>
        <p:cNvGrpSpPr/>
        <p:nvPr/>
      </p:nvGrpSpPr>
      <p:grpSpPr>
        <a:xfrm>
          <a:off x="0" y="0"/>
          <a:ext cx="0" cy="0"/>
          <a:chOff x="0" y="0"/>
          <a:chExt cx="0" cy="0"/>
        </a:xfrm>
      </p:grpSpPr>
      <p:pic>
        <p:nvPicPr>
          <p:cNvPr id="598" name="Google Shape;598;p39"/>
          <p:cNvPicPr preferRelativeResize="0"/>
          <p:nvPr/>
        </p:nvPicPr>
        <p:blipFill>
          <a:blip r:embed="rId2">
            <a:alphaModFix/>
          </a:blip>
          <a:stretch>
            <a:fillRect/>
          </a:stretch>
        </p:blipFill>
        <p:spPr>
          <a:xfrm>
            <a:off x="-6206734" y="-1465367"/>
            <a:ext cx="9788731" cy="9788731"/>
          </a:xfrm>
          <a:prstGeom prst="rect">
            <a:avLst/>
          </a:prstGeom>
          <a:noFill/>
          <a:ln>
            <a:noFill/>
          </a:ln>
        </p:spPr>
      </p:pic>
      <p:sp>
        <p:nvSpPr>
          <p:cNvPr id="12" name="Google Shape;268;p27">
            <a:extLst>
              <a:ext uri="{FF2B5EF4-FFF2-40B4-BE49-F238E27FC236}">
                <a16:creationId xmlns:a16="http://schemas.microsoft.com/office/drawing/2014/main" id="{3C755F27-DA08-304E-BFC4-543F651D9379}"/>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13" name="Google Shape;67;p15">
            <a:extLst>
              <a:ext uri="{FF2B5EF4-FFF2-40B4-BE49-F238E27FC236}">
                <a16:creationId xmlns:a16="http://schemas.microsoft.com/office/drawing/2014/main" id="{F9E1473B-9611-444E-B16A-C1BD19C6ECA1}"/>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pic>
        <p:nvPicPr>
          <p:cNvPr id="599" name="Google Shape;599;p39"/>
          <p:cNvPicPr preferRelativeResize="0"/>
          <p:nvPr/>
        </p:nvPicPr>
        <p:blipFill rotWithShape="1">
          <a:blip r:embed="rId3">
            <a:alphaModFix amt="30000"/>
          </a:blip>
          <a:srcRect/>
          <a:stretch/>
        </p:blipFill>
        <p:spPr>
          <a:xfrm>
            <a:off x="-160795" y="920754"/>
            <a:ext cx="5016492" cy="5016492"/>
          </a:xfrm>
          <a:prstGeom prst="rect">
            <a:avLst/>
          </a:prstGeom>
          <a:noFill/>
          <a:ln>
            <a:noFill/>
          </a:ln>
        </p:spPr>
      </p:pic>
      <p:pic>
        <p:nvPicPr>
          <p:cNvPr id="600" name="Google Shape;600;p39"/>
          <p:cNvPicPr preferRelativeResize="0"/>
          <p:nvPr/>
        </p:nvPicPr>
        <p:blipFill>
          <a:blip r:embed="rId4">
            <a:alphaModFix/>
          </a:blip>
          <a:stretch>
            <a:fillRect/>
          </a:stretch>
        </p:blipFill>
        <p:spPr>
          <a:xfrm>
            <a:off x="2612367" y="418534"/>
            <a:ext cx="2463633" cy="2463633"/>
          </a:xfrm>
          <a:prstGeom prst="rect">
            <a:avLst/>
          </a:prstGeom>
          <a:noFill/>
          <a:ln>
            <a:noFill/>
          </a:ln>
        </p:spPr>
      </p:pic>
      <p:cxnSp>
        <p:nvCxnSpPr>
          <p:cNvPr id="601" name="Google Shape;601;p39"/>
          <p:cNvCxnSpPr/>
          <p:nvPr/>
        </p:nvCxnSpPr>
        <p:spPr>
          <a:xfrm>
            <a:off x="5917645" y="1244391"/>
            <a:ext cx="2760400" cy="0"/>
          </a:xfrm>
          <a:prstGeom prst="straightConnector1">
            <a:avLst/>
          </a:prstGeom>
          <a:noFill/>
          <a:ln w="12700" cap="flat" cmpd="sng">
            <a:solidFill>
              <a:srgbClr val="627597"/>
            </a:solidFill>
            <a:prstDash val="solid"/>
            <a:miter lim="800000"/>
            <a:headEnd type="none" w="sm" len="sm"/>
            <a:tailEnd type="none" w="sm" len="sm"/>
          </a:ln>
        </p:spPr>
      </p:cxnSp>
      <p:sp>
        <p:nvSpPr>
          <p:cNvPr id="602" name="Google Shape;602;p39"/>
          <p:cNvSpPr txBox="1">
            <a:spLocks noGrp="1"/>
          </p:cNvSpPr>
          <p:nvPr>
            <p:ph type="subTitle" idx="1"/>
          </p:nvPr>
        </p:nvSpPr>
        <p:spPr>
          <a:xfrm>
            <a:off x="5876544" y="999744"/>
            <a:ext cx="4035600" cy="207200"/>
          </a:xfrm>
          <a:prstGeom prst="rect">
            <a:avLst/>
          </a:prstGeom>
        </p:spPr>
        <p:txBody>
          <a:bodyPr spcFirstLastPara="1" wrap="square" lIns="45700" tIns="18275" rIns="45700" bIns="18275" anchor="t" anchorCtr="0">
            <a:noAutofit/>
          </a:bodyPr>
          <a:lstStyle>
            <a:lvl1pPr marL="0" lvl="0">
              <a:spcBef>
                <a:spcPts val="0"/>
              </a:spcBef>
              <a:spcAft>
                <a:spcPts val="0"/>
              </a:spcAft>
              <a:buSzPts val="800"/>
              <a:buNone/>
              <a:defRPr sz="1067" b="0" i="0">
                <a:latin typeface="Helvetica" pitchFamily="2" charset="0"/>
              </a:defRPr>
            </a:lvl1pPr>
            <a:lvl2pPr lvl="1">
              <a:spcBef>
                <a:spcPts val="0"/>
              </a:spcBef>
              <a:spcAft>
                <a:spcPts val="0"/>
              </a:spcAft>
              <a:buSzPts val="1000"/>
              <a:buNone/>
              <a:defRPr/>
            </a:lvl2pPr>
            <a:lvl3pPr lvl="2">
              <a:spcBef>
                <a:spcPts val="0"/>
              </a:spcBef>
              <a:spcAft>
                <a:spcPts val="0"/>
              </a:spcAft>
              <a:buSzPts val="1000"/>
              <a:buNone/>
              <a:defRPr/>
            </a:lvl3pPr>
            <a:lvl4pPr lvl="3">
              <a:spcBef>
                <a:spcPts val="0"/>
              </a:spcBef>
              <a:spcAft>
                <a:spcPts val="0"/>
              </a:spcAft>
              <a:buSzPts val="1000"/>
              <a:buNone/>
              <a:defRPr/>
            </a:lvl4pPr>
            <a:lvl5pPr lvl="4">
              <a:spcBef>
                <a:spcPts val="0"/>
              </a:spcBef>
              <a:spcAft>
                <a:spcPts val="0"/>
              </a:spcAft>
              <a:buSzPts val="1000"/>
              <a:buNone/>
              <a:defRPr/>
            </a:lvl5pPr>
            <a:lvl6pPr lvl="5">
              <a:spcBef>
                <a:spcPts val="0"/>
              </a:spcBef>
              <a:spcAft>
                <a:spcPts val="0"/>
              </a:spcAft>
              <a:buSzPts val="1000"/>
              <a:buNone/>
              <a:defRPr/>
            </a:lvl6pPr>
            <a:lvl7pPr lvl="6">
              <a:spcBef>
                <a:spcPts val="0"/>
              </a:spcBef>
              <a:spcAft>
                <a:spcPts val="0"/>
              </a:spcAft>
              <a:buSzPts val="1000"/>
              <a:buNone/>
              <a:defRPr/>
            </a:lvl7pPr>
            <a:lvl8pPr lvl="7">
              <a:spcBef>
                <a:spcPts val="0"/>
              </a:spcBef>
              <a:spcAft>
                <a:spcPts val="0"/>
              </a:spcAft>
              <a:buSzPts val="1000"/>
              <a:buNone/>
              <a:defRPr/>
            </a:lvl8pPr>
            <a:lvl9pPr lvl="8">
              <a:spcBef>
                <a:spcPts val="0"/>
              </a:spcBef>
              <a:spcAft>
                <a:spcPts val="0"/>
              </a:spcAft>
              <a:buSzPts val="1000"/>
              <a:buNone/>
              <a:defRPr/>
            </a:lvl9pPr>
          </a:lstStyle>
          <a:p>
            <a:endParaRPr/>
          </a:p>
        </p:txBody>
      </p:sp>
      <p:sp>
        <p:nvSpPr>
          <p:cNvPr id="603" name="Google Shape;603;p39"/>
          <p:cNvSpPr txBox="1">
            <a:spLocks noGrp="1"/>
          </p:cNvSpPr>
          <p:nvPr>
            <p:ph type="title"/>
          </p:nvPr>
        </p:nvSpPr>
        <p:spPr>
          <a:xfrm>
            <a:off x="5852160" y="1548384"/>
            <a:ext cx="43768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 name="Google Shape;604;p39"/>
          <p:cNvSpPr txBox="1">
            <a:spLocks noGrp="1"/>
          </p:cNvSpPr>
          <p:nvPr>
            <p:ph type="body" idx="2"/>
          </p:nvPr>
        </p:nvSpPr>
        <p:spPr>
          <a:xfrm>
            <a:off x="5852160" y="3048000"/>
            <a:ext cx="4035600" cy="25360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14" name="Google Shape;56;p14">
            <a:extLst>
              <a:ext uri="{FF2B5EF4-FFF2-40B4-BE49-F238E27FC236}">
                <a16:creationId xmlns:a16="http://schemas.microsoft.com/office/drawing/2014/main" id="{F707527A-2278-AD4B-BFC1-AC37DFB1F555}"/>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60767119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COVER BACKGROU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8120D6-8347-794E-B139-F37EEA261A46}"/>
              </a:ext>
            </a:extLst>
          </p:cNvPr>
          <p:cNvSpPr/>
          <p:nvPr userDrawn="1"/>
        </p:nvSpPr>
        <p:spPr>
          <a:xfrm>
            <a:off x="0" y="1"/>
            <a:ext cx="12192000" cy="6857999"/>
          </a:xfrm>
          <a:prstGeom prst="rect">
            <a:avLst/>
          </a:prstGeom>
          <a:gradFill flip="none" rotWithShape="1">
            <a:gsLst>
              <a:gs pos="67000">
                <a:srgbClr val="1B1D30">
                  <a:alpha val="58000"/>
                </a:srgbClr>
              </a:gs>
              <a:gs pos="100000">
                <a:srgbClr val="2E3252">
                  <a:alpha val="0"/>
                </a:srgbClr>
              </a:gs>
              <a:gs pos="15000">
                <a:srgbClr val="161828"/>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srgbClr val="FFFFFF"/>
              </a:solidFill>
              <a:effectLst/>
              <a:uLnTx/>
              <a:uFillTx/>
              <a:latin typeface="Arial"/>
              <a:ea typeface="+mn-ea"/>
              <a:cs typeface="+mn-cs"/>
            </a:endParaRPr>
          </a:p>
        </p:txBody>
      </p:sp>
      <p:cxnSp>
        <p:nvCxnSpPr>
          <p:cNvPr id="3" name="Straight Connector 2">
            <a:extLst>
              <a:ext uri="{FF2B5EF4-FFF2-40B4-BE49-F238E27FC236}">
                <a16:creationId xmlns:a16="http://schemas.microsoft.com/office/drawing/2014/main" id="{4208A27C-250D-5645-8D7F-C2C259BD6246}"/>
              </a:ext>
            </a:extLst>
          </p:cNvPr>
          <p:cNvCxnSpPr>
            <a:cxnSpLocks/>
          </p:cNvCxnSpPr>
          <p:nvPr userDrawn="1"/>
        </p:nvCxnSpPr>
        <p:spPr>
          <a:xfrm>
            <a:off x="840270" y="6377214"/>
            <a:ext cx="11350923" cy="0"/>
          </a:xfrm>
          <a:prstGeom prst="line">
            <a:avLst/>
          </a:prstGeom>
          <a:ln w="12700">
            <a:solidFill>
              <a:srgbClr val="627597"/>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B4EF941-4A5E-7648-8DB6-246D20227A32}"/>
              </a:ext>
            </a:extLst>
          </p:cNvPr>
          <p:cNvSpPr/>
          <p:nvPr userDrawn="1"/>
        </p:nvSpPr>
        <p:spPr>
          <a:xfrm>
            <a:off x="789258" y="6534431"/>
            <a:ext cx="4794455" cy="19717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6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MICROSOFT DEV BOX</a:t>
            </a:r>
            <a:endParaRPr kumimoji="0" lang="en-US" sz="6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
        <p:nvSpPr>
          <p:cNvPr id="5" name="Rectangle 4">
            <a:extLst>
              <a:ext uri="{FF2B5EF4-FFF2-40B4-BE49-F238E27FC236}">
                <a16:creationId xmlns:a16="http://schemas.microsoft.com/office/drawing/2014/main" id="{DE2E1DFE-61BD-AD43-94CE-AE6DD4A62E89}"/>
              </a:ext>
            </a:extLst>
          </p:cNvPr>
          <p:cNvSpPr/>
          <p:nvPr userDrawn="1"/>
        </p:nvSpPr>
        <p:spPr>
          <a:xfrm>
            <a:off x="7266884" y="6534432"/>
            <a:ext cx="4794455" cy="166352"/>
          </a:xfrm>
          <a:prstGeom prst="rect">
            <a:avLst/>
          </a:prstGeom>
        </p:spPr>
        <p:txBody>
          <a:bodyPr wrap="square">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D4F9CC37-649C-A24D-8487-AF6F4FDCA213}" type="slidenum">
              <a:rPr kumimoji="0" lang="en-US" sz="625" b="0" i="0" u="none" strike="noStrike" kern="1200" cap="none" spc="375" normalizeH="0" baseline="0" noProof="0" smtClean="0">
                <a:ln>
                  <a:noFill/>
                </a:ln>
                <a:solidFill>
                  <a:srgbClr val="FFFFFF"/>
                </a:solidFill>
                <a:effectLst/>
                <a:uLnTx/>
                <a:uFillTx/>
                <a:latin typeface="Helvetica" pitchFamily="2" charset="0"/>
                <a:ea typeface="+mn-ea"/>
                <a:cs typeface="Segoe UI Light" panose="020B0502040204020203" pitchFamily="34" charset="0"/>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lang="en-US" sz="625" b="0" i="0" u="none" strike="noStrike" kern="1200" cap="none" spc="375" normalizeH="0" baseline="0" noProof="0">
              <a:ln>
                <a:noFill/>
              </a:ln>
              <a:solidFill>
                <a:srgbClr val="FFFFFF"/>
              </a:solidFill>
              <a:effectLst/>
              <a:uLnTx/>
              <a:uFillTx/>
              <a:latin typeface="Helvetica" pitchFamily="2" charset="0"/>
              <a:ea typeface="+mn-ea"/>
              <a:cs typeface="Segoe UI Light" panose="020B0502040204020203" pitchFamily="34" charset="0"/>
            </a:endParaRPr>
          </a:p>
        </p:txBody>
      </p:sp>
      <p:sp>
        <p:nvSpPr>
          <p:cNvPr id="2" name="Title 1">
            <a:extLst>
              <a:ext uri="{FF2B5EF4-FFF2-40B4-BE49-F238E27FC236}">
                <a16:creationId xmlns:a16="http://schemas.microsoft.com/office/drawing/2014/main" id="{EF2E0AC5-6457-47B1-ADA9-40298FA07A33}"/>
              </a:ext>
            </a:extLst>
          </p:cNvPr>
          <p:cNvSpPr>
            <a:spLocks noGrp="1"/>
          </p:cNvSpPr>
          <p:nvPr>
            <p:ph type="title"/>
          </p:nvPr>
        </p:nvSpPr>
        <p:spPr>
          <a:xfrm>
            <a:off x="751256" y="553357"/>
            <a:ext cx="10678558" cy="705304"/>
          </a:xfrm>
          <a:prstGeom prst="rect">
            <a:avLst/>
          </a:prstGeom>
        </p:spPr>
        <p:txBody>
          <a:bodyPr anchor="ctr"/>
          <a:lstStyle>
            <a:lvl1pPr marL="0" indent="0" algn="l" defTabSz="912971" rtl="0" eaLnBrk="1" latinLnBrk="0" hangingPunct="1">
              <a:lnSpc>
                <a:spcPct val="90000"/>
              </a:lnSpc>
              <a:spcBef>
                <a:spcPts val="999"/>
              </a:spcBef>
              <a:buFont typeface="Arial" panose="020B0604020202020204" pitchFamily="34" charset="0"/>
              <a:buNone/>
              <a:defRPr lang="en-US" sz="4500" b="1" kern="1200" dirty="0">
                <a:solidFill>
                  <a:schemeClr val="bg1"/>
                </a:solidFill>
                <a:effectLst>
                  <a:outerShdw blurRad="1270000" dist="914400" dir="8100000" algn="tr" rotWithShape="0">
                    <a:prstClr val="black">
                      <a:alpha val="40000"/>
                    </a:prstClr>
                  </a:outerShdw>
                </a:effectLst>
                <a:latin typeface="Helvetica" pitchFamily="2" charset="0"/>
                <a:ea typeface="+mn-ea"/>
                <a:cs typeface="+mn-cs"/>
              </a:defRPr>
            </a:lvl1pPr>
          </a:lstStyle>
          <a:p>
            <a:r>
              <a:rPr lang="en-US"/>
              <a:t>Click to edit Master title style</a:t>
            </a:r>
          </a:p>
        </p:txBody>
      </p:sp>
    </p:spTree>
    <p:extLst>
      <p:ext uri="{BB962C8B-B14F-4D97-AF65-F5344CB8AC3E}">
        <p14:creationId xmlns:p14="http://schemas.microsoft.com/office/powerpoint/2010/main" val="4599055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3_FOOTER">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208A27C-250D-5645-8D7F-C2C259BD6246}"/>
              </a:ext>
            </a:extLst>
          </p:cNvPr>
          <p:cNvCxnSpPr>
            <a:cxnSpLocks/>
          </p:cNvCxnSpPr>
          <p:nvPr userDrawn="1"/>
        </p:nvCxnSpPr>
        <p:spPr>
          <a:xfrm>
            <a:off x="840270" y="6377214"/>
            <a:ext cx="11350923" cy="0"/>
          </a:xfrm>
          <a:prstGeom prst="line">
            <a:avLst/>
          </a:prstGeom>
          <a:ln w="12700">
            <a:solidFill>
              <a:srgbClr val="627597"/>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E2E1DFE-61BD-AD43-94CE-AE6DD4A62E89}"/>
              </a:ext>
            </a:extLst>
          </p:cNvPr>
          <p:cNvSpPr/>
          <p:nvPr userDrawn="1"/>
        </p:nvSpPr>
        <p:spPr>
          <a:xfrm>
            <a:off x="7266884" y="6534431"/>
            <a:ext cx="4794455" cy="197170"/>
          </a:xfrm>
          <a:prstGeom prst="rect">
            <a:avLst/>
          </a:prstGeom>
        </p:spPr>
        <p:txBody>
          <a:bodyPr wrap="square">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D4F9CC37-649C-A24D-8487-AF6F4FDCA213}" type="slidenum">
              <a:rPr kumimoji="0" lang="en-US" sz="625" b="0" i="0" u="none" strike="noStrike" kern="1200" cap="none" spc="375" normalizeH="0" baseline="0" noProof="0" smtClean="0">
                <a:ln>
                  <a:noFill/>
                </a:ln>
                <a:solidFill>
                  <a:srgbClr val="FFFFFF"/>
                </a:solidFill>
                <a:effectLst/>
                <a:uLnTx/>
                <a:uFillTx/>
                <a:latin typeface="Helvetica" pitchFamily="2" charset="0"/>
                <a:ea typeface="+mn-ea"/>
                <a:cs typeface="Segoe UI Light" panose="020B0502040204020203" pitchFamily="34" charset="0"/>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lang="en-US" sz="625" b="0" i="0" u="none" strike="noStrike" kern="1200" cap="none" spc="375" normalizeH="0" baseline="0" noProof="0">
              <a:ln>
                <a:noFill/>
              </a:ln>
              <a:solidFill>
                <a:srgbClr val="FFFFFF"/>
              </a:solidFill>
              <a:effectLst/>
              <a:uLnTx/>
              <a:uFillTx/>
              <a:latin typeface="Helvetica" pitchFamily="2" charset="0"/>
              <a:ea typeface="+mn-ea"/>
              <a:cs typeface="Segoe UI Light" panose="020B0502040204020203" pitchFamily="34" charset="0"/>
            </a:endParaRPr>
          </a:p>
        </p:txBody>
      </p:sp>
      <p:sp>
        <p:nvSpPr>
          <p:cNvPr id="6" name="Rectangle 5">
            <a:extLst>
              <a:ext uri="{FF2B5EF4-FFF2-40B4-BE49-F238E27FC236}">
                <a16:creationId xmlns:a16="http://schemas.microsoft.com/office/drawing/2014/main" id="{4B47B5B9-B01C-4E56-B86A-C3920C23A6EB}"/>
              </a:ext>
            </a:extLst>
          </p:cNvPr>
          <p:cNvSpPr/>
          <p:nvPr userDrawn="1"/>
        </p:nvSpPr>
        <p:spPr>
          <a:xfrm>
            <a:off x="789258" y="6534431"/>
            <a:ext cx="4794455" cy="19717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625"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RESILIENT APP DEVELOPMENT</a:t>
            </a:r>
            <a:endParaRPr kumimoji="0" lang="en-US" sz="625"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32339461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637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matchingName="Four Features - Bottom" preserve="1" userDrawn="1">
  <p:cSld name="Four Features - Bottom">
    <p:spTree>
      <p:nvGrpSpPr>
        <p:cNvPr id="1" name="Shape 564"/>
        <p:cNvGrpSpPr/>
        <p:nvPr/>
      </p:nvGrpSpPr>
      <p:grpSpPr>
        <a:xfrm>
          <a:off x="0" y="0"/>
          <a:ext cx="0" cy="0"/>
          <a:chOff x="0" y="0"/>
          <a:chExt cx="0" cy="0"/>
        </a:xfrm>
      </p:grpSpPr>
      <p:sp>
        <p:nvSpPr>
          <p:cNvPr id="37" name="Rectangle 36">
            <a:extLst>
              <a:ext uri="{FF2B5EF4-FFF2-40B4-BE49-F238E27FC236}">
                <a16:creationId xmlns:a16="http://schemas.microsoft.com/office/drawing/2014/main" id="{9D209D85-877F-4E76-B0C9-881DB269B6FB}"/>
              </a:ext>
            </a:extLst>
          </p:cNvPr>
          <p:cNvSpPr/>
          <p:nvPr userDrawn="1"/>
        </p:nvSpPr>
        <p:spPr bwMode="auto">
          <a:xfrm>
            <a:off x="1" y="487"/>
            <a:ext cx="7200789" cy="6857027"/>
          </a:xfrm>
          <a:prstGeom prst="rect">
            <a:avLst/>
          </a:prstGeom>
          <a:gradFill>
            <a:gsLst>
              <a:gs pos="0">
                <a:srgbClr val="1A1B20"/>
              </a:gs>
              <a:gs pos="99000">
                <a:srgbClr val="1A1B2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Google Shape;576;p38"/>
          <p:cNvPicPr preferRelativeResize="0"/>
          <p:nvPr/>
        </p:nvPicPr>
        <p:blipFill rotWithShape="1">
          <a:blip r:embed="rId2">
            <a:alphaModFix amt="30000"/>
          </a:blip>
          <a:srcRect/>
          <a:stretch/>
        </p:blipFill>
        <p:spPr>
          <a:xfrm>
            <a:off x="11153603" y="773646"/>
            <a:ext cx="5016492" cy="5016492"/>
          </a:xfrm>
          <a:prstGeom prst="rect">
            <a:avLst/>
          </a:prstGeom>
          <a:noFill/>
          <a:ln>
            <a:noFill/>
          </a:ln>
        </p:spPr>
      </p:pic>
      <p:cxnSp>
        <p:nvCxnSpPr>
          <p:cNvPr id="577" name="Google Shape;577;p38"/>
          <p:cNvCxnSpPr/>
          <p:nvPr/>
        </p:nvCxnSpPr>
        <p:spPr>
          <a:xfrm>
            <a:off x="1115295" y="983141"/>
            <a:ext cx="2760400" cy="0"/>
          </a:xfrm>
          <a:prstGeom prst="straightConnector1">
            <a:avLst/>
          </a:prstGeom>
          <a:noFill/>
          <a:ln w="12700" cap="flat" cmpd="sng">
            <a:solidFill>
              <a:srgbClr val="627597"/>
            </a:solidFill>
            <a:prstDash val="solid"/>
            <a:miter lim="800000"/>
            <a:headEnd type="none" w="sm" len="sm"/>
            <a:tailEnd type="none" w="sm" len="sm"/>
          </a:ln>
        </p:spPr>
      </p:cxnSp>
      <p:pic>
        <p:nvPicPr>
          <p:cNvPr id="578" name="Google Shape;578;p38"/>
          <p:cNvPicPr preferRelativeResize="0"/>
          <p:nvPr/>
        </p:nvPicPr>
        <p:blipFill rotWithShape="1">
          <a:blip r:embed="rId2">
            <a:alphaModFix amt="30000"/>
          </a:blip>
          <a:srcRect/>
          <a:stretch/>
        </p:blipFill>
        <p:spPr>
          <a:xfrm>
            <a:off x="-4225469" y="-2535898"/>
            <a:ext cx="5016492" cy="5016492"/>
          </a:xfrm>
          <a:prstGeom prst="rect">
            <a:avLst/>
          </a:prstGeom>
          <a:noFill/>
          <a:ln>
            <a:noFill/>
          </a:ln>
        </p:spPr>
      </p:pic>
      <p:sp>
        <p:nvSpPr>
          <p:cNvPr id="579" name="Google Shape;579;p38"/>
          <p:cNvSpPr txBox="1">
            <a:spLocks noGrp="1"/>
          </p:cNvSpPr>
          <p:nvPr>
            <p:ph type="subTitle" idx="1"/>
          </p:nvPr>
        </p:nvSpPr>
        <p:spPr>
          <a:xfrm>
            <a:off x="1072896" y="731520"/>
            <a:ext cx="4035600" cy="207200"/>
          </a:xfrm>
          <a:prstGeom prst="rect">
            <a:avLst/>
          </a:prstGeom>
        </p:spPr>
        <p:txBody>
          <a:bodyPr spcFirstLastPara="1" wrap="square" lIns="45700" tIns="18275" rIns="45700" bIns="18275" anchor="t" anchorCtr="0">
            <a:noAutofit/>
          </a:bodyPr>
          <a:lstStyle>
            <a:lvl1pPr marL="0" lvl="0" rtl="0">
              <a:spcBef>
                <a:spcPts val="0"/>
              </a:spcBef>
              <a:spcAft>
                <a:spcPts val="0"/>
              </a:spcAft>
              <a:buSzPts val="800"/>
              <a:buNone/>
              <a:defRPr sz="1067" b="0" i="0">
                <a:latin typeface="Helvetica" pitchFamily="2" charset="0"/>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580" name="Google Shape;580;p38"/>
          <p:cNvSpPr txBox="1">
            <a:spLocks noGrp="1"/>
          </p:cNvSpPr>
          <p:nvPr>
            <p:ph type="title"/>
          </p:nvPr>
        </p:nvSpPr>
        <p:spPr>
          <a:xfrm>
            <a:off x="1072896" y="1377696"/>
            <a:ext cx="3974400" cy="1036400"/>
          </a:xfrm>
          <a:prstGeom prst="rect">
            <a:avLst/>
          </a:prstGeom>
        </p:spPr>
        <p:txBody>
          <a:bodyPr spcFirstLastPara="1" wrap="square" lIns="45700" tIns="18275" rIns="45700" bIns="18275" anchor="t" anchorCtr="0">
            <a:noAutofit/>
          </a:bodyPr>
          <a:lstStyle>
            <a:lvl1pPr lvl="0">
              <a:spcBef>
                <a:spcPts val="0"/>
              </a:spcBef>
              <a:spcAft>
                <a:spcPts val="0"/>
              </a:spcAft>
              <a:buSzPts val="3400"/>
              <a:buNone/>
              <a:defRPr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1" name="Google Shape;581;p38"/>
          <p:cNvSpPr txBox="1">
            <a:spLocks noGrp="1"/>
          </p:cNvSpPr>
          <p:nvPr>
            <p:ph type="body" idx="2"/>
          </p:nvPr>
        </p:nvSpPr>
        <p:spPr>
          <a:xfrm>
            <a:off x="5254752" y="1487424"/>
            <a:ext cx="4047600" cy="10852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800"/>
              <a:buNone/>
              <a:defRPr sz="1067" b="0" i="0">
                <a:latin typeface="Helvetica" pitchFamily="2" charset="0"/>
              </a:defRPr>
            </a:lvl1pPr>
            <a:lvl2pPr marL="1219170" lvl="1" indent="-372524">
              <a:spcBef>
                <a:spcPts val="0"/>
              </a:spcBef>
              <a:spcAft>
                <a:spcPts val="0"/>
              </a:spcAft>
              <a:buSzPts val="800"/>
              <a:buChar char="○"/>
              <a:defRPr sz="1067"/>
            </a:lvl2pPr>
            <a:lvl3pPr marL="1828754" lvl="2" indent="-372524">
              <a:spcBef>
                <a:spcPts val="0"/>
              </a:spcBef>
              <a:spcAft>
                <a:spcPts val="0"/>
              </a:spcAft>
              <a:buSzPts val="800"/>
              <a:buChar char="■"/>
              <a:defRPr sz="1067"/>
            </a:lvl3pPr>
            <a:lvl4pPr marL="2438339" lvl="3" indent="-372524">
              <a:spcBef>
                <a:spcPts val="0"/>
              </a:spcBef>
              <a:spcAft>
                <a:spcPts val="0"/>
              </a:spcAft>
              <a:buSzPts val="800"/>
              <a:buChar char="●"/>
              <a:defRPr sz="1067"/>
            </a:lvl4pPr>
            <a:lvl5pPr marL="3047924" lvl="4" indent="-372524">
              <a:spcBef>
                <a:spcPts val="0"/>
              </a:spcBef>
              <a:spcAft>
                <a:spcPts val="0"/>
              </a:spcAft>
              <a:buSzPts val="800"/>
              <a:buChar char="○"/>
              <a:defRPr sz="1067"/>
            </a:lvl5pPr>
            <a:lvl6pPr marL="3657509" lvl="5" indent="-372524">
              <a:spcBef>
                <a:spcPts val="0"/>
              </a:spcBef>
              <a:spcAft>
                <a:spcPts val="0"/>
              </a:spcAft>
              <a:buSzPts val="800"/>
              <a:buChar char="■"/>
              <a:defRPr sz="1067"/>
            </a:lvl6pPr>
            <a:lvl7pPr marL="4267093" lvl="6" indent="-372524">
              <a:spcBef>
                <a:spcPts val="0"/>
              </a:spcBef>
              <a:spcAft>
                <a:spcPts val="0"/>
              </a:spcAft>
              <a:buSzPts val="800"/>
              <a:buChar char="●"/>
              <a:defRPr sz="1067"/>
            </a:lvl7pPr>
            <a:lvl8pPr marL="4876678" lvl="7" indent="-372524">
              <a:spcBef>
                <a:spcPts val="0"/>
              </a:spcBef>
              <a:spcAft>
                <a:spcPts val="0"/>
              </a:spcAft>
              <a:buSzPts val="800"/>
              <a:buChar char="○"/>
              <a:defRPr sz="1067"/>
            </a:lvl8pPr>
            <a:lvl9pPr marL="5486263" lvl="8" indent="-372524">
              <a:spcBef>
                <a:spcPts val="0"/>
              </a:spcBef>
              <a:spcAft>
                <a:spcPts val="0"/>
              </a:spcAft>
              <a:buSzPts val="800"/>
              <a:buChar char="■"/>
              <a:defRPr sz="1067"/>
            </a:lvl9pPr>
          </a:lstStyle>
          <a:p>
            <a:endParaRPr/>
          </a:p>
        </p:txBody>
      </p:sp>
      <p:sp>
        <p:nvSpPr>
          <p:cNvPr id="582" name="Google Shape;582;p38"/>
          <p:cNvSpPr txBox="1">
            <a:spLocks noGrp="1"/>
          </p:cNvSpPr>
          <p:nvPr>
            <p:ph type="body" idx="3"/>
          </p:nvPr>
        </p:nvSpPr>
        <p:spPr>
          <a:xfrm>
            <a:off x="1170432"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83" name="Google Shape;583;p38"/>
          <p:cNvSpPr txBox="1">
            <a:spLocks noGrp="1"/>
          </p:cNvSpPr>
          <p:nvPr>
            <p:ph type="body" idx="4"/>
          </p:nvPr>
        </p:nvSpPr>
        <p:spPr>
          <a:xfrm>
            <a:off x="3742944"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84" name="Google Shape;584;p38"/>
          <p:cNvSpPr txBox="1">
            <a:spLocks noGrp="1"/>
          </p:cNvSpPr>
          <p:nvPr>
            <p:ph type="body" idx="5"/>
          </p:nvPr>
        </p:nvSpPr>
        <p:spPr>
          <a:xfrm>
            <a:off x="6266688"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85" name="Google Shape;585;p38"/>
          <p:cNvSpPr txBox="1">
            <a:spLocks noGrp="1"/>
          </p:cNvSpPr>
          <p:nvPr>
            <p:ph type="body" idx="6"/>
          </p:nvPr>
        </p:nvSpPr>
        <p:spPr>
          <a:xfrm>
            <a:off x="8887968" y="4364736"/>
            <a:ext cx="2011600" cy="1499600"/>
          </a:xfrm>
          <a:prstGeom prst="rect">
            <a:avLst/>
          </a:prstGeom>
        </p:spPr>
        <p:txBody>
          <a:bodyPr spcFirstLastPara="1" wrap="square" lIns="45700" tIns="18275" rIns="45700" bIns="18275" anchor="t" anchorCtr="0">
            <a:noAutofit/>
          </a:bodyPr>
          <a:lstStyle>
            <a:lvl1pPr marL="0" lvl="0" indent="0" rtl="0">
              <a:spcBef>
                <a:spcPts val="0"/>
              </a:spcBef>
              <a:spcAft>
                <a:spcPts val="0"/>
              </a:spcAft>
              <a:buSzPts val="800"/>
              <a:buNone/>
              <a:defRPr sz="1067" b="0" i="0">
                <a:latin typeface="Helvetica" pitchFamily="2" charset="0"/>
              </a:defRPr>
            </a:lvl1pPr>
            <a:lvl2pPr marL="1219170" lvl="1" indent="-372524" rtl="0">
              <a:spcBef>
                <a:spcPts val="0"/>
              </a:spcBef>
              <a:spcAft>
                <a:spcPts val="0"/>
              </a:spcAft>
              <a:buSzPts val="800"/>
              <a:buChar char="○"/>
              <a:defRPr sz="1067"/>
            </a:lvl2pPr>
            <a:lvl3pPr marL="1828754" lvl="2" indent="-372524" rtl="0">
              <a:spcBef>
                <a:spcPts val="0"/>
              </a:spcBef>
              <a:spcAft>
                <a:spcPts val="0"/>
              </a:spcAft>
              <a:buSzPts val="800"/>
              <a:buChar char="■"/>
              <a:defRPr sz="1067"/>
            </a:lvl3pPr>
            <a:lvl4pPr marL="2438339" lvl="3" indent="-372524" rtl="0">
              <a:spcBef>
                <a:spcPts val="0"/>
              </a:spcBef>
              <a:spcAft>
                <a:spcPts val="0"/>
              </a:spcAft>
              <a:buSzPts val="800"/>
              <a:buChar char="●"/>
              <a:defRPr sz="1067"/>
            </a:lvl4pPr>
            <a:lvl5pPr marL="3047924" lvl="4" indent="-372524" rtl="0">
              <a:spcBef>
                <a:spcPts val="0"/>
              </a:spcBef>
              <a:spcAft>
                <a:spcPts val="0"/>
              </a:spcAft>
              <a:buSzPts val="800"/>
              <a:buChar char="○"/>
              <a:defRPr sz="1067"/>
            </a:lvl5pPr>
            <a:lvl6pPr marL="3657509" lvl="5" indent="-372524" rtl="0">
              <a:spcBef>
                <a:spcPts val="0"/>
              </a:spcBef>
              <a:spcAft>
                <a:spcPts val="0"/>
              </a:spcAft>
              <a:buSzPts val="800"/>
              <a:buChar char="■"/>
              <a:defRPr sz="1067"/>
            </a:lvl6pPr>
            <a:lvl7pPr marL="4267093" lvl="6" indent="-372524" rtl="0">
              <a:spcBef>
                <a:spcPts val="0"/>
              </a:spcBef>
              <a:spcAft>
                <a:spcPts val="0"/>
              </a:spcAft>
              <a:buSzPts val="800"/>
              <a:buChar char="●"/>
              <a:defRPr sz="1067"/>
            </a:lvl7pPr>
            <a:lvl8pPr marL="4876678" lvl="7" indent="-372524" rtl="0">
              <a:spcBef>
                <a:spcPts val="0"/>
              </a:spcBef>
              <a:spcAft>
                <a:spcPts val="0"/>
              </a:spcAft>
              <a:buSzPts val="800"/>
              <a:buChar char="○"/>
              <a:defRPr sz="1067"/>
            </a:lvl8pPr>
            <a:lvl9pPr marL="5486263" lvl="8" indent="-372524" rtl="0">
              <a:spcBef>
                <a:spcPts val="0"/>
              </a:spcBef>
              <a:spcAft>
                <a:spcPts val="0"/>
              </a:spcAft>
              <a:buSzPts val="800"/>
              <a:buChar char="■"/>
              <a:defRPr sz="1067"/>
            </a:lvl9pPr>
          </a:lstStyle>
          <a:p>
            <a:endParaRPr/>
          </a:p>
        </p:txBody>
      </p:sp>
      <p:sp>
        <p:nvSpPr>
          <p:cNvPr id="586" name="Google Shape;586;p38"/>
          <p:cNvSpPr txBox="1">
            <a:spLocks noGrp="1"/>
          </p:cNvSpPr>
          <p:nvPr>
            <p:ph type="subTitle" idx="7"/>
          </p:nvPr>
        </p:nvSpPr>
        <p:spPr>
          <a:xfrm>
            <a:off x="2194560" y="3706368"/>
            <a:ext cx="1012000" cy="231600"/>
          </a:xfrm>
          <a:prstGeom prst="rect">
            <a:avLst/>
          </a:prstGeom>
        </p:spPr>
        <p:txBody>
          <a:bodyPr spcFirstLastPara="1" wrap="square" lIns="45700" tIns="18275" rIns="45700" bIns="18275" anchor="t" anchorCtr="0">
            <a:noAutofit/>
          </a:bodyPr>
          <a:lstStyle>
            <a:lvl1pPr marL="0" lvl="0" indent="0">
              <a:spcBef>
                <a:spcPts val="0"/>
              </a:spcBef>
              <a:spcAft>
                <a:spcPts val="0"/>
              </a:spcAft>
              <a:buClr>
                <a:schemeClr val="lt1"/>
              </a:buClr>
              <a:buSzPts val="800"/>
              <a:buNone/>
              <a:defRPr sz="1067" b="1" i="0">
                <a:solidFill>
                  <a:schemeClr val="lt1"/>
                </a:solidFill>
                <a:latin typeface="Helvetica" pitchFamily="2" charset="0"/>
              </a:defRPr>
            </a:lvl1pPr>
            <a:lvl2pPr lvl="1">
              <a:spcBef>
                <a:spcPts val="0"/>
              </a:spcBef>
              <a:spcAft>
                <a:spcPts val="0"/>
              </a:spcAft>
              <a:buClr>
                <a:schemeClr val="lt1"/>
              </a:buClr>
              <a:buSzPts val="800"/>
              <a:buNone/>
              <a:defRPr sz="1067">
                <a:solidFill>
                  <a:schemeClr val="lt1"/>
                </a:solidFill>
              </a:defRPr>
            </a:lvl2pPr>
            <a:lvl3pPr lvl="2">
              <a:spcBef>
                <a:spcPts val="0"/>
              </a:spcBef>
              <a:spcAft>
                <a:spcPts val="0"/>
              </a:spcAft>
              <a:buClr>
                <a:schemeClr val="lt1"/>
              </a:buClr>
              <a:buSzPts val="800"/>
              <a:buNone/>
              <a:defRPr sz="1067">
                <a:solidFill>
                  <a:schemeClr val="lt1"/>
                </a:solidFill>
              </a:defRPr>
            </a:lvl3pPr>
            <a:lvl4pPr lvl="3">
              <a:spcBef>
                <a:spcPts val="0"/>
              </a:spcBef>
              <a:spcAft>
                <a:spcPts val="0"/>
              </a:spcAft>
              <a:buClr>
                <a:schemeClr val="lt1"/>
              </a:buClr>
              <a:buSzPts val="800"/>
              <a:buNone/>
              <a:defRPr sz="1067">
                <a:solidFill>
                  <a:schemeClr val="lt1"/>
                </a:solidFill>
              </a:defRPr>
            </a:lvl4pPr>
            <a:lvl5pPr lvl="4">
              <a:spcBef>
                <a:spcPts val="0"/>
              </a:spcBef>
              <a:spcAft>
                <a:spcPts val="0"/>
              </a:spcAft>
              <a:buClr>
                <a:schemeClr val="lt1"/>
              </a:buClr>
              <a:buSzPts val="800"/>
              <a:buNone/>
              <a:defRPr sz="1067">
                <a:solidFill>
                  <a:schemeClr val="lt1"/>
                </a:solidFill>
              </a:defRPr>
            </a:lvl5pPr>
            <a:lvl6pPr lvl="5">
              <a:spcBef>
                <a:spcPts val="0"/>
              </a:spcBef>
              <a:spcAft>
                <a:spcPts val="0"/>
              </a:spcAft>
              <a:buClr>
                <a:schemeClr val="lt1"/>
              </a:buClr>
              <a:buSzPts val="800"/>
              <a:buNone/>
              <a:defRPr sz="1067">
                <a:solidFill>
                  <a:schemeClr val="lt1"/>
                </a:solidFill>
              </a:defRPr>
            </a:lvl6pPr>
            <a:lvl7pPr lvl="6">
              <a:spcBef>
                <a:spcPts val="0"/>
              </a:spcBef>
              <a:spcAft>
                <a:spcPts val="0"/>
              </a:spcAft>
              <a:buClr>
                <a:schemeClr val="lt1"/>
              </a:buClr>
              <a:buSzPts val="800"/>
              <a:buNone/>
              <a:defRPr sz="1067">
                <a:solidFill>
                  <a:schemeClr val="lt1"/>
                </a:solidFill>
              </a:defRPr>
            </a:lvl7pPr>
            <a:lvl8pPr lvl="7">
              <a:spcBef>
                <a:spcPts val="0"/>
              </a:spcBef>
              <a:spcAft>
                <a:spcPts val="0"/>
              </a:spcAft>
              <a:buClr>
                <a:schemeClr val="lt1"/>
              </a:buClr>
              <a:buSzPts val="800"/>
              <a:buNone/>
              <a:defRPr sz="1067">
                <a:solidFill>
                  <a:schemeClr val="lt1"/>
                </a:solidFill>
              </a:defRPr>
            </a:lvl8pPr>
            <a:lvl9pPr lvl="8">
              <a:spcBef>
                <a:spcPts val="0"/>
              </a:spcBef>
              <a:spcAft>
                <a:spcPts val="0"/>
              </a:spcAft>
              <a:buClr>
                <a:schemeClr val="lt1"/>
              </a:buClr>
              <a:buSzPts val="800"/>
              <a:buNone/>
              <a:defRPr sz="1067">
                <a:solidFill>
                  <a:schemeClr val="lt1"/>
                </a:solidFill>
              </a:defRPr>
            </a:lvl9pPr>
          </a:lstStyle>
          <a:p>
            <a:endParaRPr/>
          </a:p>
        </p:txBody>
      </p:sp>
      <p:sp>
        <p:nvSpPr>
          <p:cNvPr id="587" name="Google Shape;587;p38"/>
          <p:cNvSpPr txBox="1">
            <a:spLocks noGrp="1"/>
          </p:cNvSpPr>
          <p:nvPr>
            <p:ph type="subTitle" idx="8"/>
          </p:nvPr>
        </p:nvSpPr>
        <p:spPr>
          <a:xfrm>
            <a:off x="4767072"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7" b="1" i="0">
                <a:solidFill>
                  <a:schemeClr val="lt1"/>
                </a:solidFill>
                <a:latin typeface="Helvetica" pitchFamily="2" charset="0"/>
              </a:defRPr>
            </a:lvl1pPr>
            <a:lvl2pPr lvl="1" rtl="0">
              <a:spcBef>
                <a:spcPts val="0"/>
              </a:spcBef>
              <a:spcAft>
                <a:spcPts val="0"/>
              </a:spcAft>
              <a:buClr>
                <a:schemeClr val="lt1"/>
              </a:buClr>
              <a:buSzPts val="800"/>
              <a:buNone/>
              <a:defRPr sz="1067">
                <a:solidFill>
                  <a:schemeClr val="lt1"/>
                </a:solidFill>
              </a:defRPr>
            </a:lvl2pPr>
            <a:lvl3pPr lvl="2" rtl="0">
              <a:spcBef>
                <a:spcPts val="0"/>
              </a:spcBef>
              <a:spcAft>
                <a:spcPts val="0"/>
              </a:spcAft>
              <a:buClr>
                <a:schemeClr val="lt1"/>
              </a:buClr>
              <a:buSzPts val="800"/>
              <a:buNone/>
              <a:defRPr sz="1067">
                <a:solidFill>
                  <a:schemeClr val="lt1"/>
                </a:solidFill>
              </a:defRPr>
            </a:lvl3pPr>
            <a:lvl4pPr lvl="3" rtl="0">
              <a:spcBef>
                <a:spcPts val="0"/>
              </a:spcBef>
              <a:spcAft>
                <a:spcPts val="0"/>
              </a:spcAft>
              <a:buClr>
                <a:schemeClr val="lt1"/>
              </a:buClr>
              <a:buSzPts val="800"/>
              <a:buNone/>
              <a:defRPr sz="1067">
                <a:solidFill>
                  <a:schemeClr val="lt1"/>
                </a:solidFill>
              </a:defRPr>
            </a:lvl4pPr>
            <a:lvl5pPr lvl="4" rtl="0">
              <a:spcBef>
                <a:spcPts val="0"/>
              </a:spcBef>
              <a:spcAft>
                <a:spcPts val="0"/>
              </a:spcAft>
              <a:buClr>
                <a:schemeClr val="lt1"/>
              </a:buClr>
              <a:buSzPts val="800"/>
              <a:buNone/>
              <a:defRPr sz="1067">
                <a:solidFill>
                  <a:schemeClr val="lt1"/>
                </a:solidFill>
              </a:defRPr>
            </a:lvl5pPr>
            <a:lvl6pPr lvl="5" rtl="0">
              <a:spcBef>
                <a:spcPts val="0"/>
              </a:spcBef>
              <a:spcAft>
                <a:spcPts val="0"/>
              </a:spcAft>
              <a:buClr>
                <a:schemeClr val="lt1"/>
              </a:buClr>
              <a:buSzPts val="800"/>
              <a:buNone/>
              <a:defRPr sz="1067">
                <a:solidFill>
                  <a:schemeClr val="lt1"/>
                </a:solidFill>
              </a:defRPr>
            </a:lvl6pPr>
            <a:lvl7pPr lvl="6" rtl="0">
              <a:spcBef>
                <a:spcPts val="0"/>
              </a:spcBef>
              <a:spcAft>
                <a:spcPts val="0"/>
              </a:spcAft>
              <a:buClr>
                <a:schemeClr val="lt1"/>
              </a:buClr>
              <a:buSzPts val="800"/>
              <a:buNone/>
              <a:defRPr sz="1067">
                <a:solidFill>
                  <a:schemeClr val="lt1"/>
                </a:solidFill>
              </a:defRPr>
            </a:lvl7pPr>
            <a:lvl8pPr lvl="7" rtl="0">
              <a:spcBef>
                <a:spcPts val="0"/>
              </a:spcBef>
              <a:spcAft>
                <a:spcPts val="0"/>
              </a:spcAft>
              <a:buClr>
                <a:schemeClr val="lt1"/>
              </a:buClr>
              <a:buSzPts val="800"/>
              <a:buNone/>
              <a:defRPr sz="1067">
                <a:solidFill>
                  <a:schemeClr val="lt1"/>
                </a:solidFill>
              </a:defRPr>
            </a:lvl8pPr>
            <a:lvl9pPr lvl="8" rtl="0">
              <a:spcBef>
                <a:spcPts val="0"/>
              </a:spcBef>
              <a:spcAft>
                <a:spcPts val="0"/>
              </a:spcAft>
              <a:buClr>
                <a:schemeClr val="lt1"/>
              </a:buClr>
              <a:buSzPts val="800"/>
              <a:buNone/>
              <a:defRPr sz="1067">
                <a:solidFill>
                  <a:schemeClr val="lt1"/>
                </a:solidFill>
              </a:defRPr>
            </a:lvl9pPr>
          </a:lstStyle>
          <a:p>
            <a:endParaRPr/>
          </a:p>
        </p:txBody>
      </p:sp>
      <p:sp>
        <p:nvSpPr>
          <p:cNvPr id="588" name="Google Shape;588;p38"/>
          <p:cNvSpPr txBox="1">
            <a:spLocks noGrp="1"/>
          </p:cNvSpPr>
          <p:nvPr>
            <p:ph type="subTitle" idx="9"/>
          </p:nvPr>
        </p:nvSpPr>
        <p:spPr>
          <a:xfrm>
            <a:off x="7327392"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7" b="1" i="0">
                <a:solidFill>
                  <a:schemeClr val="lt1"/>
                </a:solidFill>
                <a:latin typeface="Helvetica" pitchFamily="2" charset="0"/>
              </a:defRPr>
            </a:lvl1pPr>
            <a:lvl2pPr lvl="1" rtl="0">
              <a:spcBef>
                <a:spcPts val="0"/>
              </a:spcBef>
              <a:spcAft>
                <a:spcPts val="0"/>
              </a:spcAft>
              <a:buClr>
                <a:schemeClr val="lt1"/>
              </a:buClr>
              <a:buSzPts val="800"/>
              <a:buNone/>
              <a:defRPr sz="1067">
                <a:solidFill>
                  <a:schemeClr val="lt1"/>
                </a:solidFill>
              </a:defRPr>
            </a:lvl2pPr>
            <a:lvl3pPr lvl="2" rtl="0">
              <a:spcBef>
                <a:spcPts val="0"/>
              </a:spcBef>
              <a:spcAft>
                <a:spcPts val="0"/>
              </a:spcAft>
              <a:buClr>
                <a:schemeClr val="lt1"/>
              </a:buClr>
              <a:buSzPts val="800"/>
              <a:buNone/>
              <a:defRPr sz="1067">
                <a:solidFill>
                  <a:schemeClr val="lt1"/>
                </a:solidFill>
              </a:defRPr>
            </a:lvl3pPr>
            <a:lvl4pPr lvl="3" rtl="0">
              <a:spcBef>
                <a:spcPts val="0"/>
              </a:spcBef>
              <a:spcAft>
                <a:spcPts val="0"/>
              </a:spcAft>
              <a:buClr>
                <a:schemeClr val="lt1"/>
              </a:buClr>
              <a:buSzPts val="800"/>
              <a:buNone/>
              <a:defRPr sz="1067">
                <a:solidFill>
                  <a:schemeClr val="lt1"/>
                </a:solidFill>
              </a:defRPr>
            </a:lvl4pPr>
            <a:lvl5pPr lvl="4" rtl="0">
              <a:spcBef>
                <a:spcPts val="0"/>
              </a:spcBef>
              <a:spcAft>
                <a:spcPts val="0"/>
              </a:spcAft>
              <a:buClr>
                <a:schemeClr val="lt1"/>
              </a:buClr>
              <a:buSzPts val="800"/>
              <a:buNone/>
              <a:defRPr sz="1067">
                <a:solidFill>
                  <a:schemeClr val="lt1"/>
                </a:solidFill>
              </a:defRPr>
            </a:lvl5pPr>
            <a:lvl6pPr lvl="5" rtl="0">
              <a:spcBef>
                <a:spcPts val="0"/>
              </a:spcBef>
              <a:spcAft>
                <a:spcPts val="0"/>
              </a:spcAft>
              <a:buClr>
                <a:schemeClr val="lt1"/>
              </a:buClr>
              <a:buSzPts val="800"/>
              <a:buNone/>
              <a:defRPr sz="1067">
                <a:solidFill>
                  <a:schemeClr val="lt1"/>
                </a:solidFill>
              </a:defRPr>
            </a:lvl6pPr>
            <a:lvl7pPr lvl="6" rtl="0">
              <a:spcBef>
                <a:spcPts val="0"/>
              </a:spcBef>
              <a:spcAft>
                <a:spcPts val="0"/>
              </a:spcAft>
              <a:buClr>
                <a:schemeClr val="lt1"/>
              </a:buClr>
              <a:buSzPts val="800"/>
              <a:buNone/>
              <a:defRPr sz="1067">
                <a:solidFill>
                  <a:schemeClr val="lt1"/>
                </a:solidFill>
              </a:defRPr>
            </a:lvl7pPr>
            <a:lvl8pPr lvl="7" rtl="0">
              <a:spcBef>
                <a:spcPts val="0"/>
              </a:spcBef>
              <a:spcAft>
                <a:spcPts val="0"/>
              </a:spcAft>
              <a:buClr>
                <a:schemeClr val="lt1"/>
              </a:buClr>
              <a:buSzPts val="800"/>
              <a:buNone/>
              <a:defRPr sz="1067">
                <a:solidFill>
                  <a:schemeClr val="lt1"/>
                </a:solidFill>
              </a:defRPr>
            </a:lvl8pPr>
            <a:lvl9pPr lvl="8" rtl="0">
              <a:spcBef>
                <a:spcPts val="0"/>
              </a:spcBef>
              <a:spcAft>
                <a:spcPts val="0"/>
              </a:spcAft>
              <a:buClr>
                <a:schemeClr val="lt1"/>
              </a:buClr>
              <a:buSzPts val="800"/>
              <a:buNone/>
              <a:defRPr sz="1067">
                <a:solidFill>
                  <a:schemeClr val="lt1"/>
                </a:solidFill>
              </a:defRPr>
            </a:lvl9pPr>
          </a:lstStyle>
          <a:p>
            <a:endParaRPr/>
          </a:p>
        </p:txBody>
      </p:sp>
      <p:sp>
        <p:nvSpPr>
          <p:cNvPr id="589" name="Google Shape;589;p38"/>
          <p:cNvSpPr txBox="1">
            <a:spLocks noGrp="1"/>
          </p:cNvSpPr>
          <p:nvPr>
            <p:ph type="subTitle" idx="13"/>
          </p:nvPr>
        </p:nvSpPr>
        <p:spPr>
          <a:xfrm>
            <a:off x="9899904" y="3706368"/>
            <a:ext cx="1012000" cy="231600"/>
          </a:xfrm>
          <a:prstGeom prst="rect">
            <a:avLst/>
          </a:prstGeom>
        </p:spPr>
        <p:txBody>
          <a:bodyPr spcFirstLastPara="1" wrap="square" lIns="45700" tIns="18275" rIns="45700" bIns="18275" anchor="t" anchorCtr="0">
            <a:noAutofit/>
          </a:bodyPr>
          <a:lstStyle>
            <a:lvl1pPr marL="0" lvl="0" indent="0" rtl="0">
              <a:spcBef>
                <a:spcPts val="0"/>
              </a:spcBef>
              <a:spcAft>
                <a:spcPts val="0"/>
              </a:spcAft>
              <a:buClr>
                <a:schemeClr val="lt1"/>
              </a:buClr>
              <a:buSzPts val="800"/>
              <a:buNone/>
              <a:defRPr sz="1067" b="1" i="0">
                <a:solidFill>
                  <a:schemeClr val="lt1"/>
                </a:solidFill>
                <a:latin typeface="Helvetica" pitchFamily="2" charset="0"/>
              </a:defRPr>
            </a:lvl1pPr>
            <a:lvl2pPr lvl="1" rtl="0">
              <a:spcBef>
                <a:spcPts val="0"/>
              </a:spcBef>
              <a:spcAft>
                <a:spcPts val="0"/>
              </a:spcAft>
              <a:buClr>
                <a:schemeClr val="lt1"/>
              </a:buClr>
              <a:buSzPts val="800"/>
              <a:buNone/>
              <a:defRPr sz="1067">
                <a:solidFill>
                  <a:schemeClr val="lt1"/>
                </a:solidFill>
              </a:defRPr>
            </a:lvl2pPr>
            <a:lvl3pPr lvl="2" rtl="0">
              <a:spcBef>
                <a:spcPts val="0"/>
              </a:spcBef>
              <a:spcAft>
                <a:spcPts val="0"/>
              </a:spcAft>
              <a:buClr>
                <a:schemeClr val="lt1"/>
              </a:buClr>
              <a:buSzPts val="800"/>
              <a:buNone/>
              <a:defRPr sz="1067">
                <a:solidFill>
                  <a:schemeClr val="lt1"/>
                </a:solidFill>
              </a:defRPr>
            </a:lvl3pPr>
            <a:lvl4pPr lvl="3" rtl="0">
              <a:spcBef>
                <a:spcPts val="0"/>
              </a:spcBef>
              <a:spcAft>
                <a:spcPts val="0"/>
              </a:spcAft>
              <a:buClr>
                <a:schemeClr val="lt1"/>
              </a:buClr>
              <a:buSzPts val="800"/>
              <a:buNone/>
              <a:defRPr sz="1067">
                <a:solidFill>
                  <a:schemeClr val="lt1"/>
                </a:solidFill>
              </a:defRPr>
            </a:lvl4pPr>
            <a:lvl5pPr lvl="4" rtl="0">
              <a:spcBef>
                <a:spcPts val="0"/>
              </a:spcBef>
              <a:spcAft>
                <a:spcPts val="0"/>
              </a:spcAft>
              <a:buClr>
                <a:schemeClr val="lt1"/>
              </a:buClr>
              <a:buSzPts val="800"/>
              <a:buNone/>
              <a:defRPr sz="1067">
                <a:solidFill>
                  <a:schemeClr val="lt1"/>
                </a:solidFill>
              </a:defRPr>
            </a:lvl5pPr>
            <a:lvl6pPr lvl="5" rtl="0">
              <a:spcBef>
                <a:spcPts val="0"/>
              </a:spcBef>
              <a:spcAft>
                <a:spcPts val="0"/>
              </a:spcAft>
              <a:buClr>
                <a:schemeClr val="lt1"/>
              </a:buClr>
              <a:buSzPts val="800"/>
              <a:buNone/>
              <a:defRPr sz="1067">
                <a:solidFill>
                  <a:schemeClr val="lt1"/>
                </a:solidFill>
              </a:defRPr>
            </a:lvl6pPr>
            <a:lvl7pPr lvl="6" rtl="0">
              <a:spcBef>
                <a:spcPts val="0"/>
              </a:spcBef>
              <a:spcAft>
                <a:spcPts val="0"/>
              </a:spcAft>
              <a:buClr>
                <a:schemeClr val="lt1"/>
              </a:buClr>
              <a:buSzPts val="800"/>
              <a:buNone/>
              <a:defRPr sz="1067">
                <a:solidFill>
                  <a:schemeClr val="lt1"/>
                </a:solidFill>
              </a:defRPr>
            </a:lvl7pPr>
            <a:lvl8pPr lvl="7" rtl="0">
              <a:spcBef>
                <a:spcPts val="0"/>
              </a:spcBef>
              <a:spcAft>
                <a:spcPts val="0"/>
              </a:spcAft>
              <a:buClr>
                <a:schemeClr val="lt1"/>
              </a:buClr>
              <a:buSzPts val="800"/>
              <a:buNone/>
              <a:defRPr sz="1067">
                <a:solidFill>
                  <a:schemeClr val="lt1"/>
                </a:solidFill>
              </a:defRPr>
            </a:lvl8pPr>
            <a:lvl9pPr lvl="8" rtl="0">
              <a:spcBef>
                <a:spcPts val="0"/>
              </a:spcBef>
              <a:spcAft>
                <a:spcPts val="0"/>
              </a:spcAft>
              <a:buClr>
                <a:schemeClr val="lt1"/>
              </a:buClr>
              <a:buSzPts val="800"/>
              <a:buNone/>
              <a:defRPr sz="1067">
                <a:solidFill>
                  <a:schemeClr val="lt1"/>
                </a:solidFill>
              </a:defRPr>
            </a:lvl9pPr>
          </a:lstStyle>
          <a:p>
            <a:endParaRPr/>
          </a:p>
        </p:txBody>
      </p:sp>
      <p:sp>
        <p:nvSpPr>
          <p:cNvPr id="34" name="Google Shape;268;p27">
            <a:extLst>
              <a:ext uri="{FF2B5EF4-FFF2-40B4-BE49-F238E27FC236}">
                <a16:creationId xmlns:a16="http://schemas.microsoft.com/office/drawing/2014/main" id="{928080BF-F9DA-2E4C-A63D-D9BE35945435}"/>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fld id="{00000000-1234-1234-1234-123412341234}" type="slidenum">
              <a:rPr kumimoji="0" lang="en"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rPr>
              <a:pPr marL="0" marR="0" lvl="0" indent="0" algn="r" defTabSz="914400" rtl="0" eaLnBrk="1" fontAlgn="auto" latinLnBrk="0" hangingPunct="1">
                <a:lnSpc>
                  <a:spcPct val="120000"/>
                </a:lnSpc>
                <a:spcBef>
                  <a:spcPts val="0"/>
                </a:spcBef>
                <a:spcAft>
                  <a:spcPts val="0"/>
                </a:spcAft>
                <a:buClrTx/>
                <a:buSzTx/>
                <a:buFontTx/>
                <a:buNone/>
                <a:tabLst/>
                <a:defRPr/>
              </a:pPr>
              <a:t>‹#›</a:t>
            </a:fld>
            <a:endParaRPr kumimoji="0" sz="667" b="0" i="0" u="none" strike="noStrike" kern="1200" cap="none" spc="0" normalizeH="0" baseline="0" noProof="0">
              <a:ln>
                <a:noFill/>
              </a:ln>
              <a:solidFill>
                <a:srgbClr val="FFFFFF"/>
              </a:solidFill>
              <a:effectLst/>
              <a:uLnTx/>
              <a:uFillTx/>
              <a:latin typeface="Helvetica" pitchFamily="2" charset="0"/>
              <a:ea typeface="Helvetica Neue"/>
              <a:cs typeface="Helvetica Neue"/>
              <a:sym typeface="Helvetica Neue"/>
            </a:endParaRPr>
          </a:p>
        </p:txBody>
      </p:sp>
      <p:cxnSp>
        <p:nvCxnSpPr>
          <p:cNvPr id="35" name="Google Shape;67;p15">
            <a:extLst>
              <a:ext uri="{FF2B5EF4-FFF2-40B4-BE49-F238E27FC236}">
                <a16:creationId xmlns:a16="http://schemas.microsoft.com/office/drawing/2014/main" id="{1C406079-9924-AB4F-BE36-22D2C3846BDD}"/>
              </a:ext>
            </a:extLst>
          </p:cNvPr>
          <p:cNvCxnSpPr/>
          <p:nvPr userDrawn="1"/>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36" name="Google Shape;56;p14">
            <a:extLst>
              <a:ext uri="{FF2B5EF4-FFF2-40B4-BE49-F238E27FC236}">
                <a16:creationId xmlns:a16="http://schemas.microsoft.com/office/drawing/2014/main" id="{C405A5E5-EE9A-E64C-A67D-343ED7FC022F}"/>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sym typeface="Helvetica Neue"/>
              </a:rPr>
              <a:t>DEV BOXES</a:t>
            </a:r>
            <a:endParaRPr kumimoji="0" lang="en-US" sz="700" b="0" i="0" u="none" strike="noStrike" kern="1200" cap="none" spc="375" normalizeH="0" baseline="0" noProof="0">
              <a:ln>
                <a:noFill/>
              </a:ln>
              <a:solidFill>
                <a:srgbClr val="627597"/>
              </a:solidFill>
              <a:effectLst/>
              <a:uLnTx/>
              <a:uFillTx/>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3372754808"/>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9018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4624651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matchingName="Cover">
  <p:cSld name="Cover">
    <p:spTree>
      <p:nvGrpSpPr>
        <p:cNvPr id="1" name="Shape 65"/>
        <p:cNvGrpSpPr/>
        <p:nvPr/>
      </p:nvGrpSpPr>
      <p:grpSpPr>
        <a:xfrm>
          <a:off x="0" y="0"/>
          <a:ext cx="0" cy="0"/>
          <a:chOff x="0" y="0"/>
          <a:chExt cx="0" cy="0"/>
        </a:xfrm>
      </p:grpSpPr>
      <p:sp>
        <p:nvSpPr>
          <p:cNvPr id="66" name="Google Shape;66;p15"/>
          <p:cNvSpPr/>
          <p:nvPr/>
        </p:nvSpPr>
        <p:spPr>
          <a:xfrm>
            <a:off x="0" y="1"/>
            <a:ext cx="12192000" cy="6858000"/>
          </a:xfrm>
          <a:prstGeom prst="rect">
            <a:avLst/>
          </a:prstGeom>
          <a:gradFill>
            <a:gsLst>
              <a:gs pos="0">
                <a:srgbClr val="161828"/>
              </a:gs>
              <a:gs pos="15000">
                <a:srgbClr val="161828"/>
              </a:gs>
              <a:gs pos="67000">
                <a:srgbClr val="1B1D30">
                  <a:alpha val="57647"/>
                </a:srgbClr>
              </a:gs>
              <a:gs pos="100000">
                <a:srgbClr val="2E3252">
                  <a:alpha val="0"/>
                </a:srgbClr>
              </a:gs>
            </a:gsLst>
            <a:lin ang="0" scaled="0"/>
          </a:gradFill>
          <a:ln>
            <a:noFill/>
          </a:ln>
        </p:spPr>
        <p:txBody>
          <a:bodyPr spcFirstLastPara="1" wrap="square" lIns="57200" tIns="28600" rIns="57200" bIns="28600" anchor="ctr" anchorCtr="0">
            <a:noAutofit/>
          </a:bodyPr>
          <a:lstStyle/>
          <a:p>
            <a:pPr marL="0" marR="0" lvl="0" indent="0" algn="ctr" rtl="0">
              <a:spcBef>
                <a:spcPts val="0"/>
              </a:spcBef>
              <a:spcAft>
                <a:spcPts val="0"/>
              </a:spcAft>
              <a:buNone/>
            </a:pPr>
            <a:endParaRPr sz="1067" b="0" i="0" u="none" strike="noStrike" cap="none">
              <a:solidFill>
                <a:schemeClr val="lt1"/>
              </a:solidFill>
              <a:latin typeface="Helvetica" pitchFamily="2" charset="0"/>
              <a:ea typeface="Calibri"/>
              <a:cs typeface="Calibri"/>
              <a:sym typeface="Calibri"/>
            </a:endParaRPr>
          </a:p>
        </p:txBody>
      </p:sp>
      <p:cxnSp>
        <p:nvCxnSpPr>
          <p:cNvPr id="67" name="Google Shape;67;p15"/>
          <p:cNvCxnSpPr/>
          <p:nvPr/>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69" name="Google Shape;69;p15"/>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rtl="0">
              <a:lnSpc>
                <a:spcPct val="120000"/>
              </a:lnSpc>
              <a:spcBef>
                <a:spcPts val="0"/>
              </a:spcBef>
              <a:spcAft>
                <a:spcPts val="0"/>
              </a:spcAft>
              <a:buNone/>
            </a:pPr>
            <a:fld id="{00000000-1234-1234-1234-123412341234}" type="slidenum">
              <a:rPr lang="en" sz="667" b="0" i="0" u="none" strike="noStrike" cap="none">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7" b="0" i="0" u="none" strike="noStrike" cap="none">
              <a:solidFill>
                <a:schemeClr val="lt1"/>
              </a:solidFill>
              <a:latin typeface="Helvetica" pitchFamily="2" charset="0"/>
              <a:ea typeface="Helvetica Neue"/>
              <a:cs typeface="Helvetica Neue"/>
              <a:sym typeface="Helvetica Neue"/>
            </a:endParaRPr>
          </a:p>
        </p:txBody>
      </p:sp>
      <p:pic>
        <p:nvPicPr>
          <p:cNvPr id="70" name="Google Shape;70;p15"/>
          <p:cNvPicPr preferRelativeResize="0"/>
          <p:nvPr/>
        </p:nvPicPr>
        <p:blipFill rotWithShape="1">
          <a:blip r:embed="rId2">
            <a:alphaModFix amt="30000"/>
          </a:blip>
          <a:srcRect/>
          <a:stretch/>
        </p:blipFill>
        <p:spPr>
          <a:xfrm>
            <a:off x="6991595" y="852721"/>
            <a:ext cx="5016492" cy="5016492"/>
          </a:xfrm>
          <a:prstGeom prst="rect">
            <a:avLst/>
          </a:prstGeom>
          <a:noFill/>
          <a:ln>
            <a:noFill/>
          </a:ln>
        </p:spPr>
      </p:pic>
      <p:sp>
        <p:nvSpPr>
          <p:cNvPr id="71" name="Google Shape;71;p15"/>
          <p:cNvSpPr/>
          <p:nvPr/>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rtl="0">
              <a:lnSpc>
                <a:spcPct val="120000"/>
              </a:lnSpc>
              <a:spcBef>
                <a:spcPts val="0"/>
              </a:spcBef>
              <a:spcAft>
                <a:spcPts val="0"/>
              </a:spcAft>
              <a:buNone/>
            </a:pPr>
            <a:r>
              <a:rPr lang="en" sz="667" b="0" i="0" u="none" strike="noStrike" cap="none">
                <a:solidFill>
                  <a:schemeClr val="lt1"/>
                </a:solidFill>
                <a:latin typeface="Helvetica" pitchFamily="2" charset="0"/>
                <a:ea typeface="Helvetica Neue"/>
                <a:cs typeface="Helvetica Neue"/>
                <a:sym typeface="Helvetica Neue"/>
              </a:rPr>
              <a:t>1</a:t>
            </a:r>
            <a:endParaRPr sz="933" b="0" i="0">
              <a:latin typeface="Helvetica" pitchFamily="2" charset="0"/>
            </a:endParaRPr>
          </a:p>
        </p:txBody>
      </p:sp>
      <p:pic>
        <p:nvPicPr>
          <p:cNvPr id="72" name="Google Shape;72;p15"/>
          <p:cNvPicPr preferRelativeResize="0"/>
          <p:nvPr/>
        </p:nvPicPr>
        <p:blipFill rotWithShape="1">
          <a:blip r:embed="rId3">
            <a:alphaModFix/>
          </a:blip>
          <a:srcRect l="12915" r="21622"/>
          <a:stretch/>
        </p:blipFill>
        <p:spPr>
          <a:xfrm>
            <a:off x="6672747" y="0"/>
            <a:ext cx="5519259" cy="6857995"/>
          </a:xfrm>
          <a:prstGeom prst="rect">
            <a:avLst/>
          </a:prstGeom>
          <a:noFill/>
          <a:ln>
            <a:noFill/>
          </a:ln>
        </p:spPr>
      </p:pic>
      <p:sp>
        <p:nvSpPr>
          <p:cNvPr id="73" name="Google Shape;73;p15"/>
          <p:cNvSpPr/>
          <p:nvPr/>
        </p:nvSpPr>
        <p:spPr>
          <a:xfrm rot="10800000">
            <a:off x="541967" y="0"/>
            <a:ext cx="97600" cy="353320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b="0" i="0">
              <a:latin typeface="Helvetica" pitchFamily="2" charset="0"/>
            </a:endParaRPr>
          </a:p>
        </p:txBody>
      </p:sp>
      <p:sp>
        <p:nvSpPr>
          <p:cNvPr id="74" name="Google Shape;74;p15"/>
          <p:cNvSpPr txBox="1">
            <a:spLocks noGrp="1"/>
          </p:cNvSpPr>
          <p:nvPr>
            <p:ph type="title"/>
          </p:nvPr>
        </p:nvSpPr>
        <p:spPr>
          <a:xfrm>
            <a:off x="816867" y="731533"/>
            <a:ext cx="5641200" cy="3144800"/>
          </a:xfrm>
          <a:prstGeom prst="rect">
            <a:avLst/>
          </a:prstGeom>
        </p:spPr>
        <p:txBody>
          <a:bodyPr spcFirstLastPara="1" wrap="square" lIns="45700" tIns="18275" rIns="45700" bIns="18275" anchor="t" anchorCtr="0">
            <a:noAutofit/>
          </a:bodyPr>
          <a:lstStyle>
            <a:lvl1pPr lvl="0" rtl="0">
              <a:lnSpc>
                <a:spcPct val="90000"/>
              </a:lnSpc>
              <a:spcBef>
                <a:spcPts val="0"/>
              </a:spcBef>
              <a:spcAft>
                <a:spcPts val="0"/>
              </a:spcAft>
              <a:buSzPts val="5400"/>
              <a:buNone/>
              <a:defRPr sz="7200" b="1" i="0">
                <a:latin typeface="Helvetica" pitchFamily="2"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5" name="Google Shape;75;p15"/>
          <p:cNvSpPr txBox="1">
            <a:spLocks noGrp="1"/>
          </p:cNvSpPr>
          <p:nvPr>
            <p:ph type="body" idx="1"/>
          </p:nvPr>
        </p:nvSpPr>
        <p:spPr>
          <a:xfrm>
            <a:off x="816867" y="4096500"/>
            <a:ext cx="5641200" cy="1634800"/>
          </a:xfrm>
          <a:prstGeom prst="rect">
            <a:avLst/>
          </a:prstGeom>
        </p:spPr>
        <p:txBody>
          <a:bodyPr spcFirstLastPara="1" wrap="square" lIns="45700" tIns="18275" rIns="45700" bIns="18275" anchor="t" anchorCtr="0">
            <a:noAutofit/>
          </a:bodyPr>
          <a:lstStyle>
            <a:lvl1pPr marL="0" lvl="0" indent="0">
              <a:spcBef>
                <a:spcPts val="0"/>
              </a:spcBef>
              <a:spcAft>
                <a:spcPts val="0"/>
              </a:spcAft>
              <a:buSzPts val="1000"/>
              <a:buNone/>
              <a:defRPr b="0" i="0">
                <a:latin typeface="Helvetica" pitchFamily="2" charset="0"/>
              </a:defRPr>
            </a:lvl1pPr>
            <a:lvl2pPr marL="1219170" lvl="1" indent="-389457">
              <a:spcBef>
                <a:spcPts val="0"/>
              </a:spcBef>
              <a:spcAft>
                <a:spcPts val="0"/>
              </a:spcAft>
              <a:buSzPts val="1000"/>
              <a:buChar char="○"/>
              <a:defRPr/>
            </a:lvl2pPr>
            <a:lvl3pPr marL="1828754" lvl="2" indent="-389457">
              <a:spcBef>
                <a:spcPts val="0"/>
              </a:spcBef>
              <a:spcAft>
                <a:spcPts val="0"/>
              </a:spcAft>
              <a:buSzPts val="1000"/>
              <a:buChar char="■"/>
              <a:defRPr/>
            </a:lvl3pPr>
            <a:lvl4pPr marL="2438339" lvl="3" indent="-389457">
              <a:spcBef>
                <a:spcPts val="0"/>
              </a:spcBef>
              <a:spcAft>
                <a:spcPts val="0"/>
              </a:spcAft>
              <a:buSzPts val="1000"/>
              <a:buChar char="●"/>
              <a:defRPr/>
            </a:lvl4pPr>
            <a:lvl5pPr marL="3047924" lvl="4" indent="-389457">
              <a:spcBef>
                <a:spcPts val="0"/>
              </a:spcBef>
              <a:spcAft>
                <a:spcPts val="0"/>
              </a:spcAft>
              <a:buSzPts val="1000"/>
              <a:buChar char="○"/>
              <a:defRPr/>
            </a:lvl5pPr>
            <a:lvl6pPr marL="3657509" lvl="5" indent="-389457">
              <a:spcBef>
                <a:spcPts val="0"/>
              </a:spcBef>
              <a:spcAft>
                <a:spcPts val="0"/>
              </a:spcAft>
              <a:buSzPts val="1000"/>
              <a:buChar char="■"/>
              <a:defRPr/>
            </a:lvl6pPr>
            <a:lvl7pPr marL="4267093" lvl="6" indent="-389457">
              <a:spcBef>
                <a:spcPts val="0"/>
              </a:spcBef>
              <a:spcAft>
                <a:spcPts val="0"/>
              </a:spcAft>
              <a:buSzPts val="1000"/>
              <a:buChar char="●"/>
              <a:defRPr/>
            </a:lvl7pPr>
            <a:lvl8pPr marL="4876678" lvl="7" indent="-389457">
              <a:spcBef>
                <a:spcPts val="0"/>
              </a:spcBef>
              <a:spcAft>
                <a:spcPts val="0"/>
              </a:spcAft>
              <a:buSzPts val="1000"/>
              <a:buChar char="○"/>
              <a:defRPr/>
            </a:lvl8pPr>
            <a:lvl9pPr marL="5486263" lvl="8" indent="-389457">
              <a:spcBef>
                <a:spcPts val="0"/>
              </a:spcBef>
              <a:spcAft>
                <a:spcPts val="0"/>
              </a:spcAft>
              <a:buSzPts val="1000"/>
              <a:buChar char="■"/>
              <a:defRPr/>
            </a:lvl9pPr>
          </a:lstStyle>
          <a:p>
            <a:endParaRPr/>
          </a:p>
        </p:txBody>
      </p:sp>
      <p:sp>
        <p:nvSpPr>
          <p:cNvPr id="12" name="Google Shape;56;p14">
            <a:extLst>
              <a:ext uri="{FF2B5EF4-FFF2-40B4-BE49-F238E27FC236}">
                <a16:creationId xmlns:a16="http://schemas.microsoft.com/office/drawing/2014/main" id="{5A71BBE2-71EE-3842-AA49-8D4AD4FEF524}"/>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defTabSz="914400" rtl="0" eaLnBrk="1" latinLnBrk="0" hangingPunct="1">
              <a:lnSpc>
                <a:spcPct val="120000"/>
              </a:lnSpc>
              <a:spcBef>
                <a:spcPts val="0"/>
              </a:spcBef>
              <a:spcAft>
                <a:spcPts val="0"/>
              </a:spcAft>
              <a:buNone/>
            </a:pPr>
            <a:r>
              <a:rPr lang="en-US" sz="700" kern="1200" spc="375">
                <a:solidFill>
                  <a:srgbClr val="627597"/>
                </a:solidFill>
                <a:latin typeface="Helvetica" pitchFamily="2" charset="0"/>
                <a:ea typeface="+mn-ea"/>
                <a:cs typeface="Segoe UI Light" panose="020B0502040204020203" pitchFamily="34" charset="0"/>
                <a:sym typeface="Helvetica Neue"/>
              </a:rPr>
              <a:t>MICROSOFT DEV BOX</a:t>
            </a:r>
            <a:endParaRPr lang="en-US" sz="700" kern="1200" spc="375">
              <a:solidFill>
                <a:srgbClr val="627597"/>
              </a:solidFill>
              <a:latin typeface="Helvetica" pitchFamily="2" charset="0"/>
              <a:ea typeface="+mn-ea"/>
              <a:cs typeface="Segoe UI Light" panose="020B0502040204020203" pitchFamily="34" charset="0"/>
            </a:endParaRPr>
          </a:p>
        </p:txBody>
      </p:sp>
    </p:spTree>
    <p:extLst>
      <p:ext uri="{BB962C8B-B14F-4D97-AF65-F5344CB8AC3E}">
        <p14:creationId xmlns:p14="http://schemas.microsoft.com/office/powerpoint/2010/main" val="395433558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matchingName="102. Template instructions (Footer Instructions)">
  <p:cSld name="102. Template instructions (Footer Instructions)">
    <p:spTree>
      <p:nvGrpSpPr>
        <p:cNvPr id="1" name="Shape 2527"/>
        <p:cNvGrpSpPr/>
        <p:nvPr/>
      </p:nvGrpSpPr>
      <p:grpSpPr>
        <a:xfrm>
          <a:off x="0" y="0"/>
          <a:ext cx="0" cy="0"/>
          <a:chOff x="0" y="0"/>
          <a:chExt cx="0" cy="0"/>
        </a:xfrm>
      </p:grpSpPr>
      <p:sp>
        <p:nvSpPr>
          <p:cNvPr id="2528" name="Google Shape;2528;p130"/>
          <p:cNvSpPr txBox="1"/>
          <p:nvPr/>
        </p:nvSpPr>
        <p:spPr>
          <a:xfrm>
            <a:off x="1114829" y="414307"/>
            <a:ext cx="6570800" cy="789960"/>
          </a:xfrm>
          <a:prstGeom prst="rect">
            <a:avLst/>
          </a:prstGeom>
          <a:noFill/>
          <a:ln>
            <a:noFill/>
          </a:ln>
        </p:spPr>
        <p:txBody>
          <a:bodyPr spcFirstLastPara="1" wrap="square" lIns="25400" tIns="25400" rIns="25400" bIns="25400"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 sz="4800" b="1" i="0" u="none" strike="noStrike" cap="none">
                <a:solidFill>
                  <a:srgbClr val="F0F6FC"/>
                </a:solidFill>
              </a:rPr>
              <a:t>Footer instructions</a:t>
            </a:r>
            <a:endParaRPr sz="4800" b="1"/>
          </a:p>
        </p:txBody>
      </p:sp>
      <p:sp>
        <p:nvSpPr>
          <p:cNvPr id="2529" name="Google Shape;2529;p130"/>
          <p:cNvSpPr txBox="1"/>
          <p:nvPr/>
        </p:nvSpPr>
        <p:spPr>
          <a:xfrm>
            <a:off x="1094893" y="4529593"/>
            <a:ext cx="2665200" cy="702642"/>
          </a:xfrm>
          <a:prstGeom prst="rect">
            <a:avLst/>
          </a:prstGeom>
          <a:noFill/>
          <a:ln>
            <a:noFill/>
          </a:ln>
        </p:spPr>
        <p:txBody>
          <a:bodyPr spcFirstLastPara="1" wrap="square" lIns="45700" tIns="22867" rIns="45700" bIns="22867" anchor="t" anchorCtr="0">
            <a:spAutoFit/>
          </a:bodyPr>
          <a:lstStyle/>
          <a:p>
            <a:pPr marL="0" marR="0" lvl="0" indent="0" algn="l" rtl="0">
              <a:lnSpc>
                <a:spcPct val="100000"/>
              </a:lnSpc>
              <a:spcBef>
                <a:spcPts val="0"/>
              </a:spcBef>
              <a:spcAft>
                <a:spcPts val="0"/>
              </a:spcAft>
              <a:buClr>
                <a:schemeClr val="lt1"/>
              </a:buClr>
              <a:buSzPts val="1400"/>
              <a:buFont typeface="Arial"/>
              <a:buNone/>
            </a:pPr>
            <a:r>
              <a:rPr lang="en" sz="2133" i="0" u="none" strike="noStrike" cap="none">
                <a:solidFill>
                  <a:schemeClr val="lt1"/>
                </a:solidFill>
              </a:rPr>
              <a:t>Click </a:t>
            </a:r>
            <a:r>
              <a:rPr lang="en" sz="2133">
                <a:solidFill>
                  <a:schemeClr val="lt1"/>
                </a:solidFill>
              </a:rPr>
              <a:t>“Slide” then “Edit theme”</a:t>
            </a:r>
            <a:endParaRPr sz="2133"/>
          </a:p>
        </p:txBody>
      </p:sp>
      <p:sp>
        <p:nvSpPr>
          <p:cNvPr id="2530" name="Google Shape;2530;p130"/>
          <p:cNvSpPr txBox="1"/>
          <p:nvPr/>
        </p:nvSpPr>
        <p:spPr>
          <a:xfrm>
            <a:off x="1094901" y="5328000"/>
            <a:ext cx="2971600" cy="789960"/>
          </a:xfrm>
          <a:prstGeom prst="rect">
            <a:avLst/>
          </a:prstGeom>
          <a:noFill/>
          <a:ln>
            <a:noFill/>
          </a:ln>
        </p:spPr>
        <p:txBody>
          <a:bodyPr spcFirstLastPara="1" wrap="square" lIns="25400" tIns="25400" rIns="25400" bIns="25400"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 sz="2400" i="0" u="none" strike="noStrike" cap="none">
                <a:solidFill>
                  <a:srgbClr val="8B949E"/>
                </a:solidFill>
              </a:rPr>
              <a:t>Found at the top of the tool bar </a:t>
            </a:r>
            <a:endParaRPr sz="2400">
              <a:solidFill>
                <a:srgbClr val="8B949E"/>
              </a:solidFill>
            </a:endParaRPr>
          </a:p>
        </p:txBody>
      </p:sp>
      <p:sp>
        <p:nvSpPr>
          <p:cNvPr id="2531" name="Google Shape;2531;p130"/>
          <p:cNvSpPr txBox="1"/>
          <p:nvPr/>
        </p:nvSpPr>
        <p:spPr>
          <a:xfrm>
            <a:off x="4646335" y="4529600"/>
            <a:ext cx="2960000" cy="702642"/>
          </a:xfrm>
          <a:prstGeom prst="rect">
            <a:avLst/>
          </a:prstGeom>
          <a:noFill/>
          <a:ln>
            <a:noFill/>
          </a:ln>
        </p:spPr>
        <p:txBody>
          <a:bodyPr spcFirstLastPara="1" wrap="square" lIns="45700" tIns="22867" rIns="45700" bIns="22867" anchor="t" anchorCtr="0">
            <a:spAutoFit/>
          </a:bodyPr>
          <a:lstStyle/>
          <a:p>
            <a:pPr marL="0" marR="0" lvl="0" indent="0" algn="l" rtl="0">
              <a:lnSpc>
                <a:spcPct val="100000"/>
              </a:lnSpc>
              <a:spcBef>
                <a:spcPts val="0"/>
              </a:spcBef>
              <a:spcAft>
                <a:spcPts val="0"/>
              </a:spcAft>
              <a:buClr>
                <a:schemeClr val="lt1"/>
              </a:buClr>
              <a:buSzPts val="1400"/>
              <a:buFont typeface="Arial"/>
              <a:buNone/>
            </a:pPr>
            <a:r>
              <a:rPr lang="en" sz="2133">
                <a:solidFill>
                  <a:schemeClr val="lt1"/>
                </a:solidFill>
              </a:rPr>
              <a:t>Edit the footer on </a:t>
            </a:r>
            <a:br>
              <a:rPr lang="en" sz="2133">
                <a:solidFill>
                  <a:schemeClr val="lt1"/>
                </a:solidFill>
              </a:rPr>
            </a:br>
            <a:r>
              <a:rPr lang="en" sz="2133">
                <a:solidFill>
                  <a:schemeClr val="lt1"/>
                </a:solidFill>
              </a:rPr>
              <a:t>Slide 0 of the theme</a:t>
            </a:r>
            <a:endParaRPr sz="2133">
              <a:solidFill>
                <a:schemeClr val="lt1"/>
              </a:solidFill>
            </a:endParaRPr>
          </a:p>
        </p:txBody>
      </p:sp>
      <p:sp>
        <p:nvSpPr>
          <p:cNvPr id="2532" name="Google Shape;2532;p130"/>
          <p:cNvSpPr txBox="1"/>
          <p:nvPr/>
        </p:nvSpPr>
        <p:spPr>
          <a:xfrm>
            <a:off x="4646335" y="5328001"/>
            <a:ext cx="2972000" cy="1528624"/>
          </a:xfrm>
          <a:prstGeom prst="rect">
            <a:avLst/>
          </a:prstGeom>
          <a:noFill/>
          <a:ln>
            <a:noFill/>
          </a:ln>
        </p:spPr>
        <p:txBody>
          <a:bodyPr spcFirstLastPara="1" wrap="square" lIns="25400" tIns="25400" rIns="25400" bIns="25400"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 sz="2400" i="0" u="none" strike="noStrike" cap="none">
                <a:solidFill>
                  <a:srgbClr val="8B949E"/>
                </a:solidFill>
              </a:rPr>
              <a:t>By changing the date, talk title, and GitHub hand</a:t>
            </a:r>
            <a:r>
              <a:rPr lang="en" sz="2400">
                <a:solidFill>
                  <a:srgbClr val="8B949E"/>
                </a:solidFill>
              </a:rPr>
              <a:t>le of the speaker(s)</a:t>
            </a:r>
            <a:endParaRPr sz="2400">
              <a:solidFill>
                <a:srgbClr val="8B949E"/>
              </a:solidFill>
            </a:endParaRPr>
          </a:p>
        </p:txBody>
      </p:sp>
      <p:sp>
        <p:nvSpPr>
          <p:cNvPr id="2533" name="Google Shape;2533;p130"/>
          <p:cNvSpPr txBox="1"/>
          <p:nvPr/>
        </p:nvSpPr>
        <p:spPr>
          <a:xfrm>
            <a:off x="8132432" y="4529600"/>
            <a:ext cx="2972000" cy="1030874"/>
          </a:xfrm>
          <a:prstGeom prst="rect">
            <a:avLst/>
          </a:prstGeom>
          <a:noFill/>
          <a:ln>
            <a:noFill/>
          </a:ln>
        </p:spPr>
        <p:txBody>
          <a:bodyPr spcFirstLastPara="1" wrap="square" lIns="45700" tIns="22867" rIns="45700" bIns="22867" anchor="t" anchorCtr="0">
            <a:spAutoFit/>
          </a:bodyPr>
          <a:lstStyle/>
          <a:p>
            <a:pPr marL="0" marR="0" lvl="0" indent="0" algn="l" rtl="0">
              <a:lnSpc>
                <a:spcPct val="100000"/>
              </a:lnSpc>
              <a:spcBef>
                <a:spcPts val="0"/>
              </a:spcBef>
              <a:spcAft>
                <a:spcPts val="0"/>
              </a:spcAft>
              <a:buClr>
                <a:schemeClr val="lt1"/>
              </a:buClr>
              <a:buSzPts val="1400"/>
              <a:buFont typeface="Arial"/>
              <a:buNone/>
            </a:pPr>
            <a:r>
              <a:rPr lang="en" sz="2133">
                <a:solidFill>
                  <a:schemeClr val="lt1"/>
                </a:solidFill>
              </a:rPr>
              <a:t>Click the X at the top right to close out and return to presentation</a:t>
            </a:r>
            <a:endParaRPr sz="2133">
              <a:solidFill>
                <a:schemeClr val="lt1"/>
              </a:solidFill>
            </a:endParaRPr>
          </a:p>
        </p:txBody>
      </p:sp>
      <p:pic>
        <p:nvPicPr>
          <p:cNvPr id="2534" name="Google Shape;2534;p130"/>
          <p:cNvPicPr preferRelativeResize="0"/>
          <p:nvPr/>
        </p:nvPicPr>
        <p:blipFill rotWithShape="1">
          <a:blip r:embed="rId2">
            <a:alphaModFix/>
          </a:blip>
          <a:srcRect l="1761" r="28042"/>
          <a:stretch/>
        </p:blipFill>
        <p:spPr>
          <a:xfrm>
            <a:off x="1102359" y="1693205"/>
            <a:ext cx="2972000" cy="2495200"/>
          </a:xfrm>
          <a:prstGeom prst="roundRect">
            <a:avLst>
              <a:gd name="adj" fmla="val 3546"/>
            </a:avLst>
          </a:prstGeom>
          <a:noFill/>
          <a:ln w="19050" cap="flat" cmpd="sng">
            <a:solidFill>
              <a:schemeClr val="accent1"/>
            </a:solidFill>
            <a:prstDash val="solid"/>
            <a:round/>
            <a:headEnd type="none" w="sm" len="sm"/>
            <a:tailEnd type="none" w="sm" len="sm"/>
          </a:ln>
        </p:spPr>
      </p:pic>
      <p:sp>
        <p:nvSpPr>
          <p:cNvPr id="2535" name="Google Shape;2535;p130"/>
          <p:cNvSpPr/>
          <p:nvPr/>
        </p:nvSpPr>
        <p:spPr>
          <a:xfrm>
            <a:off x="1868233" y="1766300"/>
            <a:ext cx="189200" cy="148800"/>
          </a:xfrm>
          <a:prstGeom prst="roundRect">
            <a:avLst>
              <a:gd name="adj" fmla="val 16667"/>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2536" name="Google Shape;2536;p130"/>
          <p:cNvSpPr/>
          <p:nvPr/>
        </p:nvSpPr>
        <p:spPr>
          <a:xfrm>
            <a:off x="1841567" y="2743200"/>
            <a:ext cx="678800" cy="122400"/>
          </a:xfrm>
          <a:prstGeom prst="roundRect">
            <a:avLst>
              <a:gd name="adj" fmla="val 16667"/>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pic>
        <p:nvPicPr>
          <p:cNvPr id="2537" name="Google Shape;2537;p130"/>
          <p:cNvPicPr preferRelativeResize="0"/>
          <p:nvPr/>
        </p:nvPicPr>
        <p:blipFill rotWithShape="1">
          <a:blip r:embed="rId3">
            <a:alphaModFix/>
          </a:blip>
          <a:srcRect l="578" r="37252"/>
          <a:stretch/>
        </p:blipFill>
        <p:spPr>
          <a:xfrm>
            <a:off x="4634196" y="1693205"/>
            <a:ext cx="2972000" cy="2495200"/>
          </a:xfrm>
          <a:prstGeom prst="roundRect">
            <a:avLst>
              <a:gd name="adj" fmla="val 3843"/>
            </a:avLst>
          </a:prstGeom>
          <a:noFill/>
          <a:ln w="19050" cap="flat" cmpd="sng">
            <a:solidFill>
              <a:schemeClr val="accent1"/>
            </a:solidFill>
            <a:prstDash val="solid"/>
            <a:round/>
            <a:headEnd type="none" w="sm" len="sm"/>
            <a:tailEnd type="none" w="sm" len="sm"/>
          </a:ln>
        </p:spPr>
      </p:pic>
      <p:sp>
        <p:nvSpPr>
          <p:cNvPr id="2538" name="Google Shape;2538;p130"/>
          <p:cNvSpPr/>
          <p:nvPr/>
        </p:nvSpPr>
        <p:spPr>
          <a:xfrm>
            <a:off x="5056463" y="2105920"/>
            <a:ext cx="662000" cy="389600"/>
          </a:xfrm>
          <a:prstGeom prst="roundRect">
            <a:avLst>
              <a:gd name="adj" fmla="val 7079"/>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2539" name="Google Shape;2539;p130"/>
          <p:cNvSpPr/>
          <p:nvPr/>
        </p:nvSpPr>
        <p:spPr>
          <a:xfrm>
            <a:off x="6187132" y="3812767"/>
            <a:ext cx="1431200" cy="190800"/>
          </a:xfrm>
          <a:prstGeom prst="roundRect">
            <a:avLst>
              <a:gd name="adj" fmla="val 7079"/>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pic>
        <p:nvPicPr>
          <p:cNvPr id="2540" name="Google Shape;2540;p130"/>
          <p:cNvPicPr preferRelativeResize="0"/>
          <p:nvPr/>
        </p:nvPicPr>
        <p:blipFill rotWithShape="1">
          <a:blip r:embed="rId4">
            <a:alphaModFix/>
          </a:blip>
          <a:srcRect l="40564"/>
          <a:stretch/>
        </p:blipFill>
        <p:spPr>
          <a:xfrm>
            <a:off x="8120313" y="1673211"/>
            <a:ext cx="3013600" cy="2535200"/>
          </a:xfrm>
          <a:prstGeom prst="roundRect">
            <a:avLst>
              <a:gd name="adj" fmla="val 3246"/>
            </a:avLst>
          </a:prstGeom>
          <a:noFill/>
          <a:ln w="19050" cap="flat" cmpd="sng">
            <a:solidFill>
              <a:schemeClr val="accent1"/>
            </a:solidFill>
            <a:prstDash val="solid"/>
            <a:round/>
            <a:headEnd type="none" w="sm" len="sm"/>
            <a:tailEnd type="none" w="sm" len="sm"/>
          </a:ln>
        </p:spPr>
      </p:pic>
      <p:sp>
        <p:nvSpPr>
          <p:cNvPr id="2541" name="Google Shape;2541;p130"/>
          <p:cNvSpPr/>
          <p:nvPr/>
        </p:nvSpPr>
        <p:spPr>
          <a:xfrm>
            <a:off x="10979167" y="1949200"/>
            <a:ext cx="168800" cy="190800"/>
          </a:xfrm>
          <a:prstGeom prst="roundRect">
            <a:avLst>
              <a:gd name="adj" fmla="val 7079"/>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838715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with graphic 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A picture containing drawing&#10;&#10;Description automatically generated">
            <a:extLst>
              <a:ext uri="{FF2B5EF4-FFF2-40B4-BE49-F238E27FC236}">
                <a16:creationId xmlns:a16="http://schemas.microsoft.com/office/drawing/2014/main" id="{57D6331F-1A15-46AA-A57A-300CC97487E4}"/>
              </a:ext>
            </a:extLst>
          </p:cNvPr>
          <p:cNvPicPr>
            <a:picLocks noChangeAspect="1"/>
          </p:cNvPicPr>
          <p:nvPr userDrawn="1"/>
        </p:nvPicPr>
        <p:blipFill>
          <a:blip r:embed="rId2"/>
          <a:stretch>
            <a:fillRect/>
          </a:stretch>
        </p:blipFill>
        <p:spPr>
          <a:xfrm>
            <a:off x="136885" y="159691"/>
            <a:ext cx="2635247" cy="871753"/>
          </a:xfrm>
          <a:prstGeom prst="rect">
            <a:avLst/>
          </a:prstGeom>
        </p:spPr>
      </p:pic>
      <p:grpSp>
        <p:nvGrpSpPr>
          <p:cNvPr id="37" name="Group 36">
            <a:extLst>
              <a:ext uri="{FF2B5EF4-FFF2-40B4-BE49-F238E27FC236}">
                <a16:creationId xmlns:a16="http://schemas.microsoft.com/office/drawing/2014/main" id="{695F69F3-6C65-4C67-BE9F-99EE13ECA942}"/>
              </a:ext>
            </a:extLst>
          </p:cNvPr>
          <p:cNvGrpSpPr/>
          <p:nvPr userDrawn="1"/>
        </p:nvGrpSpPr>
        <p:grpSpPr>
          <a:xfrm>
            <a:off x="6600946" y="859776"/>
            <a:ext cx="5148588" cy="5138447"/>
            <a:chOff x="6600946" y="859776"/>
            <a:chExt cx="5148588" cy="5138447"/>
          </a:xfrm>
        </p:grpSpPr>
        <p:grpSp>
          <p:nvGrpSpPr>
            <p:cNvPr id="38" name="Graphic 1">
              <a:extLst>
                <a:ext uri="{FF2B5EF4-FFF2-40B4-BE49-F238E27FC236}">
                  <a16:creationId xmlns:a16="http://schemas.microsoft.com/office/drawing/2014/main" id="{BC070748-6768-4FC2-A431-E43A99B45D24}"/>
                </a:ext>
              </a:extLst>
            </p:cNvPr>
            <p:cNvGrpSpPr/>
            <p:nvPr/>
          </p:nvGrpSpPr>
          <p:grpSpPr>
            <a:xfrm>
              <a:off x="6600946" y="859776"/>
              <a:ext cx="5148588" cy="5138447"/>
              <a:chOff x="5179859" y="2459480"/>
              <a:chExt cx="2077534" cy="2073148"/>
            </a:xfrm>
            <a:gradFill>
              <a:gsLst>
                <a:gs pos="100000">
                  <a:schemeClr val="tx2"/>
                </a:gs>
                <a:gs pos="23000">
                  <a:schemeClr val="accent5"/>
                </a:gs>
              </a:gsLst>
              <a:lin ang="10800000" scaled="1"/>
            </a:gradFill>
          </p:grpSpPr>
          <p:sp>
            <p:nvSpPr>
              <p:cNvPr id="48" name="Freeform: Shape 47">
                <a:extLst>
                  <a:ext uri="{FF2B5EF4-FFF2-40B4-BE49-F238E27FC236}">
                    <a16:creationId xmlns:a16="http://schemas.microsoft.com/office/drawing/2014/main" id="{04C016FB-6079-433E-86F5-11870BD5A617}"/>
                  </a:ext>
                </a:extLst>
              </p:cNvPr>
              <p:cNvSpPr/>
              <p:nvPr/>
            </p:nvSpPr>
            <p:spPr>
              <a:xfrm>
                <a:off x="5496685" y="2820334"/>
                <a:ext cx="1592644" cy="1616092"/>
              </a:xfrm>
              <a:custGeom>
                <a:avLst/>
                <a:gdLst>
                  <a:gd name="connsiteX0" fmla="*/ 1132079 w 1592644"/>
                  <a:gd name="connsiteY0" fmla="*/ 1616093 h 1616092"/>
                  <a:gd name="connsiteX1" fmla="*/ 1023494 w 1592644"/>
                  <a:gd name="connsiteY1" fmla="*/ 1573230 h 1616092"/>
                  <a:gd name="connsiteX2" fmla="*/ 50991 w 1592644"/>
                  <a:gd name="connsiteY2" fmla="*/ 665498 h 1616092"/>
                  <a:gd name="connsiteX3" fmla="*/ 4319 w 1592644"/>
                  <a:gd name="connsiteY3" fmla="*/ 513098 h 1616092"/>
                  <a:gd name="connsiteX4" fmla="*/ 112904 w 1592644"/>
                  <a:gd name="connsiteY4" fmla="*/ 395940 h 1616092"/>
                  <a:gd name="connsiteX5" fmla="*/ 1385444 w 1592644"/>
                  <a:gd name="connsiteY5" fmla="*/ 7320 h 1616092"/>
                  <a:gd name="connsiteX6" fmla="*/ 1541654 w 1592644"/>
                  <a:gd name="connsiteY6" fmla="*/ 43515 h 1616092"/>
                  <a:gd name="connsiteX7" fmla="*/ 1588326 w 1592644"/>
                  <a:gd name="connsiteY7" fmla="*/ 195915 h 1616092"/>
                  <a:gd name="connsiteX8" fmla="*/ 1289241 w 1592644"/>
                  <a:gd name="connsiteY8" fmla="*/ 1492268 h 1616092"/>
                  <a:gd name="connsiteX9" fmla="*/ 1180656 w 1592644"/>
                  <a:gd name="connsiteY9" fmla="*/ 1609425 h 1616092"/>
                  <a:gd name="connsiteX10" fmla="*/ 1132079 w 1592644"/>
                  <a:gd name="connsiteY10" fmla="*/ 1616093 h 1616092"/>
                  <a:gd name="connsiteX11" fmla="*/ 54801 w 1592644"/>
                  <a:gd name="connsiteY11" fmla="*/ 661688 h 1616092"/>
                  <a:gd name="connsiteX12" fmla="*/ 1028256 w 1592644"/>
                  <a:gd name="connsiteY12" fmla="*/ 1569420 h 1616092"/>
                  <a:gd name="connsiteX13" fmla="*/ 1178751 w 1592644"/>
                  <a:gd name="connsiteY13" fmla="*/ 1603710 h 1616092"/>
                  <a:gd name="connsiteX14" fmla="*/ 1284479 w 1592644"/>
                  <a:gd name="connsiteY14" fmla="*/ 1490363 h 1616092"/>
                  <a:gd name="connsiteX15" fmla="*/ 1583564 w 1592644"/>
                  <a:gd name="connsiteY15" fmla="*/ 194010 h 1616092"/>
                  <a:gd name="connsiteX16" fmla="*/ 1538796 w 1592644"/>
                  <a:gd name="connsiteY16" fmla="*/ 46373 h 1616092"/>
                  <a:gd name="connsiteX17" fmla="*/ 1388301 w 1592644"/>
                  <a:gd name="connsiteY17" fmla="*/ 12083 h 1616092"/>
                  <a:gd name="connsiteX18" fmla="*/ 114809 w 1592644"/>
                  <a:gd name="connsiteY18" fmla="*/ 401655 h 1616092"/>
                  <a:gd name="connsiteX19" fmla="*/ 9081 w 1592644"/>
                  <a:gd name="connsiteY19" fmla="*/ 515003 h 1616092"/>
                  <a:gd name="connsiteX20" fmla="*/ 54801 w 1592644"/>
                  <a:gd name="connsiteY20" fmla="*/ 661688 h 1616092"/>
                  <a:gd name="connsiteX21" fmla="*/ 54801 w 1592644"/>
                  <a:gd name="connsiteY21" fmla="*/ 661688 h 161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2644" h="1616092">
                    <a:moveTo>
                      <a:pt x="1132079" y="1616093"/>
                    </a:moveTo>
                    <a:cubicBezTo>
                      <a:pt x="1092074" y="1616093"/>
                      <a:pt x="1053974" y="1600853"/>
                      <a:pt x="1023494" y="1573230"/>
                    </a:cubicBezTo>
                    <a:lnTo>
                      <a:pt x="50991" y="665498"/>
                    </a:lnTo>
                    <a:cubicBezTo>
                      <a:pt x="9081" y="626445"/>
                      <a:pt x="-9016" y="569295"/>
                      <a:pt x="4319" y="513098"/>
                    </a:cubicBezTo>
                    <a:cubicBezTo>
                      <a:pt x="17654" y="456900"/>
                      <a:pt x="57659" y="413085"/>
                      <a:pt x="112904" y="395940"/>
                    </a:cubicBezTo>
                    <a:lnTo>
                      <a:pt x="1385444" y="7320"/>
                    </a:lnTo>
                    <a:cubicBezTo>
                      <a:pt x="1440689" y="-9825"/>
                      <a:pt x="1498791" y="3510"/>
                      <a:pt x="1541654" y="43515"/>
                    </a:cubicBezTo>
                    <a:cubicBezTo>
                      <a:pt x="1583564" y="82568"/>
                      <a:pt x="1601661" y="139718"/>
                      <a:pt x="1588326" y="195915"/>
                    </a:cubicBezTo>
                    <a:lnTo>
                      <a:pt x="1289241" y="1492268"/>
                    </a:lnTo>
                    <a:cubicBezTo>
                      <a:pt x="1275906" y="1548465"/>
                      <a:pt x="1235901" y="1592280"/>
                      <a:pt x="1180656" y="1609425"/>
                    </a:cubicBezTo>
                    <a:cubicBezTo>
                      <a:pt x="1163511" y="1614188"/>
                      <a:pt x="1148271" y="1616093"/>
                      <a:pt x="1132079" y="1616093"/>
                    </a:cubicBezTo>
                    <a:close/>
                    <a:moveTo>
                      <a:pt x="54801" y="661688"/>
                    </a:moveTo>
                    <a:lnTo>
                      <a:pt x="1028256" y="1569420"/>
                    </a:lnTo>
                    <a:cubicBezTo>
                      <a:pt x="1069214" y="1607520"/>
                      <a:pt x="1125411" y="1620855"/>
                      <a:pt x="1178751" y="1603710"/>
                    </a:cubicBezTo>
                    <a:cubicBezTo>
                      <a:pt x="1232091" y="1587518"/>
                      <a:pt x="1271144" y="1545608"/>
                      <a:pt x="1284479" y="1490363"/>
                    </a:cubicBezTo>
                    <a:lnTo>
                      <a:pt x="1583564" y="194010"/>
                    </a:lnTo>
                    <a:cubicBezTo>
                      <a:pt x="1595946" y="139718"/>
                      <a:pt x="1578801" y="84473"/>
                      <a:pt x="1538796" y="46373"/>
                    </a:cubicBezTo>
                    <a:cubicBezTo>
                      <a:pt x="1497839" y="8273"/>
                      <a:pt x="1441641" y="-5062"/>
                      <a:pt x="1388301" y="12083"/>
                    </a:cubicBezTo>
                    <a:lnTo>
                      <a:pt x="114809" y="401655"/>
                    </a:lnTo>
                    <a:cubicBezTo>
                      <a:pt x="61469" y="417848"/>
                      <a:pt x="22416" y="459758"/>
                      <a:pt x="9081" y="515003"/>
                    </a:cubicBezTo>
                    <a:cubicBezTo>
                      <a:pt x="-3301" y="568343"/>
                      <a:pt x="13844" y="623588"/>
                      <a:pt x="54801" y="661688"/>
                    </a:cubicBezTo>
                    <a:lnTo>
                      <a:pt x="54801" y="661688"/>
                    </a:lnTo>
                    <a:close/>
                  </a:path>
                </a:pathLst>
              </a:custGeom>
              <a:grpFill/>
              <a:ln w="9525" cap="flat">
                <a:noFill/>
                <a:prstDash val="solid"/>
                <a:miter/>
              </a:ln>
            </p:spPr>
            <p:txBody>
              <a:bodyPr rtlCol="0" anchor="ctr"/>
              <a:lstStyle/>
              <a:p>
                <a:endParaRPr lang="en-US" sz="1730"/>
              </a:p>
            </p:txBody>
          </p:sp>
          <p:sp>
            <p:nvSpPr>
              <p:cNvPr id="49" name="Freeform: Shape 48">
                <a:extLst>
                  <a:ext uri="{FF2B5EF4-FFF2-40B4-BE49-F238E27FC236}">
                    <a16:creationId xmlns:a16="http://schemas.microsoft.com/office/drawing/2014/main" id="{54102133-5E8C-4CB3-AC62-D09FC824D203}"/>
                  </a:ext>
                </a:extLst>
              </p:cNvPr>
              <p:cNvSpPr/>
              <p:nvPr/>
            </p:nvSpPr>
            <p:spPr>
              <a:xfrm>
                <a:off x="5569965" y="3033304"/>
                <a:ext cx="1648967" cy="1494562"/>
              </a:xfrm>
              <a:custGeom>
                <a:avLst/>
                <a:gdLst>
                  <a:gd name="connsiteX0" fmla="*/ 784479 w 1648967"/>
                  <a:gd name="connsiteY0" fmla="*/ 1494562 h 1494562"/>
                  <a:gd name="connsiteX1" fmla="*/ 778764 w 1648967"/>
                  <a:gd name="connsiteY1" fmla="*/ 1494562 h 1494562"/>
                  <a:gd name="connsiteX2" fmla="*/ 643509 w 1648967"/>
                  <a:gd name="connsiteY2" fmla="*/ 1409790 h 1494562"/>
                  <a:gd name="connsiteX3" fmla="*/ 18669 w 1648967"/>
                  <a:gd name="connsiteY3" fmla="*/ 235357 h 1494562"/>
                  <a:gd name="connsiteX4" fmla="*/ 18669 w 1648967"/>
                  <a:gd name="connsiteY4" fmla="*/ 235357 h 1494562"/>
                  <a:gd name="connsiteX5" fmla="*/ 24384 w 1648967"/>
                  <a:gd name="connsiteY5" fmla="*/ 75337 h 1494562"/>
                  <a:gd name="connsiteX6" fmla="*/ 165354 w 1648967"/>
                  <a:gd name="connsiteY6" fmla="*/ 90 h 1494562"/>
                  <a:gd name="connsiteX7" fmla="*/ 1495044 w 1648967"/>
                  <a:gd name="connsiteY7" fmla="*/ 46762 h 1494562"/>
                  <a:gd name="connsiteX8" fmla="*/ 1630299 w 1648967"/>
                  <a:gd name="connsiteY8" fmla="*/ 131535 h 1494562"/>
                  <a:gd name="connsiteX9" fmla="*/ 1624584 w 1648967"/>
                  <a:gd name="connsiteY9" fmla="*/ 291555 h 1494562"/>
                  <a:gd name="connsiteX10" fmla="*/ 919734 w 1648967"/>
                  <a:gd name="connsiteY10" fmla="*/ 1419315 h 1494562"/>
                  <a:gd name="connsiteX11" fmla="*/ 784479 w 1648967"/>
                  <a:gd name="connsiteY11" fmla="*/ 1494562 h 1494562"/>
                  <a:gd name="connsiteX12" fmla="*/ 158686 w 1648967"/>
                  <a:gd name="connsiteY12" fmla="*/ 5805 h 1494562"/>
                  <a:gd name="connsiteX13" fmla="*/ 28194 w 1648967"/>
                  <a:gd name="connsiteY13" fmla="*/ 78195 h 1494562"/>
                  <a:gd name="connsiteX14" fmla="*/ 22479 w 1648967"/>
                  <a:gd name="connsiteY14" fmla="*/ 232500 h 1494562"/>
                  <a:gd name="connsiteX15" fmla="*/ 22479 w 1648967"/>
                  <a:gd name="connsiteY15" fmla="*/ 232500 h 1494562"/>
                  <a:gd name="connsiteX16" fmla="*/ 647319 w 1648967"/>
                  <a:gd name="connsiteY16" fmla="*/ 1406932 h 1494562"/>
                  <a:gd name="connsiteX17" fmla="*/ 777812 w 1648967"/>
                  <a:gd name="connsiteY17" fmla="*/ 1488847 h 1494562"/>
                  <a:gd name="connsiteX18" fmla="*/ 914019 w 1648967"/>
                  <a:gd name="connsiteY18" fmla="*/ 1416457 h 1494562"/>
                  <a:gd name="connsiteX19" fmla="*/ 1618869 w 1648967"/>
                  <a:gd name="connsiteY19" fmla="*/ 288697 h 1494562"/>
                  <a:gd name="connsiteX20" fmla="*/ 1624584 w 1648967"/>
                  <a:gd name="connsiteY20" fmla="*/ 134392 h 1494562"/>
                  <a:gd name="connsiteX21" fmla="*/ 1494092 w 1648967"/>
                  <a:gd name="connsiteY21" fmla="*/ 52477 h 1494562"/>
                  <a:gd name="connsiteX22" fmla="*/ 164402 w 1648967"/>
                  <a:gd name="connsiteY22" fmla="*/ 5805 h 1494562"/>
                  <a:gd name="connsiteX23" fmla="*/ 158686 w 1648967"/>
                  <a:gd name="connsiteY23" fmla="*/ 5805 h 14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48967" h="1494562">
                    <a:moveTo>
                      <a:pt x="784479" y="1494562"/>
                    </a:moveTo>
                    <a:cubicBezTo>
                      <a:pt x="782574" y="1494562"/>
                      <a:pt x="780669" y="1494562"/>
                      <a:pt x="778764" y="1494562"/>
                    </a:cubicBezTo>
                    <a:cubicBezTo>
                      <a:pt x="720662" y="1492657"/>
                      <a:pt x="670179" y="1461225"/>
                      <a:pt x="643509" y="1409790"/>
                    </a:cubicBezTo>
                    <a:lnTo>
                      <a:pt x="18669" y="235357"/>
                    </a:lnTo>
                    <a:lnTo>
                      <a:pt x="18669" y="235357"/>
                    </a:lnTo>
                    <a:cubicBezTo>
                      <a:pt x="-8001" y="183922"/>
                      <a:pt x="-6096" y="124867"/>
                      <a:pt x="24384" y="75337"/>
                    </a:cubicBezTo>
                    <a:cubicBezTo>
                      <a:pt x="54864" y="26760"/>
                      <a:pt x="107252" y="-1815"/>
                      <a:pt x="165354" y="90"/>
                    </a:cubicBezTo>
                    <a:lnTo>
                      <a:pt x="1495044" y="46762"/>
                    </a:lnTo>
                    <a:cubicBezTo>
                      <a:pt x="1553147" y="48667"/>
                      <a:pt x="1603629" y="80100"/>
                      <a:pt x="1630299" y="131535"/>
                    </a:cubicBezTo>
                    <a:cubicBezTo>
                      <a:pt x="1656969" y="182970"/>
                      <a:pt x="1655064" y="242025"/>
                      <a:pt x="1624584" y="291555"/>
                    </a:cubicBezTo>
                    <a:lnTo>
                      <a:pt x="919734" y="1419315"/>
                    </a:lnTo>
                    <a:cubicBezTo>
                      <a:pt x="890206" y="1466940"/>
                      <a:pt x="839724" y="1494562"/>
                      <a:pt x="784479" y="1494562"/>
                    </a:cubicBezTo>
                    <a:close/>
                    <a:moveTo>
                      <a:pt x="158686" y="5805"/>
                    </a:moveTo>
                    <a:cubicBezTo>
                      <a:pt x="105347" y="5805"/>
                      <a:pt x="56769" y="32475"/>
                      <a:pt x="28194" y="78195"/>
                    </a:cubicBezTo>
                    <a:cubicBezTo>
                      <a:pt x="-1334" y="125820"/>
                      <a:pt x="-3239" y="182970"/>
                      <a:pt x="22479" y="232500"/>
                    </a:cubicBezTo>
                    <a:lnTo>
                      <a:pt x="22479" y="232500"/>
                    </a:lnTo>
                    <a:lnTo>
                      <a:pt x="647319" y="1406932"/>
                    </a:lnTo>
                    <a:cubicBezTo>
                      <a:pt x="673989" y="1456462"/>
                      <a:pt x="722567" y="1486942"/>
                      <a:pt x="777812" y="1488847"/>
                    </a:cubicBezTo>
                    <a:cubicBezTo>
                      <a:pt x="834009" y="1490752"/>
                      <a:pt x="884492" y="1464082"/>
                      <a:pt x="914019" y="1416457"/>
                    </a:cubicBezTo>
                    <a:lnTo>
                      <a:pt x="1618869" y="288697"/>
                    </a:lnTo>
                    <a:cubicBezTo>
                      <a:pt x="1648397" y="241072"/>
                      <a:pt x="1650302" y="183922"/>
                      <a:pt x="1624584" y="134392"/>
                    </a:cubicBezTo>
                    <a:cubicBezTo>
                      <a:pt x="1597914" y="84862"/>
                      <a:pt x="1549337" y="54382"/>
                      <a:pt x="1494092" y="52477"/>
                    </a:cubicBezTo>
                    <a:lnTo>
                      <a:pt x="164402" y="5805"/>
                    </a:lnTo>
                    <a:cubicBezTo>
                      <a:pt x="162497" y="5805"/>
                      <a:pt x="160592" y="5805"/>
                      <a:pt x="158686" y="5805"/>
                    </a:cubicBezTo>
                    <a:close/>
                  </a:path>
                </a:pathLst>
              </a:custGeom>
              <a:grpFill/>
              <a:ln w="9525" cap="flat">
                <a:noFill/>
                <a:prstDash val="solid"/>
                <a:miter/>
              </a:ln>
            </p:spPr>
            <p:txBody>
              <a:bodyPr rtlCol="0" anchor="ctr"/>
              <a:lstStyle/>
              <a:p>
                <a:endParaRPr lang="en-US" sz="1730"/>
              </a:p>
            </p:txBody>
          </p:sp>
          <p:sp>
            <p:nvSpPr>
              <p:cNvPr id="50" name="Freeform: Shape 49">
                <a:extLst>
                  <a:ext uri="{FF2B5EF4-FFF2-40B4-BE49-F238E27FC236}">
                    <a16:creationId xmlns:a16="http://schemas.microsoft.com/office/drawing/2014/main" id="{0BCE9930-CFBB-4646-901A-120648FA1B9E}"/>
                  </a:ext>
                </a:extLst>
              </p:cNvPr>
              <p:cNvSpPr/>
              <p:nvPr/>
            </p:nvSpPr>
            <p:spPr>
              <a:xfrm>
                <a:off x="5695335" y="2890984"/>
                <a:ext cx="1562058" cy="1634024"/>
              </a:xfrm>
              <a:custGeom>
                <a:avLst/>
                <a:gdLst>
                  <a:gd name="connsiteX0" fmla="*/ 368597 w 1562058"/>
                  <a:gd name="connsiteY0" fmla="*/ 1634025 h 1634024"/>
                  <a:gd name="connsiteX1" fmla="*/ 310494 w 1562058"/>
                  <a:gd name="connsiteY1" fmla="*/ 1623547 h 1634024"/>
                  <a:gd name="connsiteX2" fmla="*/ 209529 w 1562058"/>
                  <a:gd name="connsiteY2" fmla="*/ 1499722 h 1634024"/>
                  <a:gd name="connsiteX3" fmla="*/ 1884 w 1562058"/>
                  <a:gd name="connsiteY3" fmla="*/ 185272 h 1634024"/>
                  <a:gd name="connsiteX4" fmla="*/ 59034 w 1562058"/>
                  <a:gd name="connsiteY4" fmla="*/ 35730 h 1634024"/>
                  <a:gd name="connsiteX5" fmla="*/ 217149 w 1562058"/>
                  <a:gd name="connsiteY5" fmla="*/ 10965 h 1634024"/>
                  <a:gd name="connsiteX6" fmla="*/ 1459210 w 1562058"/>
                  <a:gd name="connsiteY6" fmla="*/ 488167 h 1634024"/>
                  <a:gd name="connsiteX7" fmla="*/ 1560174 w 1562058"/>
                  <a:gd name="connsiteY7" fmla="*/ 611992 h 1634024"/>
                  <a:gd name="connsiteX8" fmla="*/ 1503024 w 1562058"/>
                  <a:gd name="connsiteY8" fmla="*/ 761535 h 1634024"/>
                  <a:gd name="connsiteX9" fmla="*/ 469562 w 1562058"/>
                  <a:gd name="connsiteY9" fmla="*/ 1598782 h 1634024"/>
                  <a:gd name="connsiteX10" fmla="*/ 368597 w 1562058"/>
                  <a:gd name="connsiteY10" fmla="*/ 1634025 h 1634024"/>
                  <a:gd name="connsiteX11" fmla="*/ 159047 w 1562058"/>
                  <a:gd name="connsiteY11" fmla="*/ 5250 h 1634024"/>
                  <a:gd name="connsiteX12" fmla="*/ 62844 w 1562058"/>
                  <a:gd name="connsiteY12" fmla="*/ 39540 h 1634024"/>
                  <a:gd name="connsiteX13" fmla="*/ 7599 w 1562058"/>
                  <a:gd name="connsiteY13" fmla="*/ 183367 h 1634024"/>
                  <a:gd name="connsiteX14" fmla="*/ 215244 w 1562058"/>
                  <a:gd name="connsiteY14" fmla="*/ 1497818 h 1634024"/>
                  <a:gd name="connsiteX15" fmla="*/ 312399 w 1562058"/>
                  <a:gd name="connsiteY15" fmla="*/ 1617832 h 1634024"/>
                  <a:gd name="connsiteX16" fmla="*/ 464799 w 1562058"/>
                  <a:gd name="connsiteY16" fmla="*/ 1594020 h 1634024"/>
                  <a:gd name="connsiteX17" fmla="*/ 1498262 w 1562058"/>
                  <a:gd name="connsiteY17" fmla="*/ 756772 h 1634024"/>
                  <a:gd name="connsiteX18" fmla="*/ 1553507 w 1562058"/>
                  <a:gd name="connsiteY18" fmla="*/ 612945 h 1634024"/>
                  <a:gd name="connsiteX19" fmla="*/ 1456352 w 1562058"/>
                  <a:gd name="connsiteY19" fmla="*/ 492930 h 1634024"/>
                  <a:gd name="connsiteX20" fmla="*/ 215244 w 1562058"/>
                  <a:gd name="connsiteY20" fmla="*/ 15727 h 1634024"/>
                  <a:gd name="connsiteX21" fmla="*/ 159047 w 1562058"/>
                  <a:gd name="connsiteY21" fmla="*/ 5250 h 1634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62058" h="1634024">
                    <a:moveTo>
                      <a:pt x="368597" y="1634025"/>
                    </a:moveTo>
                    <a:cubicBezTo>
                      <a:pt x="349547" y="1634025"/>
                      <a:pt x="329544" y="1630215"/>
                      <a:pt x="310494" y="1623547"/>
                    </a:cubicBezTo>
                    <a:cubicBezTo>
                      <a:pt x="256202" y="1602593"/>
                      <a:pt x="219054" y="1556872"/>
                      <a:pt x="209529" y="1499722"/>
                    </a:cubicBezTo>
                    <a:lnTo>
                      <a:pt x="1884" y="185272"/>
                    </a:lnTo>
                    <a:cubicBezTo>
                      <a:pt x="-6688" y="128122"/>
                      <a:pt x="14267" y="72877"/>
                      <a:pt x="59034" y="35730"/>
                    </a:cubicBezTo>
                    <a:cubicBezTo>
                      <a:pt x="103802" y="-465"/>
                      <a:pt x="162857" y="-9990"/>
                      <a:pt x="217149" y="10965"/>
                    </a:cubicBezTo>
                    <a:lnTo>
                      <a:pt x="1459210" y="488167"/>
                    </a:lnTo>
                    <a:cubicBezTo>
                      <a:pt x="1513502" y="509122"/>
                      <a:pt x="1550649" y="554842"/>
                      <a:pt x="1560174" y="611992"/>
                    </a:cubicBezTo>
                    <a:cubicBezTo>
                      <a:pt x="1568747" y="669142"/>
                      <a:pt x="1547792" y="724387"/>
                      <a:pt x="1503024" y="761535"/>
                    </a:cubicBezTo>
                    <a:lnTo>
                      <a:pt x="469562" y="1598782"/>
                    </a:lnTo>
                    <a:cubicBezTo>
                      <a:pt x="439082" y="1621643"/>
                      <a:pt x="404792" y="1634025"/>
                      <a:pt x="368597" y="1634025"/>
                    </a:cubicBezTo>
                    <a:close/>
                    <a:moveTo>
                      <a:pt x="159047" y="5250"/>
                    </a:moveTo>
                    <a:cubicBezTo>
                      <a:pt x="124757" y="5250"/>
                      <a:pt x="90467" y="16680"/>
                      <a:pt x="62844" y="39540"/>
                    </a:cubicBezTo>
                    <a:cubicBezTo>
                      <a:pt x="19029" y="74782"/>
                      <a:pt x="-973" y="128122"/>
                      <a:pt x="7599" y="183367"/>
                    </a:cubicBezTo>
                    <a:lnTo>
                      <a:pt x="215244" y="1497818"/>
                    </a:lnTo>
                    <a:cubicBezTo>
                      <a:pt x="223817" y="1553062"/>
                      <a:pt x="260012" y="1597830"/>
                      <a:pt x="312399" y="1617832"/>
                    </a:cubicBezTo>
                    <a:cubicBezTo>
                      <a:pt x="364787" y="1637835"/>
                      <a:pt x="421937" y="1629262"/>
                      <a:pt x="464799" y="1594020"/>
                    </a:cubicBezTo>
                    <a:lnTo>
                      <a:pt x="1498262" y="756772"/>
                    </a:lnTo>
                    <a:cubicBezTo>
                      <a:pt x="1542077" y="721530"/>
                      <a:pt x="1562080" y="668190"/>
                      <a:pt x="1553507" y="612945"/>
                    </a:cubicBezTo>
                    <a:cubicBezTo>
                      <a:pt x="1544935" y="557700"/>
                      <a:pt x="1508740" y="512932"/>
                      <a:pt x="1456352" y="492930"/>
                    </a:cubicBezTo>
                    <a:lnTo>
                      <a:pt x="215244" y="15727"/>
                    </a:lnTo>
                    <a:cubicBezTo>
                      <a:pt x="197147" y="9060"/>
                      <a:pt x="178097" y="5250"/>
                      <a:pt x="159047" y="5250"/>
                    </a:cubicBezTo>
                    <a:close/>
                  </a:path>
                </a:pathLst>
              </a:custGeom>
              <a:grpFill/>
              <a:ln w="9525" cap="flat">
                <a:noFill/>
                <a:prstDash val="solid"/>
                <a:miter/>
              </a:ln>
            </p:spPr>
            <p:txBody>
              <a:bodyPr rtlCol="0" anchor="ctr"/>
              <a:lstStyle/>
              <a:p>
                <a:endParaRPr lang="en-US" sz="1730"/>
              </a:p>
            </p:txBody>
          </p:sp>
          <p:sp>
            <p:nvSpPr>
              <p:cNvPr id="51" name="Freeform: Shape 50">
                <a:extLst>
                  <a:ext uri="{FF2B5EF4-FFF2-40B4-BE49-F238E27FC236}">
                    <a16:creationId xmlns:a16="http://schemas.microsoft.com/office/drawing/2014/main" id="{8C60FDBA-7C23-4806-88B5-29E31C6583DC}"/>
                  </a:ext>
                </a:extLst>
              </p:cNvPr>
              <p:cNvSpPr/>
              <p:nvPr/>
            </p:nvSpPr>
            <p:spPr>
              <a:xfrm>
                <a:off x="5630741" y="2796715"/>
                <a:ext cx="1568373" cy="1631138"/>
              </a:xfrm>
              <a:custGeom>
                <a:avLst/>
                <a:gdLst>
                  <a:gd name="connsiteX0" fmla="*/ 158870 w 1568373"/>
                  <a:gd name="connsiteY0" fmla="*/ 1631139 h 1631138"/>
                  <a:gd name="connsiteX1" fmla="*/ 56953 w 1568373"/>
                  <a:gd name="connsiteY1" fmla="*/ 1593991 h 1631138"/>
                  <a:gd name="connsiteX2" fmla="*/ 2660 w 1568373"/>
                  <a:gd name="connsiteY2" fmla="*/ 1443496 h 1631138"/>
                  <a:gd name="connsiteX3" fmla="*/ 232213 w 1568373"/>
                  <a:gd name="connsiteY3" fmla="*/ 132856 h 1631138"/>
                  <a:gd name="connsiteX4" fmla="*/ 335083 w 1568373"/>
                  <a:gd name="connsiteY4" fmla="*/ 9984 h 1631138"/>
                  <a:gd name="connsiteX5" fmla="*/ 492246 w 1568373"/>
                  <a:gd name="connsiteY5" fmla="*/ 37606 h 1631138"/>
                  <a:gd name="connsiteX6" fmla="*/ 1511421 w 1568373"/>
                  <a:gd name="connsiteY6" fmla="*/ 892951 h 1631138"/>
                  <a:gd name="connsiteX7" fmla="*/ 1565713 w 1568373"/>
                  <a:gd name="connsiteY7" fmla="*/ 1043446 h 1631138"/>
                  <a:gd name="connsiteX8" fmla="*/ 1462843 w 1568373"/>
                  <a:gd name="connsiteY8" fmla="*/ 1166319 h 1631138"/>
                  <a:gd name="connsiteX9" fmla="*/ 214116 w 1568373"/>
                  <a:gd name="connsiteY9" fmla="*/ 1620662 h 1631138"/>
                  <a:gd name="connsiteX10" fmla="*/ 158870 w 1568373"/>
                  <a:gd name="connsiteY10" fmla="*/ 1631139 h 1631138"/>
                  <a:gd name="connsiteX11" fmla="*/ 390328 w 1568373"/>
                  <a:gd name="connsiteY11" fmla="*/ 6174 h 1631138"/>
                  <a:gd name="connsiteX12" fmla="*/ 336988 w 1568373"/>
                  <a:gd name="connsiteY12" fmla="*/ 15699 h 1631138"/>
                  <a:gd name="connsiteX13" fmla="*/ 237928 w 1568373"/>
                  <a:gd name="connsiteY13" fmla="*/ 133809 h 1631138"/>
                  <a:gd name="connsiteX14" fmla="*/ 7423 w 1568373"/>
                  <a:gd name="connsiteY14" fmla="*/ 1444449 h 1631138"/>
                  <a:gd name="connsiteX15" fmla="*/ 59810 w 1568373"/>
                  <a:gd name="connsiteY15" fmla="*/ 1589229 h 1631138"/>
                  <a:gd name="connsiteX16" fmla="*/ 212210 w 1568373"/>
                  <a:gd name="connsiteY16" fmla="*/ 1615899 h 1631138"/>
                  <a:gd name="connsiteX17" fmla="*/ 1461891 w 1568373"/>
                  <a:gd name="connsiteY17" fmla="*/ 1160604 h 1631138"/>
                  <a:gd name="connsiteX18" fmla="*/ 1560951 w 1568373"/>
                  <a:gd name="connsiteY18" fmla="*/ 1042494 h 1631138"/>
                  <a:gd name="connsiteX19" fmla="*/ 1508563 w 1568373"/>
                  <a:gd name="connsiteY19" fmla="*/ 897714 h 1631138"/>
                  <a:gd name="connsiteX20" fmla="*/ 489388 w 1568373"/>
                  <a:gd name="connsiteY20" fmla="*/ 42369 h 1631138"/>
                  <a:gd name="connsiteX21" fmla="*/ 390328 w 1568373"/>
                  <a:gd name="connsiteY21" fmla="*/ 6174 h 163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68373" h="1631138">
                    <a:moveTo>
                      <a:pt x="158870" y="1631139"/>
                    </a:moveTo>
                    <a:cubicBezTo>
                      <a:pt x="121723" y="1631139"/>
                      <a:pt x="86481" y="1617804"/>
                      <a:pt x="56953" y="1593991"/>
                    </a:cubicBezTo>
                    <a:cubicBezTo>
                      <a:pt x="13138" y="1556844"/>
                      <a:pt x="-7817" y="1500646"/>
                      <a:pt x="2660" y="1443496"/>
                    </a:cubicBezTo>
                    <a:lnTo>
                      <a:pt x="232213" y="132856"/>
                    </a:lnTo>
                    <a:cubicBezTo>
                      <a:pt x="242691" y="75706"/>
                      <a:pt x="280791" y="29986"/>
                      <a:pt x="335083" y="9984"/>
                    </a:cubicBezTo>
                    <a:cubicBezTo>
                      <a:pt x="389375" y="-10019"/>
                      <a:pt x="448431" y="459"/>
                      <a:pt x="492246" y="37606"/>
                    </a:cubicBezTo>
                    <a:lnTo>
                      <a:pt x="1511421" y="892951"/>
                    </a:lnTo>
                    <a:cubicBezTo>
                      <a:pt x="1555236" y="930099"/>
                      <a:pt x="1576191" y="986296"/>
                      <a:pt x="1565713" y="1043446"/>
                    </a:cubicBezTo>
                    <a:cubicBezTo>
                      <a:pt x="1555236" y="1100596"/>
                      <a:pt x="1517136" y="1146316"/>
                      <a:pt x="1462843" y="1166319"/>
                    </a:cubicBezTo>
                    <a:lnTo>
                      <a:pt x="214116" y="1620662"/>
                    </a:lnTo>
                    <a:cubicBezTo>
                      <a:pt x="196018" y="1627329"/>
                      <a:pt x="176968" y="1631139"/>
                      <a:pt x="158870" y="1631139"/>
                    </a:cubicBezTo>
                    <a:close/>
                    <a:moveTo>
                      <a:pt x="390328" y="6174"/>
                    </a:moveTo>
                    <a:cubicBezTo>
                      <a:pt x="372231" y="6174"/>
                      <a:pt x="354133" y="9031"/>
                      <a:pt x="336988" y="15699"/>
                    </a:cubicBezTo>
                    <a:cubicBezTo>
                      <a:pt x="284600" y="34749"/>
                      <a:pt x="247453" y="78564"/>
                      <a:pt x="237928" y="133809"/>
                    </a:cubicBezTo>
                    <a:lnTo>
                      <a:pt x="7423" y="1444449"/>
                    </a:lnTo>
                    <a:cubicBezTo>
                      <a:pt x="-2102" y="1499694"/>
                      <a:pt x="17900" y="1553987"/>
                      <a:pt x="59810" y="1589229"/>
                    </a:cubicBezTo>
                    <a:cubicBezTo>
                      <a:pt x="102673" y="1625424"/>
                      <a:pt x="159823" y="1634949"/>
                      <a:pt x="212210" y="1615899"/>
                    </a:cubicBezTo>
                    <a:lnTo>
                      <a:pt x="1461891" y="1160604"/>
                    </a:lnTo>
                    <a:cubicBezTo>
                      <a:pt x="1514278" y="1141554"/>
                      <a:pt x="1551426" y="1097739"/>
                      <a:pt x="1560951" y="1042494"/>
                    </a:cubicBezTo>
                    <a:cubicBezTo>
                      <a:pt x="1570476" y="987249"/>
                      <a:pt x="1550473" y="932956"/>
                      <a:pt x="1508563" y="897714"/>
                    </a:cubicBezTo>
                    <a:lnTo>
                      <a:pt x="489388" y="42369"/>
                    </a:lnTo>
                    <a:cubicBezTo>
                      <a:pt x="460813" y="18556"/>
                      <a:pt x="426523" y="6174"/>
                      <a:pt x="390328" y="6174"/>
                    </a:cubicBezTo>
                    <a:close/>
                  </a:path>
                </a:pathLst>
              </a:custGeom>
              <a:grpFill/>
              <a:ln w="9525" cap="flat">
                <a:noFill/>
                <a:prstDash val="solid"/>
                <a:miter/>
              </a:ln>
            </p:spPr>
            <p:txBody>
              <a:bodyPr rtlCol="0" anchor="ctr"/>
              <a:lstStyle/>
              <a:p>
                <a:endParaRPr lang="en-US" sz="1730"/>
              </a:p>
            </p:txBody>
          </p:sp>
          <p:sp>
            <p:nvSpPr>
              <p:cNvPr id="52" name="Freeform: Shape 51">
                <a:extLst>
                  <a:ext uri="{FF2B5EF4-FFF2-40B4-BE49-F238E27FC236}">
                    <a16:creationId xmlns:a16="http://schemas.microsoft.com/office/drawing/2014/main" id="{7DC83954-308D-4CAC-ADE0-92CE37FA6207}"/>
                  </a:ext>
                </a:extLst>
              </p:cNvPr>
              <p:cNvSpPr/>
              <p:nvPr/>
            </p:nvSpPr>
            <p:spPr>
              <a:xfrm>
                <a:off x="5402873" y="2763813"/>
                <a:ext cx="1649777" cy="1482113"/>
              </a:xfrm>
              <a:custGeom>
                <a:avLst/>
                <a:gdLst>
                  <a:gd name="connsiteX0" fmla="*/ 160044 w 1649777"/>
                  <a:gd name="connsiteY0" fmla="*/ 1482113 h 1482113"/>
                  <a:gd name="connsiteX1" fmla="*/ 22884 w 1649777"/>
                  <a:gd name="connsiteY1" fmla="*/ 1404961 h 1482113"/>
                  <a:gd name="connsiteX2" fmla="*/ 20026 w 1649777"/>
                  <a:gd name="connsiteY2" fmla="*/ 1244941 h 1482113"/>
                  <a:gd name="connsiteX3" fmla="*/ 664869 w 1649777"/>
                  <a:gd name="connsiteY3" fmla="*/ 81938 h 1482113"/>
                  <a:gd name="connsiteX4" fmla="*/ 667726 w 1649777"/>
                  <a:gd name="connsiteY4" fmla="*/ 82891 h 1482113"/>
                  <a:gd name="connsiteX5" fmla="*/ 664869 w 1649777"/>
                  <a:gd name="connsiteY5" fmla="*/ 81938 h 1482113"/>
                  <a:gd name="connsiteX6" fmla="*/ 802029 w 1649777"/>
                  <a:gd name="connsiteY6" fmla="*/ 23 h 1482113"/>
                  <a:gd name="connsiteX7" fmla="*/ 942046 w 1649777"/>
                  <a:gd name="connsiteY7" fmla="*/ 77176 h 1482113"/>
                  <a:gd name="connsiteX8" fmla="*/ 1626894 w 1649777"/>
                  <a:gd name="connsiteY8" fmla="*/ 1217318 h 1482113"/>
                  <a:gd name="connsiteX9" fmla="*/ 1629751 w 1649777"/>
                  <a:gd name="connsiteY9" fmla="*/ 1377338 h 1482113"/>
                  <a:gd name="connsiteX10" fmla="*/ 1492591 w 1649777"/>
                  <a:gd name="connsiteY10" fmla="*/ 1459253 h 1482113"/>
                  <a:gd name="connsiteX11" fmla="*/ 161949 w 1649777"/>
                  <a:gd name="connsiteY11" fmla="*/ 1482113 h 1482113"/>
                  <a:gd name="connsiteX12" fmla="*/ 160044 w 1649777"/>
                  <a:gd name="connsiteY12" fmla="*/ 1482113 h 1482113"/>
                  <a:gd name="connsiteX13" fmla="*/ 804886 w 1649777"/>
                  <a:gd name="connsiteY13" fmla="*/ 4786 h 1482113"/>
                  <a:gd name="connsiteX14" fmla="*/ 802029 w 1649777"/>
                  <a:gd name="connsiteY14" fmla="*/ 4786 h 1482113"/>
                  <a:gd name="connsiteX15" fmla="*/ 669631 w 1649777"/>
                  <a:gd name="connsiteY15" fmla="*/ 83843 h 1482113"/>
                  <a:gd name="connsiteX16" fmla="*/ 24789 w 1649777"/>
                  <a:gd name="connsiteY16" fmla="*/ 1247798 h 1482113"/>
                  <a:gd name="connsiteX17" fmla="*/ 27646 w 1649777"/>
                  <a:gd name="connsiteY17" fmla="*/ 1402103 h 1482113"/>
                  <a:gd name="connsiteX18" fmla="*/ 162901 w 1649777"/>
                  <a:gd name="connsiteY18" fmla="*/ 1477351 h 1482113"/>
                  <a:gd name="connsiteX19" fmla="*/ 1493544 w 1649777"/>
                  <a:gd name="connsiteY19" fmla="*/ 1454491 h 1482113"/>
                  <a:gd name="connsiteX20" fmla="*/ 1625941 w 1649777"/>
                  <a:gd name="connsiteY20" fmla="*/ 1375433 h 1482113"/>
                  <a:gd name="connsiteX21" fmla="*/ 1623084 w 1649777"/>
                  <a:gd name="connsiteY21" fmla="*/ 1221128 h 1482113"/>
                  <a:gd name="connsiteX22" fmla="*/ 937284 w 1649777"/>
                  <a:gd name="connsiteY22" fmla="*/ 79081 h 1482113"/>
                  <a:gd name="connsiteX23" fmla="*/ 804886 w 1649777"/>
                  <a:gd name="connsiteY23" fmla="*/ 4786 h 148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49777" h="1482113">
                    <a:moveTo>
                      <a:pt x="160044" y="1482113"/>
                    </a:moveTo>
                    <a:cubicBezTo>
                      <a:pt x="103846" y="1482113"/>
                      <a:pt x="52411" y="1453538"/>
                      <a:pt x="22884" y="1404961"/>
                    </a:cubicBezTo>
                    <a:cubicBezTo>
                      <a:pt x="-6644" y="1355431"/>
                      <a:pt x="-7596" y="1295423"/>
                      <a:pt x="20026" y="1244941"/>
                    </a:cubicBezTo>
                    <a:lnTo>
                      <a:pt x="664869" y="81938"/>
                    </a:lnTo>
                    <a:lnTo>
                      <a:pt x="667726" y="82891"/>
                    </a:lnTo>
                    <a:lnTo>
                      <a:pt x="664869" y="81938"/>
                    </a:lnTo>
                    <a:cubicBezTo>
                      <a:pt x="692491" y="31456"/>
                      <a:pt x="743926" y="976"/>
                      <a:pt x="802029" y="23"/>
                    </a:cubicBezTo>
                    <a:cubicBezTo>
                      <a:pt x="859179" y="-929"/>
                      <a:pt x="912519" y="27646"/>
                      <a:pt x="942046" y="77176"/>
                    </a:cubicBezTo>
                    <a:lnTo>
                      <a:pt x="1626894" y="1217318"/>
                    </a:lnTo>
                    <a:cubicBezTo>
                      <a:pt x="1656421" y="1266848"/>
                      <a:pt x="1657374" y="1326856"/>
                      <a:pt x="1629751" y="1377338"/>
                    </a:cubicBezTo>
                    <a:cubicBezTo>
                      <a:pt x="1602129" y="1427821"/>
                      <a:pt x="1550694" y="1458301"/>
                      <a:pt x="1492591" y="1459253"/>
                    </a:cubicBezTo>
                    <a:lnTo>
                      <a:pt x="161949" y="1482113"/>
                    </a:lnTo>
                    <a:cubicBezTo>
                      <a:pt x="161949" y="1482113"/>
                      <a:pt x="160996" y="1482113"/>
                      <a:pt x="160044" y="1482113"/>
                    </a:cubicBezTo>
                    <a:close/>
                    <a:moveTo>
                      <a:pt x="804886" y="4786"/>
                    </a:moveTo>
                    <a:cubicBezTo>
                      <a:pt x="803934" y="4786"/>
                      <a:pt x="802981" y="4786"/>
                      <a:pt x="802029" y="4786"/>
                    </a:cubicBezTo>
                    <a:cubicBezTo>
                      <a:pt x="745831" y="5738"/>
                      <a:pt x="697254" y="35266"/>
                      <a:pt x="669631" y="83843"/>
                    </a:cubicBezTo>
                    <a:lnTo>
                      <a:pt x="24789" y="1247798"/>
                    </a:lnTo>
                    <a:cubicBezTo>
                      <a:pt x="-1881" y="1296376"/>
                      <a:pt x="-929" y="1354478"/>
                      <a:pt x="27646" y="1402103"/>
                    </a:cubicBezTo>
                    <a:cubicBezTo>
                      <a:pt x="56221" y="1449728"/>
                      <a:pt x="106704" y="1478303"/>
                      <a:pt x="162901" y="1477351"/>
                    </a:cubicBezTo>
                    <a:lnTo>
                      <a:pt x="1493544" y="1454491"/>
                    </a:lnTo>
                    <a:cubicBezTo>
                      <a:pt x="1549741" y="1453538"/>
                      <a:pt x="1598319" y="1424011"/>
                      <a:pt x="1625941" y="1375433"/>
                    </a:cubicBezTo>
                    <a:cubicBezTo>
                      <a:pt x="1652611" y="1326856"/>
                      <a:pt x="1651659" y="1268753"/>
                      <a:pt x="1623084" y="1221128"/>
                    </a:cubicBezTo>
                    <a:lnTo>
                      <a:pt x="937284" y="79081"/>
                    </a:lnTo>
                    <a:cubicBezTo>
                      <a:pt x="908709" y="32408"/>
                      <a:pt x="860131" y="4786"/>
                      <a:pt x="804886" y="4786"/>
                    </a:cubicBezTo>
                    <a:close/>
                  </a:path>
                </a:pathLst>
              </a:custGeom>
              <a:grpFill/>
              <a:ln w="9525" cap="flat">
                <a:noFill/>
                <a:prstDash val="solid"/>
                <a:miter/>
              </a:ln>
            </p:spPr>
            <p:txBody>
              <a:bodyPr rtlCol="0" anchor="ctr"/>
              <a:lstStyle/>
              <a:p>
                <a:endParaRPr lang="en-US" sz="1730"/>
              </a:p>
            </p:txBody>
          </p:sp>
          <p:sp>
            <p:nvSpPr>
              <p:cNvPr id="53" name="Freeform: Shape 52">
                <a:extLst>
                  <a:ext uri="{FF2B5EF4-FFF2-40B4-BE49-F238E27FC236}">
                    <a16:creationId xmlns:a16="http://schemas.microsoft.com/office/drawing/2014/main" id="{85339DC7-664E-4BEF-85FE-D1109A719B7E}"/>
                  </a:ext>
                </a:extLst>
              </p:cNvPr>
              <p:cNvSpPr/>
              <p:nvPr/>
            </p:nvSpPr>
            <p:spPr>
              <a:xfrm>
                <a:off x="5247730" y="2789965"/>
                <a:ext cx="1584777" cy="1622649"/>
              </a:xfrm>
              <a:custGeom>
                <a:avLst/>
                <a:gdLst>
                  <a:gd name="connsiteX0" fmla="*/ 1425801 w 1584777"/>
                  <a:gd name="connsiteY0" fmla="*/ 1622649 h 1622649"/>
                  <a:gd name="connsiteX1" fmla="*/ 1375319 w 1584777"/>
                  <a:gd name="connsiteY1" fmla="*/ 1615029 h 1622649"/>
                  <a:gd name="connsiteX2" fmla="*/ 110399 w 1584777"/>
                  <a:gd name="connsiteY2" fmla="*/ 1203549 h 1622649"/>
                  <a:gd name="connsiteX3" fmla="*/ 3719 w 1584777"/>
                  <a:gd name="connsiteY3" fmla="*/ 1084487 h 1622649"/>
                  <a:gd name="connsiteX4" fmla="*/ 53249 w 1584777"/>
                  <a:gd name="connsiteY4" fmla="*/ 932087 h 1622649"/>
                  <a:gd name="connsiteX5" fmla="*/ 1041944 w 1584777"/>
                  <a:gd name="connsiteY5" fmla="*/ 41499 h 1622649"/>
                  <a:gd name="connsiteX6" fmla="*/ 1043849 w 1584777"/>
                  <a:gd name="connsiteY6" fmla="*/ 43404 h 1622649"/>
                  <a:gd name="connsiteX7" fmla="*/ 1041944 w 1584777"/>
                  <a:gd name="connsiteY7" fmla="*/ 41499 h 1622649"/>
                  <a:gd name="connsiteX8" fmla="*/ 1198154 w 1584777"/>
                  <a:gd name="connsiteY8" fmla="*/ 8162 h 1622649"/>
                  <a:gd name="connsiteX9" fmla="*/ 1304834 w 1584777"/>
                  <a:gd name="connsiteY9" fmla="*/ 127224 h 1622649"/>
                  <a:gd name="connsiteX10" fmla="*/ 1581059 w 1584777"/>
                  <a:gd name="connsiteY10" fmla="*/ 1428339 h 1622649"/>
                  <a:gd name="connsiteX11" fmla="*/ 1531529 w 1584777"/>
                  <a:gd name="connsiteY11" fmla="*/ 1580739 h 1622649"/>
                  <a:gd name="connsiteX12" fmla="*/ 1425801 w 1584777"/>
                  <a:gd name="connsiteY12" fmla="*/ 1622649 h 1622649"/>
                  <a:gd name="connsiteX13" fmla="*/ 1147671 w 1584777"/>
                  <a:gd name="connsiteY13" fmla="*/ 6257 h 1622649"/>
                  <a:gd name="connsiteX14" fmla="*/ 1044801 w 1584777"/>
                  <a:gd name="connsiteY14" fmla="*/ 46262 h 1622649"/>
                  <a:gd name="connsiteX15" fmla="*/ 56106 w 1584777"/>
                  <a:gd name="connsiteY15" fmla="*/ 936849 h 1622649"/>
                  <a:gd name="connsiteX16" fmla="*/ 8481 w 1584777"/>
                  <a:gd name="connsiteY16" fmla="*/ 1083534 h 1622649"/>
                  <a:gd name="connsiteX17" fmla="*/ 111351 w 1584777"/>
                  <a:gd name="connsiteY17" fmla="*/ 1197834 h 1622649"/>
                  <a:gd name="connsiteX18" fmla="*/ 1376272 w 1584777"/>
                  <a:gd name="connsiteY18" fmla="*/ 1609314 h 1622649"/>
                  <a:gd name="connsiteX19" fmla="*/ 1526766 w 1584777"/>
                  <a:gd name="connsiteY19" fmla="*/ 1576929 h 1622649"/>
                  <a:gd name="connsiteX20" fmla="*/ 1574391 w 1584777"/>
                  <a:gd name="connsiteY20" fmla="*/ 1430244 h 1622649"/>
                  <a:gd name="connsiteX21" fmla="*/ 1298166 w 1584777"/>
                  <a:gd name="connsiteY21" fmla="*/ 129129 h 1622649"/>
                  <a:gd name="connsiteX22" fmla="*/ 1195297 w 1584777"/>
                  <a:gd name="connsiteY22" fmla="*/ 14829 h 1622649"/>
                  <a:gd name="connsiteX23" fmla="*/ 1147671 w 1584777"/>
                  <a:gd name="connsiteY23" fmla="*/ 6257 h 162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84777" h="1622649">
                    <a:moveTo>
                      <a:pt x="1425801" y="1622649"/>
                    </a:moveTo>
                    <a:cubicBezTo>
                      <a:pt x="1409609" y="1622649"/>
                      <a:pt x="1392464" y="1619792"/>
                      <a:pt x="1375319" y="1615029"/>
                    </a:cubicBezTo>
                    <a:lnTo>
                      <a:pt x="110399" y="1203549"/>
                    </a:lnTo>
                    <a:cubicBezTo>
                      <a:pt x="55154" y="1185452"/>
                      <a:pt x="15149" y="1141637"/>
                      <a:pt x="3719" y="1084487"/>
                    </a:cubicBezTo>
                    <a:cubicBezTo>
                      <a:pt x="-8664" y="1028289"/>
                      <a:pt x="10386" y="971139"/>
                      <a:pt x="53249" y="932087"/>
                    </a:cubicBezTo>
                    <a:lnTo>
                      <a:pt x="1041944" y="41499"/>
                    </a:lnTo>
                    <a:lnTo>
                      <a:pt x="1043849" y="43404"/>
                    </a:lnTo>
                    <a:lnTo>
                      <a:pt x="1041944" y="41499"/>
                    </a:lnTo>
                    <a:cubicBezTo>
                      <a:pt x="1084806" y="2447"/>
                      <a:pt x="1142909" y="-9936"/>
                      <a:pt x="1198154" y="8162"/>
                    </a:cubicBezTo>
                    <a:cubicBezTo>
                      <a:pt x="1253399" y="26259"/>
                      <a:pt x="1293404" y="70074"/>
                      <a:pt x="1304834" y="127224"/>
                    </a:cubicBezTo>
                    <a:lnTo>
                      <a:pt x="1581059" y="1428339"/>
                    </a:lnTo>
                    <a:cubicBezTo>
                      <a:pt x="1593441" y="1484537"/>
                      <a:pt x="1574391" y="1541687"/>
                      <a:pt x="1531529" y="1580739"/>
                    </a:cubicBezTo>
                    <a:cubicBezTo>
                      <a:pt x="1502001" y="1608362"/>
                      <a:pt x="1463901" y="1622649"/>
                      <a:pt x="1425801" y="1622649"/>
                    </a:cubicBezTo>
                    <a:close/>
                    <a:moveTo>
                      <a:pt x="1147671" y="6257"/>
                    </a:moveTo>
                    <a:cubicBezTo>
                      <a:pt x="1110524" y="6257"/>
                      <a:pt x="1074329" y="19592"/>
                      <a:pt x="1044801" y="46262"/>
                    </a:cubicBezTo>
                    <a:lnTo>
                      <a:pt x="56106" y="936849"/>
                    </a:lnTo>
                    <a:cubicBezTo>
                      <a:pt x="14196" y="973997"/>
                      <a:pt x="-2949" y="1029242"/>
                      <a:pt x="8481" y="1083534"/>
                    </a:cubicBezTo>
                    <a:cubicBezTo>
                      <a:pt x="19911" y="1137827"/>
                      <a:pt x="58964" y="1180689"/>
                      <a:pt x="111351" y="1197834"/>
                    </a:cubicBezTo>
                    <a:lnTo>
                      <a:pt x="1376272" y="1609314"/>
                    </a:lnTo>
                    <a:cubicBezTo>
                      <a:pt x="1429611" y="1626459"/>
                      <a:pt x="1485809" y="1615029"/>
                      <a:pt x="1526766" y="1576929"/>
                    </a:cubicBezTo>
                    <a:cubicBezTo>
                      <a:pt x="1568676" y="1539782"/>
                      <a:pt x="1585822" y="1484537"/>
                      <a:pt x="1574391" y="1430244"/>
                    </a:cubicBezTo>
                    <a:lnTo>
                      <a:pt x="1298166" y="129129"/>
                    </a:lnTo>
                    <a:cubicBezTo>
                      <a:pt x="1286736" y="74837"/>
                      <a:pt x="1247684" y="31974"/>
                      <a:pt x="1195297" y="14829"/>
                    </a:cubicBezTo>
                    <a:cubicBezTo>
                      <a:pt x="1180056" y="9114"/>
                      <a:pt x="1163864" y="6257"/>
                      <a:pt x="1147671" y="6257"/>
                    </a:cubicBezTo>
                    <a:close/>
                  </a:path>
                </a:pathLst>
              </a:custGeom>
              <a:grpFill/>
              <a:ln w="9525" cap="flat">
                <a:noFill/>
                <a:prstDash val="solid"/>
                <a:miter/>
              </a:ln>
            </p:spPr>
            <p:txBody>
              <a:bodyPr rtlCol="0" anchor="ctr"/>
              <a:lstStyle/>
              <a:p>
                <a:endParaRPr lang="en-US" sz="1730"/>
              </a:p>
            </p:txBody>
          </p:sp>
          <p:sp>
            <p:nvSpPr>
              <p:cNvPr id="54" name="Freeform: Shape 53">
                <a:extLst>
                  <a:ext uri="{FF2B5EF4-FFF2-40B4-BE49-F238E27FC236}">
                    <a16:creationId xmlns:a16="http://schemas.microsoft.com/office/drawing/2014/main" id="{DED6E3EF-BEB2-400D-A55F-8F548AA8A3C2}"/>
                  </a:ext>
                </a:extLst>
              </p:cNvPr>
              <p:cNvSpPr/>
              <p:nvPr/>
            </p:nvSpPr>
            <p:spPr>
              <a:xfrm>
                <a:off x="5179859" y="2878404"/>
                <a:ext cx="1545260" cy="1640889"/>
              </a:xfrm>
              <a:custGeom>
                <a:avLst/>
                <a:gdLst>
                  <a:gd name="connsiteX0" fmla="*/ 1222210 w 1545260"/>
                  <a:gd name="connsiteY0" fmla="*/ 1640890 h 1640889"/>
                  <a:gd name="connsiteX1" fmla="*/ 1126008 w 1545260"/>
                  <a:gd name="connsiteY1" fmla="*/ 1608505 h 1640889"/>
                  <a:gd name="connsiteX2" fmla="*/ 63970 w 1545260"/>
                  <a:gd name="connsiteY2" fmla="*/ 807452 h 1640889"/>
                  <a:gd name="connsiteX3" fmla="*/ 1105 w 1545260"/>
                  <a:gd name="connsiteY3" fmla="*/ 660767 h 1640889"/>
                  <a:gd name="connsiteX4" fmla="*/ 97308 w 1545260"/>
                  <a:gd name="connsiteY4" fmla="*/ 533132 h 1640889"/>
                  <a:gd name="connsiteX5" fmla="*/ 1322223 w 1545260"/>
                  <a:gd name="connsiteY5" fmla="*/ 13067 h 1640889"/>
                  <a:gd name="connsiteX6" fmla="*/ 1481290 w 1545260"/>
                  <a:gd name="connsiteY6" fmla="*/ 32117 h 1640889"/>
                  <a:gd name="connsiteX7" fmla="*/ 1544155 w 1545260"/>
                  <a:gd name="connsiteY7" fmla="*/ 178802 h 1640889"/>
                  <a:gd name="connsiteX8" fmla="*/ 1382230 w 1545260"/>
                  <a:gd name="connsiteY8" fmla="*/ 1498967 h 1640889"/>
                  <a:gd name="connsiteX9" fmla="*/ 1286028 w 1545260"/>
                  <a:gd name="connsiteY9" fmla="*/ 1626602 h 1640889"/>
                  <a:gd name="connsiteX10" fmla="*/ 1222210 w 1545260"/>
                  <a:gd name="connsiteY10" fmla="*/ 1640890 h 1640889"/>
                  <a:gd name="connsiteX11" fmla="*/ 1323175 w 1545260"/>
                  <a:gd name="connsiteY11" fmla="*/ 15925 h 1640889"/>
                  <a:gd name="connsiteX12" fmla="*/ 1324128 w 1545260"/>
                  <a:gd name="connsiteY12" fmla="*/ 18782 h 1640889"/>
                  <a:gd name="connsiteX13" fmla="*/ 100165 w 1545260"/>
                  <a:gd name="connsiteY13" fmla="*/ 537895 h 1640889"/>
                  <a:gd name="connsiteX14" fmla="*/ 6820 w 1545260"/>
                  <a:gd name="connsiteY14" fmla="*/ 660767 h 1640889"/>
                  <a:gd name="connsiteX15" fmla="*/ 66828 w 1545260"/>
                  <a:gd name="connsiteY15" fmla="*/ 803642 h 1640889"/>
                  <a:gd name="connsiteX16" fmla="*/ 1128865 w 1545260"/>
                  <a:gd name="connsiteY16" fmla="*/ 1604695 h 1640889"/>
                  <a:gd name="connsiteX17" fmla="*/ 1282218 w 1545260"/>
                  <a:gd name="connsiteY17" fmla="*/ 1623745 h 1640889"/>
                  <a:gd name="connsiteX18" fmla="*/ 1375563 w 1545260"/>
                  <a:gd name="connsiteY18" fmla="*/ 1500872 h 1640889"/>
                  <a:gd name="connsiteX19" fmla="*/ 1537488 w 1545260"/>
                  <a:gd name="connsiteY19" fmla="*/ 180707 h 1640889"/>
                  <a:gd name="connsiteX20" fmla="*/ 1477480 w 1545260"/>
                  <a:gd name="connsiteY20" fmla="*/ 38785 h 1640889"/>
                  <a:gd name="connsiteX21" fmla="*/ 1324128 w 1545260"/>
                  <a:gd name="connsiteY21" fmla="*/ 19735 h 1640889"/>
                  <a:gd name="connsiteX22" fmla="*/ 1323175 w 1545260"/>
                  <a:gd name="connsiteY22" fmla="*/ 15925 h 164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45260" h="1640889">
                    <a:moveTo>
                      <a:pt x="1222210" y="1640890"/>
                    </a:moveTo>
                    <a:cubicBezTo>
                      <a:pt x="1187920" y="1640890"/>
                      <a:pt x="1154583" y="1629460"/>
                      <a:pt x="1126008" y="1608505"/>
                    </a:cubicBezTo>
                    <a:lnTo>
                      <a:pt x="63970" y="807452"/>
                    </a:lnTo>
                    <a:cubicBezTo>
                      <a:pt x="18250" y="772210"/>
                      <a:pt x="-5562" y="717917"/>
                      <a:pt x="1105" y="660767"/>
                    </a:cubicBezTo>
                    <a:cubicBezTo>
                      <a:pt x="7773" y="603617"/>
                      <a:pt x="43968" y="555992"/>
                      <a:pt x="97308" y="533132"/>
                    </a:cubicBezTo>
                    <a:lnTo>
                      <a:pt x="1322223" y="13067"/>
                    </a:lnTo>
                    <a:cubicBezTo>
                      <a:pt x="1375563" y="-9793"/>
                      <a:pt x="1434618" y="-2173"/>
                      <a:pt x="1481290" y="32117"/>
                    </a:cubicBezTo>
                    <a:cubicBezTo>
                      <a:pt x="1527010" y="67360"/>
                      <a:pt x="1550823" y="121652"/>
                      <a:pt x="1544155" y="178802"/>
                    </a:cubicBezTo>
                    <a:lnTo>
                      <a:pt x="1382230" y="1498967"/>
                    </a:lnTo>
                    <a:cubicBezTo>
                      <a:pt x="1375563" y="1556117"/>
                      <a:pt x="1339368" y="1603742"/>
                      <a:pt x="1286028" y="1626602"/>
                    </a:cubicBezTo>
                    <a:cubicBezTo>
                      <a:pt x="1264120" y="1636127"/>
                      <a:pt x="1243165" y="1640890"/>
                      <a:pt x="1222210" y="1640890"/>
                    </a:cubicBezTo>
                    <a:close/>
                    <a:moveTo>
                      <a:pt x="1323175" y="15925"/>
                    </a:moveTo>
                    <a:lnTo>
                      <a:pt x="1324128" y="18782"/>
                    </a:lnTo>
                    <a:lnTo>
                      <a:pt x="100165" y="537895"/>
                    </a:lnTo>
                    <a:cubicBezTo>
                      <a:pt x="48730" y="559802"/>
                      <a:pt x="14440" y="605522"/>
                      <a:pt x="6820" y="660767"/>
                    </a:cubicBezTo>
                    <a:cubicBezTo>
                      <a:pt x="153" y="716965"/>
                      <a:pt x="23013" y="769352"/>
                      <a:pt x="66828" y="803642"/>
                    </a:cubicBezTo>
                    <a:lnTo>
                      <a:pt x="1128865" y="1604695"/>
                    </a:lnTo>
                    <a:cubicBezTo>
                      <a:pt x="1173633" y="1638032"/>
                      <a:pt x="1230783" y="1645652"/>
                      <a:pt x="1282218" y="1623745"/>
                    </a:cubicBezTo>
                    <a:cubicBezTo>
                      <a:pt x="1333653" y="1601837"/>
                      <a:pt x="1367943" y="1556117"/>
                      <a:pt x="1375563" y="1500872"/>
                    </a:cubicBezTo>
                    <a:lnTo>
                      <a:pt x="1537488" y="180707"/>
                    </a:lnTo>
                    <a:cubicBezTo>
                      <a:pt x="1544155" y="125462"/>
                      <a:pt x="1521295" y="72122"/>
                      <a:pt x="1477480" y="38785"/>
                    </a:cubicBezTo>
                    <a:cubicBezTo>
                      <a:pt x="1432713" y="5447"/>
                      <a:pt x="1375563" y="-2173"/>
                      <a:pt x="1324128" y="19735"/>
                    </a:cubicBezTo>
                    <a:lnTo>
                      <a:pt x="1323175" y="15925"/>
                    </a:lnTo>
                    <a:close/>
                  </a:path>
                </a:pathLst>
              </a:custGeom>
              <a:grpFill/>
              <a:ln w="9525" cap="flat">
                <a:noFill/>
                <a:prstDash val="solid"/>
                <a:miter/>
              </a:ln>
            </p:spPr>
            <p:txBody>
              <a:bodyPr rtlCol="0" anchor="ctr"/>
              <a:lstStyle/>
              <a:p>
                <a:endParaRPr lang="en-US" sz="1730"/>
              </a:p>
            </p:txBody>
          </p:sp>
          <p:sp>
            <p:nvSpPr>
              <p:cNvPr id="55" name="Freeform: Shape 54">
                <a:extLst>
                  <a:ext uri="{FF2B5EF4-FFF2-40B4-BE49-F238E27FC236}">
                    <a16:creationId xmlns:a16="http://schemas.microsoft.com/office/drawing/2014/main" id="{4056E671-564E-4828-B12C-3873C15097FD}"/>
                  </a:ext>
                </a:extLst>
              </p:cNvPr>
              <p:cNvSpPr/>
              <p:nvPr/>
            </p:nvSpPr>
            <p:spPr>
              <a:xfrm>
                <a:off x="5208682" y="3017783"/>
                <a:ext cx="1646681" cy="1514845"/>
              </a:xfrm>
              <a:custGeom>
                <a:avLst/>
                <a:gdLst>
                  <a:gd name="connsiteX0" fmla="*/ 902875 w 1646681"/>
                  <a:gd name="connsiteY0" fmla="*/ 1514846 h 1514845"/>
                  <a:gd name="connsiteX1" fmla="*/ 770477 w 1646681"/>
                  <a:gd name="connsiteY1" fmla="*/ 1444361 h 1514845"/>
                  <a:gd name="connsiteX2" fmla="*/ 27527 w 1646681"/>
                  <a:gd name="connsiteY2" fmla="*/ 341366 h 1514845"/>
                  <a:gd name="connsiteX3" fmla="*/ 16097 w 1646681"/>
                  <a:gd name="connsiteY3" fmla="*/ 182298 h 1514845"/>
                  <a:gd name="connsiteX4" fmla="*/ 148495 w 1646681"/>
                  <a:gd name="connsiteY4" fmla="*/ 92763 h 1514845"/>
                  <a:gd name="connsiteX5" fmla="*/ 1475327 w 1646681"/>
                  <a:gd name="connsiteY5" fmla="*/ 371 h 1514845"/>
                  <a:gd name="connsiteX6" fmla="*/ 1619155 w 1646681"/>
                  <a:gd name="connsiteY6" fmla="*/ 70856 h 1514845"/>
                  <a:gd name="connsiteX7" fmla="*/ 1630585 w 1646681"/>
                  <a:gd name="connsiteY7" fmla="*/ 229923 h 1514845"/>
                  <a:gd name="connsiteX8" fmla="*/ 1047655 w 1646681"/>
                  <a:gd name="connsiteY8" fmla="*/ 1424358 h 1514845"/>
                  <a:gd name="connsiteX9" fmla="*/ 915257 w 1646681"/>
                  <a:gd name="connsiteY9" fmla="*/ 1513893 h 1514845"/>
                  <a:gd name="connsiteX10" fmla="*/ 902875 w 1646681"/>
                  <a:gd name="connsiteY10" fmla="*/ 1514846 h 1514845"/>
                  <a:gd name="connsiteX11" fmla="*/ 1475327 w 1646681"/>
                  <a:gd name="connsiteY11" fmla="*/ 2276 h 1514845"/>
                  <a:gd name="connsiteX12" fmla="*/ 1475327 w 1646681"/>
                  <a:gd name="connsiteY12" fmla="*/ 5133 h 1514845"/>
                  <a:gd name="connsiteX13" fmla="*/ 148495 w 1646681"/>
                  <a:gd name="connsiteY13" fmla="*/ 97526 h 1514845"/>
                  <a:gd name="connsiteX14" fmla="*/ 20860 w 1646681"/>
                  <a:gd name="connsiteY14" fmla="*/ 184203 h 1514845"/>
                  <a:gd name="connsiteX15" fmla="*/ 31337 w 1646681"/>
                  <a:gd name="connsiteY15" fmla="*/ 338508 h 1514845"/>
                  <a:gd name="connsiteX16" fmla="*/ 775240 w 1646681"/>
                  <a:gd name="connsiteY16" fmla="*/ 1441503 h 1514845"/>
                  <a:gd name="connsiteX17" fmla="*/ 914305 w 1646681"/>
                  <a:gd name="connsiteY17" fmla="*/ 1509131 h 1514845"/>
                  <a:gd name="connsiteX18" fmla="*/ 1041940 w 1646681"/>
                  <a:gd name="connsiteY18" fmla="*/ 1422453 h 1514845"/>
                  <a:gd name="connsiteX19" fmla="*/ 1624870 w 1646681"/>
                  <a:gd name="connsiteY19" fmla="*/ 227066 h 1514845"/>
                  <a:gd name="connsiteX20" fmla="*/ 1614392 w 1646681"/>
                  <a:gd name="connsiteY20" fmla="*/ 72761 h 1514845"/>
                  <a:gd name="connsiteX21" fmla="*/ 1475327 w 1646681"/>
                  <a:gd name="connsiteY21" fmla="*/ 5133 h 1514845"/>
                  <a:gd name="connsiteX22" fmla="*/ 1475327 w 1646681"/>
                  <a:gd name="connsiteY22" fmla="*/ 2276 h 151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46681" h="1514845">
                    <a:moveTo>
                      <a:pt x="902875" y="1514846"/>
                    </a:moveTo>
                    <a:cubicBezTo>
                      <a:pt x="849535" y="1514846"/>
                      <a:pt x="800957" y="1489128"/>
                      <a:pt x="770477" y="1444361"/>
                    </a:cubicBezTo>
                    <a:lnTo>
                      <a:pt x="27527" y="341366"/>
                    </a:lnTo>
                    <a:cubicBezTo>
                      <a:pt x="-4858" y="293741"/>
                      <a:pt x="-8668" y="233733"/>
                      <a:pt x="16097" y="182298"/>
                    </a:cubicBezTo>
                    <a:cubicBezTo>
                      <a:pt x="41815" y="129911"/>
                      <a:pt x="91345" y="96573"/>
                      <a:pt x="148495" y="92763"/>
                    </a:cubicBezTo>
                    <a:lnTo>
                      <a:pt x="1475327" y="371"/>
                    </a:lnTo>
                    <a:cubicBezTo>
                      <a:pt x="1533430" y="-3439"/>
                      <a:pt x="1586770" y="22278"/>
                      <a:pt x="1619155" y="70856"/>
                    </a:cubicBezTo>
                    <a:cubicBezTo>
                      <a:pt x="1651540" y="118481"/>
                      <a:pt x="1655350" y="178488"/>
                      <a:pt x="1630585" y="229923"/>
                    </a:cubicBezTo>
                    <a:lnTo>
                      <a:pt x="1047655" y="1424358"/>
                    </a:lnTo>
                    <a:cubicBezTo>
                      <a:pt x="1021937" y="1476746"/>
                      <a:pt x="972407" y="1510083"/>
                      <a:pt x="915257" y="1513893"/>
                    </a:cubicBezTo>
                    <a:cubicBezTo>
                      <a:pt x="910495" y="1513893"/>
                      <a:pt x="906685" y="1514846"/>
                      <a:pt x="902875" y="1514846"/>
                    </a:cubicBezTo>
                    <a:close/>
                    <a:moveTo>
                      <a:pt x="1475327" y="2276"/>
                    </a:moveTo>
                    <a:lnTo>
                      <a:pt x="1475327" y="5133"/>
                    </a:lnTo>
                    <a:lnTo>
                      <a:pt x="148495" y="97526"/>
                    </a:lnTo>
                    <a:cubicBezTo>
                      <a:pt x="93250" y="101336"/>
                      <a:pt x="45625" y="133720"/>
                      <a:pt x="20860" y="184203"/>
                    </a:cubicBezTo>
                    <a:cubicBezTo>
                      <a:pt x="-3905" y="234686"/>
                      <a:pt x="857" y="291836"/>
                      <a:pt x="31337" y="338508"/>
                    </a:cubicBezTo>
                    <a:lnTo>
                      <a:pt x="775240" y="1441503"/>
                    </a:lnTo>
                    <a:cubicBezTo>
                      <a:pt x="806672" y="1488176"/>
                      <a:pt x="858107" y="1512941"/>
                      <a:pt x="914305" y="1509131"/>
                    </a:cubicBezTo>
                    <a:cubicBezTo>
                      <a:pt x="969550" y="1505321"/>
                      <a:pt x="1018127" y="1472936"/>
                      <a:pt x="1041940" y="1422453"/>
                    </a:cubicBezTo>
                    <a:lnTo>
                      <a:pt x="1624870" y="227066"/>
                    </a:lnTo>
                    <a:cubicBezTo>
                      <a:pt x="1649635" y="176583"/>
                      <a:pt x="1644872" y="119433"/>
                      <a:pt x="1614392" y="72761"/>
                    </a:cubicBezTo>
                    <a:cubicBezTo>
                      <a:pt x="1582960" y="26088"/>
                      <a:pt x="1531525" y="1323"/>
                      <a:pt x="1475327" y="5133"/>
                    </a:cubicBezTo>
                    <a:lnTo>
                      <a:pt x="1475327" y="2276"/>
                    </a:lnTo>
                    <a:close/>
                  </a:path>
                </a:pathLst>
              </a:custGeom>
              <a:grpFill/>
              <a:ln w="9525" cap="flat">
                <a:noFill/>
                <a:prstDash val="solid"/>
                <a:miter/>
              </a:ln>
            </p:spPr>
            <p:txBody>
              <a:bodyPr rtlCol="0" anchor="ctr"/>
              <a:lstStyle/>
              <a:p>
                <a:endParaRPr lang="en-US" sz="1730"/>
              </a:p>
            </p:txBody>
          </p:sp>
          <p:sp>
            <p:nvSpPr>
              <p:cNvPr id="56" name="Freeform: Shape 55">
                <a:extLst>
                  <a:ext uri="{FF2B5EF4-FFF2-40B4-BE49-F238E27FC236}">
                    <a16:creationId xmlns:a16="http://schemas.microsoft.com/office/drawing/2014/main" id="{CE2375AC-EE5D-462B-8769-A875F92C6D3F}"/>
                  </a:ext>
                </a:extLst>
              </p:cNvPr>
              <p:cNvSpPr/>
              <p:nvPr/>
            </p:nvSpPr>
            <p:spPr>
              <a:xfrm>
                <a:off x="5329614" y="2845675"/>
                <a:ext cx="1604843" cy="1605039"/>
              </a:xfrm>
              <a:custGeom>
                <a:avLst/>
                <a:gdLst>
                  <a:gd name="connsiteX0" fmla="*/ 504765 w 1604843"/>
                  <a:gd name="connsiteY0" fmla="*/ 1605039 h 1605039"/>
                  <a:gd name="connsiteX1" fmla="*/ 462856 w 1604843"/>
                  <a:gd name="connsiteY1" fmla="*/ 1599324 h 1605039"/>
                  <a:gd name="connsiteX2" fmla="*/ 349508 w 1604843"/>
                  <a:gd name="connsiteY2" fmla="*/ 1485977 h 1605039"/>
                  <a:gd name="connsiteX3" fmla="*/ 5655 w 1604843"/>
                  <a:gd name="connsiteY3" fmla="*/ 201054 h 1605039"/>
                  <a:gd name="connsiteX4" fmla="*/ 46613 w 1604843"/>
                  <a:gd name="connsiteY4" fmla="*/ 46749 h 1605039"/>
                  <a:gd name="connsiteX5" fmla="*/ 200918 w 1604843"/>
                  <a:gd name="connsiteY5" fmla="*/ 5792 h 1605039"/>
                  <a:gd name="connsiteX6" fmla="*/ 1485841 w 1604843"/>
                  <a:gd name="connsiteY6" fmla="*/ 350597 h 1605039"/>
                  <a:gd name="connsiteX7" fmla="*/ 1599188 w 1604843"/>
                  <a:gd name="connsiteY7" fmla="*/ 463944 h 1605039"/>
                  <a:gd name="connsiteX8" fmla="*/ 1558231 w 1604843"/>
                  <a:gd name="connsiteY8" fmla="*/ 618249 h 1605039"/>
                  <a:gd name="connsiteX9" fmla="*/ 617161 w 1604843"/>
                  <a:gd name="connsiteY9" fmla="*/ 1559319 h 1605039"/>
                  <a:gd name="connsiteX10" fmla="*/ 504765 w 1604843"/>
                  <a:gd name="connsiteY10" fmla="*/ 1605039 h 1605039"/>
                  <a:gd name="connsiteX11" fmla="*/ 159008 w 1604843"/>
                  <a:gd name="connsiteY11" fmla="*/ 4839 h 1605039"/>
                  <a:gd name="connsiteX12" fmla="*/ 50423 w 1604843"/>
                  <a:gd name="connsiteY12" fmla="*/ 50559 h 1605039"/>
                  <a:gd name="connsiteX13" fmla="*/ 10418 w 1604843"/>
                  <a:gd name="connsiteY13" fmla="*/ 200102 h 1605039"/>
                  <a:gd name="connsiteX14" fmla="*/ 355223 w 1604843"/>
                  <a:gd name="connsiteY14" fmla="*/ 1485024 h 1605039"/>
                  <a:gd name="connsiteX15" fmla="*/ 464760 w 1604843"/>
                  <a:gd name="connsiteY15" fmla="*/ 1594562 h 1605039"/>
                  <a:gd name="connsiteX16" fmla="*/ 614303 w 1604843"/>
                  <a:gd name="connsiteY16" fmla="*/ 1554557 h 1605039"/>
                  <a:gd name="connsiteX17" fmla="*/ 1555373 w 1604843"/>
                  <a:gd name="connsiteY17" fmla="*/ 613487 h 1605039"/>
                  <a:gd name="connsiteX18" fmla="*/ 1595378 w 1604843"/>
                  <a:gd name="connsiteY18" fmla="*/ 463944 h 1605039"/>
                  <a:gd name="connsiteX19" fmla="*/ 1485841 w 1604843"/>
                  <a:gd name="connsiteY19" fmla="*/ 354407 h 1605039"/>
                  <a:gd name="connsiteX20" fmla="*/ 199965 w 1604843"/>
                  <a:gd name="connsiteY20" fmla="*/ 10554 h 1605039"/>
                  <a:gd name="connsiteX21" fmla="*/ 159008 w 1604843"/>
                  <a:gd name="connsiteY21" fmla="*/ 4839 h 160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04843" h="1605039">
                    <a:moveTo>
                      <a:pt x="504765" y="1605039"/>
                    </a:moveTo>
                    <a:cubicBezTo>
                      <a:pt x="490478" y="1605039"/>
                      <a:pt x="477143" y="1603134"/>
                      <a:pt x="462856" y="1599324"/>
                    </a:cubicBezTo>
                    <a:cubicBezTo>
                      <a:pt x="406658" y="1584084"/>
                      <a:pt x="364748" y="1542174"/>
                      <a:pt x="349508" y="1485977"/>
                    </a:cubicBezTo>
                    <a:lnTo>
                      <a:pt x="5655" y="201054"/>
                    </a:lnTo>
                    <a:cubicBezTo>
                      <a:pt x="-9585" y="144857"/>
                      <a:pt x="6608" y="87707"/>
                      <a:pt x="46613" y="46749"/>
                    </a:cubicBezTo>
                    <a:cubicBezTo>
                      <a:pt x="87570" y="5792"/>
                      <a:pt x="144720" y="-9448"/>
                      <a:pt x="200918" y="5792"/>
                    </a:cubicBezTo>
                    <a:lnTo>
                      <a:pt x="1485841" y="350597"/>
                    </a:lnTo>
                    <a:cubicBezTo>
                      <a:pt x="1542038" y="365837"/>
                      <a:pt x="1583948" y="407747"/>
                      <a:pt x="1599188" y="463944"/>
                    </a:cubicBezTo>
                    <a:cubicBezTo>
                      <a:pt x="1614428" y="520142"/>
                      <a:pt x="1598236" y="577292"/>
                      <a:pt x="1558231" y="618249"/>
                    </a:cubicBezTo>
                    <a:lnTo>
                      <a:pt x="617161" y="1559319"/>
                    </a:lnTo>
                    <a:cubicBezTo>
                      <a:pt x="586681" y="1588847"/>
                      <a:pt x="546675" y="1605039"/>
                      <a:pt x="504765" y="1605039"/>
                    </a:cubicBezTo>
                    <a:close/>
                    <a:moveTo>
                      <a:pt x="159008" y="4839"/>
                    </a:moveTo>
                    <a:cubicBezTo>
                      <a:pt x="119003" y="4839"/>
                      <a:pt x="79950" y="21032"/>
                      <a:pt x="50423" y="50559"/>
                    </a:cubicBezTo>
                    <a:cubicBezTo>
                      <a:pt x="11370" y="89612"/>
                      <a:pt x="-3870" y="145809"/>
                      <a:pt x="10418" y="200102"/>
                    </a:cubicBezTo>
                    <a:lnTo>
                      <a:pt x="355223" y="1485024"/>
                    </a:lnTo>
                    <a:cubicBezTo>
                      <a:pt x="369510" y="1539317"/>
                      <a:pt x="410468" y="1579322"/>
                      <a:pt x="464760" y="1594562"/>
                    </a:cubicBezTo>
                    <a:cubicBezTo>
                      <a:pt x="519053" y="1608849"/>
                      <a:pt x="574298" y="1593609"/>
                      <a:pt x="614303" y="1554557"/>
                    </a:cubicBezTo>
                    <a:lnTo>
                      <a:pt x="1555373" y="613487"/>
                    </a:lnTo>
                    <a:cubicBezTo>
                      <a:pt x="1594426" y="574434"/>
                      <a:pt x="1609666" y="518237"/>
                      <a:pt x="1595378" y="463944"/>
                    </a:cubicBezTo>
                    <a:cubicBezTo>
                      <a:pt x="1581091" y="409652"/>
                      <a:pt x="1540133" y="369647"/>
                      <a:pt x="1485841" y="354407"/>
                    </a:cubicBezTo>
                    <a:lnTo>
                      <a:pt x="199965" y="10554"/>
                    </a:lnTo>
                    <a:cubicBezTo>
                      <a:pt x="185678" y="6744"/>
                      <a:pt x="172343" y="4839"/>
                      <a:pt x="159008" y="4839"/>
                    </a:cubicBezTo>
                    <a:close/>
                  </a:path>
                </a:pathLst>
              </a:custGeom>
              <a:grpFill/>
              <a:ln w="9525" cap="flat">
                <a:noFill/>
                <a:prstDash val="solid"/>
                <a:miter/>
              </a:ln>
            </p:spPr>
            <p:txBody>
              <a:bodyPr rtlCol="0" anchor="ctr"/>
              <a:lstStyle/>
              <a:p>
                <a:endParaRPr lang="en-US" sz="1730"/>
              </a:p>
            </p:txBody>
          </p:sp>
          <p:sp>
            <p:nvSpPr>
              <p:cNvPr id="57" name="Freeform: Shape 56">
                <a:extLst>
                  <a:ext uri="{FF2B5EF4-FFF2-40B4-BE49-F238E27FC236}">
                    <a16:creationId xmlns:a16="http://schemas.microsoft.com/office/drawing/2014/main" id="{5543C42A-4AA4-4EE3-9D6A-20D705974B93}"/>
                  </a:ext>
                </a:extLst>
              </p:cNvPr>
              <p:cNvSpPr/>
              <p:nvPr/>
            </p:nvSpPr>
            <p:spPr>
              <a:xfrm>
                <a:off x="5435874" y="2634946"/>
                <a:ext cx="1515194" cy="1647175"/>
              </a:xfrm>
              <a:custGeom>
                <a:avLst/>
                <a:gdLst>
                  <a:gd name="connsiteX0" fmla="*/ 160380 w 1515194"/>
                  <a:gd name="connsiteY0" fmla="*/ 1647176 h 1647175"/>
                  <a:gd name="connsiteX1" fmla="*/ 70845 w 1515194"/>
                  <a:gd name="connsiteY1" fmla="*/ 1619553 h 1647175"/>
                  <a:gd name="connsiteX2" fmla="*/ 360 w 1515194"/>
                  <a:gd name="connsiteY2" fmla="*/ 1475726 h 1647175"/>
                  <a:gd name="connsiteX3" fmla="*/ 92752 w 1515194"/>
                  <a:gd name="connsiteY3" fmla="*/ 148893 h 1647175"/>
                  <a:gd name="connsiteX4" fmla="*/ 182287 w 1515194"/>
                  <a:gd name="connsiteY4" fmla="*/ 16496 h 1647175"/>
                  <a:gd name="connsiteX5" fmla="*/ 341355 w 1515194"/>
                  <a:gd name="connsiteY5" fmla="*/ 27926 h 1647175"/>
                  <a:gd name="connsiteX6" fmla="*/ 1444350 w 1515194"/>
                  <a:gd name="connsiteY6" fmla="*/ 771828 h 1647175"/>
                  <a:gd name="connsiteX7" fmla="*/ 1514835 w 1515194"/>
                  <a:gd name="connsiteY7" fmla="*/ 915656 h 1647175"/>
                  <a:gd name="connsiteX8" fmla="*/ 1425300 w 1515194"/>
                  <a:gd name="connsiteY8" fmla="*/ 1048053 h 1647175"/>
                  <a:gd name="connsiteX9" fmla="*/ 230865 w 1515194"/>
                  <a:gd name="connsiteY9" fmla="*/ 1630983 h 1647175"/>
                  <a:gd name="connsiteX10" fmla="*/ 160380 w 1515194"/>
                  <a:gd name="connsiteY10" fmla="*/ 1647176 h 1647175"/>
                  <a:gd name="connsiteX11" fmla="*/ 253725 w 1515194"/>
                  <a:gd name="connsiteY11" fmla="*/ 5066 h 1647175"/>
                  <a:gd name="connsiteX12" fmla="*/ 186097 w 1515194"/>
                  <a:gd name="connsiteY12" fmla="*/ 21258 h 1647175"/>
                  <a:gd name="connsiteX13" fmla="*/ 99420 w 1515194"/>
                  <a:gd name="connsiteY13" fmla="*/ 148893 h 1647175"/>
                  <a:gd name="connsiteX14" fmla="*/ 7027 w 1515194"/>
                  <a:gd name="connsiteY14" fmla="*/ 1475726 h 1647175"/>
                  <a:gd name="connsiteX15" fmla="*/ 74655 w 1515194"/>
                  <a:gd name="connsiteY15" fmla="*/ 1614791 h 1647175"/>
                  <a:gd name="connsiteX16" fmla="*/ 228960 w 1515194"/>
                  <a:gd name="connsiteY16" fmla="*/ 1625268 h 1647175"/>
                  <a:gd name="connsiteX17" fmla="*/ 1424347 w 1515194"/>
                  <a:gd name="connsiteY17" fmla="*/ 1042338 h 1647175"/>
                  <a:gd name="connsiteX18" fmla="*/ 1511025 w 1515194"/>
                  <a:gd name="connsiteY18" fmla="*/ 914703 h 1647175"/>
                  <a:gd name="connsiteX19" fmla="*/ 1443397 w 1515194"/>
                  <a:gd name="connsiteY19" fmla="*/ 775638 h 1647175"/>
                  <a:gd name="connsiteX20" fmla="*/ 340402 w 1515194"/>
                  <a:gd name="connsiteY20" fmla="*/ 31736 h 1647175"/>
                  <a:gd name="connsiteX21" fmla="*/ 253725 w 1515194"/>
                  <a:gd name="connsiteY21" fmla="*/ 5066 h 164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5194" h="1647175">
                    <a:moveTo>
                      <a:pt x="160380" y="1647176"/>
                    </a:moveTo>
                    <a:cubicBezTo>
                      <a:pt x="128947" y="1647176"/>
                      <a:pt x="98467" y="1637651"/>
                      <a:pt x="70845" y="1619553"/>
                    </a:cubicBezTo>
                    <a:cubicBezTo>
                      <a:pt x="23220" y="1587168"/>
                      <a:pt x="-3450" y="1533828"/>
                      <a:pt x="360" y="1475726"/>
                    </a:cubicBezTo>
                    <a:lnTo>
                      <a:pt x="92752" y="148893"/>
                    </a:lnTo>
                    <a:cubicBezTo>
                      <a:pt x="96562" y="90791"/>
                      <a:pt x="129900" y="41261"/>
                      <a:pt x="182287" y="16496"/>
                    </a:cubicBezTo>
                    <a:cubicBezTo>
                      <a:pt x="234675" y="-9222"/>
                      <a:pt x="293730" y="-4459"/>
                      <a:pt x="341355" y="27926"/>
                    </a:cubicBezTo>
                    <a:lnTo>
                      <a:pt x="1444350" y="771828"/>
                    </a:lnTo>
                    <a:cubicBezTo>
                      <a:pt x="1491975" y="804213"/>
                      <a:pt x="1518645" y="857553"/>
                      <a:pt x="1514835" y="915656"/>
                    </a:cubicBezTo>
                    <a:cubicBezTo>
                      <a:pt x="1511025" y="973758"/>
                      <a:pt x="1477687" y="1023288"/>
                      <a:pt x="1425300" y="1048053"/>
                    </a:cubicBezTo>
                    <a:lnTo>
                      <a:pt x="230865" y="1630983"/>
                    </a:lnTo>
                    <a:cubicBezTo>
                      <a:pt x="208005" y="1641461"/>
                      <a:pt x="184192" y="1647176"/>
                      <a:pt x="160380" y="1647176"/>
                    </a:cubicBezTo>
                    <a:close/>
                    <a:moveTo>
                      <a:pt x="253725" y="5066"/>
                    </a:moveTo>
                    <a:cubicBezTo>
                      <a:pt x="230865" y="5066"/>
                      <a:pt x="208005" y="10781"/>
                      <a:pt x="186097" y="21258"/>
                    </a:cubicBezTo>
                    <a:cubicBezTo>
                      <a:pt x="135615" y="46023"/>
                      <a:pt x="103230" y="93648"/>
                      <a:pt x="99420" y="148893"/>
                    </a:cubicBezTo>
                    <a:lnTo>
                      <a:pt x="7027" y="1475726"/>
                    </a:lnTo>
                    <a:cubicBezTo>
                      <a:pt x="3217" y="1530971"/>
                      <a:pt x="27982" y="1583358"/>
                      <a:pt x="74655" y="1614791"/>
                    </a:cubicBezTo>
                    <a:cubicBezTo>
                      <a:pt x="121327" y="1646223"/>
                      <a:pt x="178477" y="1650033"/>
                      <a:pt x="228960" y="1625268"/>
                    </a:cubicBezTo>
                    <a:lnTo>
                      <a:pt x="1424347" y="1042338"/>
                    </a:lnTo>
                    <a:cubicBezTo>
                      <a:pt x="1474830" y="1017573"/>
                      <a:pt x="1507215" y="969948"/>
                      <a:pt x="1511025" y="914703"/>
                    </a:cubicBezTo>
                    <a:cubicBezTo>
                      <a:pt x="1514835" y="859458"/>
                      <a:pt x="1490070" y="807071"/>
                      <a:pt x="1443397" y="775638"/>
                    </a:cubicBezTo>
                    <a:lnTo>
                      <a:pt x="340402" y="31736"/>
                    </a:lnTo>
                    <a:cubicBezTo>
                      <a:pt x="313732" y="14591"/>
                      <a:pt x="284205" y="5066"/>
                      <a:pt x="253725" y="5066"/>
                    </a:cubicBezTo>
                    <a:close/>
                  </a:path>
                </a:pathLst>
              </a:custGeom>
              <a:grpFill/>
              <a:ln w="9525" cap="flat">
                <a:noFill/>
                <a:prstDash val="solid"/>
                <a:miter/>
              </a:ln>
            </p:spPr>
            <p:txBody>
              <a:bodyPr rtlCol="0" anchor="ctr"/>
              <a:lstStyle/>
              <a:p>
                <a:endParaRPr lang="en-US" sz="1730"/>
              </a:p>
            </p:txBody>
          </p:sp>
          <p:sp>
            <p:nvSpPr>
              <p:cNvPr id="58" name="Freeform: Shape 57">
                <a:extLst>
                  <a:ext uri="{FF2B5EF4-FFF2-40B4-BE49-F238E27FC236}">
                    <a16:creationId xmlns:a16="http://schemas.microsoft.com/office/drawing/2014/main" id="{5A06D381-5E3A-45E2-943A-D8A9CD6DDB02}"/>
                  </a:ext>
                </a:extLst>
              </p:cNvPr>
              <p:cNvSpPr/>
              <p:nvPr/>
            </p:nvSpPr>
            <p:spPr>
              <a:xfrm>
                <a:off x="5267647" y="2501714"/>
                <a:ext cx="1640193" cy="1544187"/>
              </a:xfrm>
              <a:custGeom>
                <a:avLst/>
                <a:gdLst>
                  <a:gd name="connsiteX0" fmla="*/ 159062 w 1640193"/>
                  <a:gd name="connsiteY0" fmla="*/ 1544188 h 1544187"/>
                  <a:gd name="connsiteX1" fmla="*/ 32379 w 1640193"/>
                  <a:gd name="connsiteY1" fmla="*/ 1480370 h 1544187"/>
                  <a:gd name="connsiteX2" fmla="*/ 13329 w 1640193"/>
                  <a:gd name="connsiteY2" fmla="*/ 1321303 h 1544187"/>
                  <a:gd name="connsiteX3" fmla="*/ 532442 w 1640193"/>
                  <a:gd name="connsiteY3" fmla="*/ 97340 h 1544187"/>
                  <a:gd name="connsiteX4" fmla="*/ 660077 w 1640193"/>
                  <a:gd name="connsiteY4" fmla="*/ 1138 h 1544187"/>
                  <a:gd name="connsiteX5" fmla="*/ 806762 w 1640193"/>
                  <a:gd name="connsiteY5" fmla="*/ 64003 h 1544187"/>
                  <a:gd name="connsiteX6" fmla="*/ 1607814 w 1640193"/>
                  <a:gd name="connsiteY6" fmla="*/ 1126040 h 1544187"/>
                  <a:gd name="connsiteX7" fmla="*/ 1626864 w 1640193"/>
                  <a:gd name="connsiteY7" fmla="*/ 1285108 h 1544187"/>
                  <a:gd name="connsiteX8" fmla="*/ 1499229 w 1640193"/>
                  <a:gd name="connsiteY8" fmla="*/ 1381310 h 1544187"/>
                  <a:gd name="connsiteX9" fmla="*/ 179064 w 1640193"/>
                  <a:gd name="connsiteY9" fmla="*/ 1543235 h 1544187"/>
                  <a:gd name="connsiteX10" fmla="*/ 159062 w 1640193"/>
                  <a:gd name="connsiteY10" fmla="*/ 1544188 h 1544187"/>
                  <a:gd name="connsiteX11" fmla="*/ 680079 w 1640193"/>
                  <a:gd name="connsiteY11" fmla="*/ 4948 h 1544187"/>
                  <a:gd name="connsiteX12" fmla="*/ 661029 w 1640193"/>
                  <a:gd name="connsiteY12" fmla="*/ 5900 h 1544187"/>
                  <a:gd name="connsiteX13" fmla="*/ 538157 w 1640193"/>
                  <a:gd name="connsiteY13" fmla="*/ 99245 h 1544187"/>
                  <a:gd name="connsiteX14" fmla="*/ 18092 w 1640193"/>
                  <a:gd name="connsiteY14" fmla="*/ 1324160 h 1544187"/>
                  <a:gd name="connsiteX15" fmla="*/ 37142 w 1640193"/>
                  <a:gd name="connsiteY15" fmla="*/ 1477513 h 1544187"/>
                  <a:gd name="connsiteX16" fmla="*/ 179064 w 1640193"/>
                  <a:gd name="connsiteY16" fmla="*/ 1537520 h 1544187"/>
                  <a:gd name="connsiteX17" fmla="*/ 1499229 w 1640193"/>
                  <a:gd name="connsiteY17" fmla="*/ 1375595 h 1544187"/>
                  <a:gd name="connsiteX18" fmla="*/ 1622102 w 1640193"/>
                  <a:gd name="connsiteY18" fmla="*/ 1282250 h 1544187"/>
                  <a:gd name="connsiteX19" fmla="*/ 1603052 w 1640193"/>
                  <a:gd name="connsiteY19" fmla="*/ 1128898 h 1544187"/>
                  <a:gd name="connsiteX20" fmla="*/ 802952 w 1640193"/>
                  <a:gd name="connsiteY20" fmla="*/ 66860 h 1544187"/>
                  <a:gd name="connsiteX21" fmla="*/ 680079 w 1640193"/>
                  <a:gd name="connsiteY21" fmla="*/ 4948 h 154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0193" h="1544187">
                    <a:moveTo>
                      <a:pt x="159062" y="1544188"/>
                    </a:moveTo>
                    <a:cubicBezTo>
                      <a:pt x="109532" y="1544188"/>
                      <a:pt x="62859" y="1521328"/>
                      <a:pt x="32379" y="1480370"/>
                    </a:cubicBezTo>
                    <a:cubicBezTo>
                      <a:pt x="-2863" y="1434650"/>
                      <a:pt x="-9531" y="1374643"/>
                      <a:pt x="13329" y="1321303"/>
                    </a:cubicBezTo>
                    <a:lnTo>
                      <a:pt x="532442" y="97340"/>
                    </a:lnTo>
                    <a:cubicBezTo>
                      <a:pt x="555302" y="44000"/>
                      <a:pt x="602927" y="7805"/>
                      <a:pt x="660077" y="1138"/>
                    </a:cubicBezTo>
                    <a:cubicBezTo>
                      <a:pt x="717227" y="-5530"/>
                      <a:pt x="772472" y="17330"/>
                      <a:pt x="806762" y="64003"/>
                    </a:cubicBezTo>
                    <a:lnTo>
                      <a:pt x="1607814" y="1126040"/>
                    </a:lnTo>
                    <a:cubicBezTo>
                      <a:pt x="1643057" y="1171760"/>
                      <a:pt x="1649724" y="1231768"/>
                      <a:pt x="1626864" y="1285108"/>
                    </a:cubicBezTo>
                    <a:cubicBezTo>
                      <a:pt x="1604004" y="1338448"/>
                      <a:pt x="1556379" y="1374643"/>
                      <a:pt x="1499229" y="1381310"/>
                    </a:cubicBezTo>
                    <a:lnTo>
                      <a:pt x="179064" y="1543235"/>
                    </a:lnTo>
                    <a:cubicBezTo>
                      <a:pt x="172397" y="1544188"/>
                      <a:pt x="165729" y="1544188"/>
                      <a:pt x="159062" y="1544188"/>
                    </a:cubicBezTo>
                    <a:close/>
                    <a:moveTo>
                      <a:pt x="680079" y="4948"/>
                    </a:moveTo>
                    <a:cubicBezTo>
                      <a:pt x="673412" y="4948"/>
                      <a:pt x="666744" y="4948"/>
                      <a:pt x="661029" y="5900"/>
                    </a:cubicBezTo>
                    <a:cubicBezTo>
                      <a:pt x="605784" y="12568"/>
                      <a:pt x="559112" y="47810"/>
                      <a:pt x="538157" y="99245"/>
                    </a:cubicBezTo>
                    <a:lnTo>
                      <a:pt x="18092" y="1324160"/>
                    </a:lnTo>
                    <a:cubicBezTo>
                      <a:pt x="-3816" y="1375595"/>
                      <a:pt x="2852" y="1432745"/>
                      <a:pt x="37142" y="1477513"/>
                    </a:cubicBezTo>
                    <a:cubicBezTo>
                      <a:pt x="70479" y="1522280"/>
                      <a:pt x="123819" y="1544188"/>
                      <a:pt x="179064" y="1537520"/>
                    </a:cubicBezTo>
                    <a:lnTo>
                      <a:pt x="1499229" y="1375595"/>
                    </a:lnTo>
                    <a:cubicBezTo>
                      <a:pt x="1554474" y="1368928"/>
                      <a:pt x="1601147" y="1333685"/>
                      <a:pt x="1622102" y="1282250"/>
                    </a:cubicBezTo>
                    <a:cubicBezTo>
                      <a:pt x="1644009" y="1230815"/>
                      <a:pt x="1637342" y="1173665"/>
                      <a:pt x="1603052" y="1128898"/>
                    </a:cubicBezTo>
                    <a:lnTo>
                      <a:pt x="802952" y="66860"/>
                    </a:lnTo>
                    <a:cubicBezTo>
                      <a:pt x="773424" y="27808"/>
                      <a:pt x="728657" y="4948"/>
                      <a:pt x="680079" y="4948"/>
                    </a:cubicBezTo>
                    <a:close/>
                  </a:path>
                </a:pathLst>
              </a:custGeom>
              <a:grpFill/>
              <a:ln w="9525" cap="flat">
                <a:noFill/>
                <a:prstDash val="solid"/>
                <a:miter/>
              </a:ln>
            </p:spPr>
            <p:txBody>
              <a:bodyPr rtlCol="0" anchor="ctr"/>
              <a:lstStyle/>
              <a:p>
                <a:endParaRPr lang="en-US" sz="1730"/>
              </a:p>
            </p:txBody>
          </p:sp>
          <p:sp>
            <p:nvSpPr>
              <p:cNvPr id="59" name="Freeform: Shape 58">
                <a:extLst>
                  <a:ext uri="{FF2B5EF4-FFF2-40B4-BE49-F238E27FC236}">
                    <a16:creationId xmlns:a16="http://schemas.microsoft.com/office/drawing/2014/main" id="{6A50715D-06C2-4A50-B805-7C779755D7AD}"/>
                  </a:ext>
                </a:extLst>
              </p:cNvPr>
              <p:cNvSpPr/>
              <p:nvPr/>
            </p:nvSpPr>
            <p:spPr>
              <a:xfrm>
                <a:off x="5184232" y="2459493"/>
                <a:ext cx="1623190" cy="1584503"/>
              </a:xfrm>
              <a:custGeom>
                <a:avLst/>
                <a:gdLst>
                  <a:gd name="connsiteX0" fmla="*/ 1462629 w 1623190"/>
                  <a:gd name="connsiteY0" fmla="*/ 1584504 h 1584503"/>
                  <a:gd name="connsiteX1" fmla="*/ 1428339 w 1623190"/>
                  <a:gd name="connsiteY1" fmla="*/ 1580694 h 1584503"/>
                  <a:gd name="connsiteX2" fmla="*/ 127224 w 1623190"/>
                  <a:gd name="connsiteY2" fmla="*/ 1304469 h 1584503"/>
                  <a:gd name="connsiteX3" fmla="*/ 8162 w 1623190"/>
                  <a:gd name="connsiteY3" fmla="*/ 1197789 h 1584503"/>
                  <a:gd name="connsiteX4" fmla="*/ 41499 w 1623190"/>
                  <a:gd name="connsiteY4" fmla="*/ 1041579 h 1584503"/>
                  <a:gd name="connsiteX5" fmla="*/ 932087 w 1623190"/>
                  <a:gd name="connsiteY5" fmla="*/ 52884 h 1584503"/>
                  <a:gd name="connsiteX6" fmla="*/ 1084487 w 1623190"/>
                  <a:gd name="connsiteY6" fmla="*/ 3354 h 1584503"/>
                  <a:gd name="connsiteX7" fmla="*/ 1203549 w 1623190"/>
                  <a:gd name="connsiteY7" fmla="*/ 110034 h 1584503"/>
                  <a:gd name="connsiteX8" fmla="*/ 1615029 w 1623190"/>
                  <a:gd name="connsiteY8" fmla="*/ 1374954 h 1584503"/>
                  <a:gd name="connsiteX9" fmla="*/ 1581692 w 1623190"/>
                  <a:gd name="connsiteY9" fmla="*/ 1531164 h 1584503"/>
                  <a:gd name="connsiteX10" fmla="*/ 1462629 w 1623190"/>
                  <a:gd name="connsiteY10" fmla="*/ 1584504 h 1584503"/>
                  <a:gd name="connsiteX11" fmla="*/ 1050197 w 1623190"/>
                  <a:gd name="connsiteY11" fmla="*/ 5259 h 1584503"/>
                  <a:gd name="connsiteX12" fmla="*/ 935897 w 1623190"/>
                  <a:gd name="connsiteY12" fmla="*/ 56694 h 1584503"/>
                  <a:gd name="connsiteX13" fmla="*/ 45309 w 1623190"/>
                  <a:gd name="connsiteY13" fmla="*/ 1044436 h 1584503"/>
                  <a:gd name="connsiteX14" fmla="*/ 12924 w 1623190"/>
                  <a:gd name="connsiteY14" fmla="*/ 1194931 h 1584503"/>
                  <a:gd name="connsiteX15" fmla="*/ 127224 w 1623190"/>
                  <a:gd name="connsiteY15" fmla="*/ 1297801 h 1584503"/>
                  <a:gd name="connsiteX16" fmla="*/ 1428339 w 1623190"/>
                  <a:gd name="connsiteY16" fmla="*/ 1574026 h 1584503"/>
                  <a:gd name="connsiteX17" fmla="*/ 1575024 w 1623190"/>
                  <a:gd name="connsiteY17" fmla="*/ 1526401 h 1584503"/>
                  <a:gd name="connsiteX18" fmla="*/ 1607409 w 1623190"/>
                  <a:gd name="connsiteY18" fmla="*/ 1375906 h 1584503"/>
                  <a:gd name="connsiteX19" fmla="*/ 1197834 w 1623190"/>
                  <a:gd name="connsiteY19" fmla="*/ 111939 h 1584503"/>
                  <a:gd name="connsiteX20" fmla="*/ 1083534 w 1623190"/>
                  <a:gd name="connsiteY20" fmla="*/ 9069 h 1584503"/>
                  <a:gd name="connsiteX21" fmla="*/ 1050197 w 1623190"/>
                  <a:gd name="connsiteY21" fmla="*/ 5259 h 158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23190" h="1584503">
                    <a:moveTo>
                      <a:pt x="1462629" y="1584504"/>
                    </a:moveTo>
                    <a:cubicBezTo>
                      <a:pt x="1451199" y="1584504"/>
                      <a:pt x="1439769" y="1583551"/>
                      <a:pt x="1428339" y="1580694"/>
                    </a:cubicBezTo>
                    <a:lnTo>
                      <a:pt x="127224" y="1304469"/>
                    </a:lnTo>
                    <a:cubicBezTo>
                      <a:pt x="71027" y="1292086"/>
                      <a:pt x="26259" y="1252081"/>
                      <a:pt x="8162" y="1197789"/>
                    </a:cubicBezTo>
                    <a:cubicBezTo>
                      <a:pt x="-9936" y="1142544"/>
                      <a:pt x="2447" y="1084441"/>
                      <a:pt x="41499" y="1041579"/>
                    </a:cubicBezTo>
                    <a:lnTo>
                      <a:pt x="932087" y="52884"/>
                    </a:lnTo>
                    <a:cubicBezTo>
                      <a:pt x="971139" y="10021"/>
                      <a:pt x="1027337" y="-8076"/>
                      <a:pt x="1084487" y="3354"/>
                    </a:cubicBezTo>
                    <a:cubicBezTo>
                      <a:pt x="1140684" y="15736"/>
                      <a:pt x="1185452" y="55741"/>
                      <a:pt x="1203549" y="110034"/>
                    </a:cubicBezTo>
                    <a:lnTo>
                      <a:pt x="1615029" y="1374954"/>
                    </a:lnTo>
                    <a:cubicBezTo>
                      <a:pt x="1633127" y="1430199"/>
                      <a:pt x="1620744" y="1488301"/>
                      <a:pt x="1581692" y="1531164"/>
                    </a:cubicBezTo>
                    <a:cubicBezTo>
                      <a:pt x="1549307" y="1566406"/>
                      <a:pt x="1507397" y="1584504"/>
                      <a:pt x="1462629" y="1584504"/>
                    </a:cubicBezTo>
                    <a:close/>
                    <a:moveTo>
                      <a:pt x="1050197" y="5259"/>
                    </a:moveTo>
                    <a:cubicBezTo>
                      <a:pt x="1007334" y="5259"/>
                      <a:pt x="966377" y="23356"/>
                      <a:pt x="935897" y="56694"/>
                    </a:cubicBezTo>
                    <a:lnTo>
                      <a:pt x="45309" y="1044436"/>
                    </a:lnTo>
                    <a:cubicBezTo>
                      <a:pt x="8162" y="1086346"/>
                      <a:pt x="-4221" y="1142544"/>
                      <a:pt x="12924" y="1194931"/>
                    </a:cubicBezTo>
                    <a:cubicBezTo>
                      <a:pt x="30069" y="1248271"/>
                      <a:pt x="72932" y="1286371"/>
                      <a:pt x="127224" y="1297801"/>
                    </a:cubicBezTo>
                    <a:lnTo>
                      <a:pt x="1428339" y="1574026"/>
                    </a:lnTo>
                    <a:cubicBezTo>
                      <a:pt x="1482632" y="1585456"/>
                      <a:pt x="1537877" y="1567359"/>
                      <a:pt x="1575024" y="1526401"/>
                    </a:cubicBezTo>
                    <a:cubicBezTo>
                      <a:pt x="1612172" y="1484491"/>
                      <a:pt x="1624554" y="1428294"/>
                      <a:pt x="1607409" y="1375906"/>
                    </a:cubicBezTo>
                    <a:lnTo>
                      <a:pt x="1197834" y="111939"/>
                    </a:lnTo>
                    <a:cubicBezTo>
                      <a:pt x="1180689" y="58599"/>
                      <a:pt x="1137827" y="20499"/>
                      <a:pt x="1083534" y="9069"/>
                    </a:cubicBezTo>
                    <a:cubicBezTo>
                      <a:pt x="1072104" y="6211"/>
                      <a:pt x="1060674" y="5259"/>
                      <a:pt x="1050197" y="5259"/>
                    </a:cubicBezTo>
                    <a:close/>
                  </a:path>
                </a:pathLst>
              </a:custGeom>
              <a:grpFill/>
              <a:ln w="9525" cap="flat">
                <a:noFill/>
                <a:prstDash val="solid"/>
                <a:miter/>
              </a:ln>
            </p:spPr>
            <p:txBody>
              <a:bodyPr rtlCol="0" anchor="ctr"/>
              <a:lstStyle/>
              <a:p>
                <a:endParaRPr lang="en-US" sz="1730"/>
              </a:p>
            </p:txBody>
          </p:sp>
          <p:sp>
            <p:nvSpPr>
              <p:cNvPr id="60" name="Freeform: Shape 59">
                <a:extLst>
                  <a:ext uri="{FF2B5EF4-FFF2-40B4-BE49-F238E27FC236}">
                    <a16:creationId xmlns:a16="http://schemas.microsoft.com/office/drawing/2014/main" id="{76CB3FBA-91B0-4DCE-AC92-F9A18FF4D65A}"/>
                  </a:ext>
                </a:extLst>
              </p:cNvPr>
              <p:cNvSpPr/>
              <p:nvPr/>
            </p:nvSpPr>
            <p:spPr>
              <a:xfrm>
                <a:off x="5197133" y="2512353"/>
                <a:ext cx="1483088" cy="1650706"/>
              </a:xfrm>
              <a:custGeom>
                <a:avLst/>
                <a:gdLst>
                  <a:gd name="connsiteX0" fmla="*/ 1300186 w 1483088"/>
                  <a:gd name="connsiteY0" fmla="*/ 1650706 h 1650706"/>
                  <a:gd name="connsiteX1" fmla="*/ 1218271 w 1483088"/>
                  <a:gd name="connsiteY1" fmla="*/ 1627846 h 1650706"/>
                  <a:gd name="connsiteX2" fmla="*/ 77176 w 1483088"/>
                  <a:gd name="connsiteY2" fmla="*/ 942046 h 1650706"/>
                  <a:gd name="connsiteX3" fmla="*/ 23 w 1483088"/>
                  <a:gd name="connsiteY3" fmla="*/ 802029 h 1650706"/>
                  <a:gd name="connsiteX4" fmla="*/ 81938 w 1483088"/>
                  <a:gd name="connsiteY4" fmla="*/ 664869 h 1650706"/>
                  <a:gd name="connsiteX5" fmla="*/ 1245893 w 1483088"/>
                  <a:gd name="connsiteY5" fmla="*/ 20026 h 1650706"/>
                  <a:gd name="connsiteX6" fmla="*/ 1405913 w 1483088"/>
                  <a:gd name="connsiteY6" fmla="*/ 22884 h 1650706"/>
                  <a:gd name="connsiteX7" fmla="*/ 1483066 w 1483088"/>
                  <a:gd name="connsiteY7" fmla="*/ 162901 h 1650706"/>
                  <a:gd name="connsiteX8" fmla="*/ 1460206 w 1483088"/>
                  <a:gd name="connsiteY8" fmla="*/ 1493544 h 1650706"/>
                  <a:gd name="connsiteX9" fmla="*/ 1378291 w 1483088"/>
                  <a:gd name="connsiteY9" fmla="*/ 1630704 h 1650706"/>
                  <a:gd name="connsiteX10" fmla="*/ 1300186 w 1483088"/>
                  <a:gd name="connsiteY10" fmla="*/ 1650706 h 1650706"/>
                  <a:gd name="connsiteX11" fmla="*/ 1323046 w 1483088"/>
                  <a:gd name="connsiteY11" fmla="*/ 5739 h 1650706"/>
                  <a:gd name="connsiteX12" fmla="*/ 1247798 w 1483088"/>
                  <a:gd name="connsiteY12" fmla="*/ 25741 h 1650706"/>
                  <a:gd name="connsiteX13" fmla="*/ 84796 w 1483088"/>
                  <a:gd name="connsiteY13" fmla="*/ 669631 h 1650706"/>
                  <a:gd name="connsiteX14" fmla="*/ 5738 w 1483088"/>
                  <a:gd name="connsiteY14" fmla="*/ 802029 h 1650706"/>
                  <a:gd name="connsiteX15" fmla="*/ 80033 w 1483088"/>
                  <a:gd name="connsiteY15" fmla="*/ 937284 h 1650706"/>
                  <a:gd name="connsiteX16" fmla="*/ 1220176 w 1483088"/>
                  <a:gd name="connsiteY16" fmla="*/ 1622131 h 1650706"/>
                  <a:gd name="connsiteX17" fmla="*/ 1374481 w 1483088"/>
                  <a:gd name="connsiteY17" fmla="*/ 1624989 h 1650706"/>
                  <a:gd name="connsiteX18" fmla="*/ 1453538 w 1483088"/>
                  <a:gd name="connsiteY18" fmla="*/ 1492591 h 1650706"/>
                  <a:gd name="connsiteX19" fmla="*/ 1456396 w 1483088"/>
                  <a:gd name="connsiteY19" fmla="*/ 1492591 h 1650706"/>
                  <a:gd name="connsiteX20" fmla="*/ 1453538 w 1483088"/>
                  <a:gd name="connsiteY20" fmla="*/ 1492591 h 1650706"/>
                  <a:gd name="connsiteX21" fmla="*/ 1476398 w 1483088"/>
                  <a:gd name="connsiteY21" fmla="*/ 161949 h 1650706"/>
                  <a:gd name="connsiteX22" fmla="*/ 1401151 w 1483088"/>
                  <a:gd name="connsiteY22" fmla="*/ 26694 h 1650706"/>
                  <a:gd name="connsiteX23" fmla="*/ 1323046 w 1483088"/>
                  <a:gd name="connsiteY23" fmla="*/ 5739 h 16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83088" h="1650706">
                    <a:moveTo>
                      <a:pt x="1300186" y="1650706"/>
                    </a:moveTo>
                    <a:cubicBezTo>
                      <a:pt x="1271611" y="1650706"/>
                      <a:pt x="1243036" y="1643086"/>
                      <a:pt x="1218271" y="1627846"/>
                    </a:cubicBezTo>
                    <a:lnTo>
                      <a:pt x="77176" y="942046"/>
                    </a:lnTo>
                    <a:cubicBezTo>
                      <a:pt x="27646" y="912519"/>
                      <a:pt x="-929" y="860131"/>
                      <a:pt x="23" y="802029"/>
                    </a:cubicBezTo>
                    <a:cubicBezTo>
                      <a:pt x="976" y="743926"/>
                      <a:pt x="31456" y="693444"/>
                      <a:pt x="81938" y="664869"/>
                    </a:cubicBezTo>
                    <a:lnTo>
                      <a:pt x="1245893" y="20026"/>
                    </a:lnTo>
                    <a:cubicBezTo>
                      <a:pt x="1296376" y="-7596"/>
                      <a:pt x="1356383" y="-6644"/>
                      <a:pt x="1405913" y="22884"/>
                    </a:cubicBezTo>
                    <a:cubicBezTo>
                      <a:pt x="1455443" y="52411"/>
                      <a:pt x="1484018" y="104799"/>
                      <a:pt x="1483066" y="162901"/>
                    </a:cubicBezTo>
                    <a:lnTo>
                      <a:pt x="1460206" y="1493544"/>
                    </a:lnTo>
                    <a:cubicBezTo>
                      <a:pt x="1459253" y="1551646"/>
                      <a:pt x="1428773" y="1602129"/>
                      <a:pt x="1378291" y="1630704"/>
                    </a:cubicBezTo>
                    <a:cubicBezTo>
                      <a:pt x="1353526" y="1644039"/>
                      <a:pt x="1326856" y="1650706"/>
                      <a:pt x="1300186" y="1650706"/>
                    </a:cubicBezTo>
                    <a:close/>
                    <a:moveTo>
                      <a:pt x="1323046" y="5739"/>
                    </a:moveTo>
                    <a:cubicBezTo>
                      <a:pt x="1297328" y="5739"/>
                      <a:pt x="1271611" y="12406"/>
                      <a:pt x="1247798" y="25741"/>
                    </a:cubicBezTo>
                    <a:lnTo>
                      <a:pt x="84796" y="669631"/>
                    </a:lnTo>
                    <a:cubicBezTo>
                      <a:pt x="36218" y="696301"/>
                      <a:pt x="6691" y="745831"/>
                      <a:pt x="5738" y="802029"/>
                    </a:cubicBezTo>
                    <a:cubicBezTo>
                      <a:pt x="4786" y="858226"/>
                      <a:pt x="32408" y="908709"/>
                      <a:pt x="80033" y="937284"/>
                    </a:cubicBezTo>
                    <a:lnTo>
                      <a:pt x="1220176" y="1622131"/>
                    </a:lnTo>
                    <a:cubicBezTo>
                      <a:pt x="1267801" y="1650706"/>
                      <a:pt x="1325903" y="1651659"/>
                      <a:pt x="1374481" y="1624989"/>
                    </a:cubicBezTo>
                    <a:cubicBezTo>
                      <a:pt x="1423058" y="1598319"/>
                      <a:pt x="1452586" y="1548789"/>
                      <a:pt x="1453538" y="1492591"/>
                    </a:cubicBezTo>
                    <a:lnTo>
                      <a:pt x="1456396" y="1492591"/>
                    </a:lnTo>
                    <a:lnTo>
                      <a:pt x="1453538" y="1492591"/>
                    </a:lnTo>
                    <a:lnTo>
                      <a:pt x="1476398" y="161949"/>
                    </a:lnTo>
                    <a:cubicBezTo>
                      <a:pt x="1477351" y="105751"/>
                      <a:pt x="1449728" y="55269"/>
                      <a:pt x="1401151" y="26694"/>
                    </a:cubicBezTo>
                    <a:cubicBezTo>
                      <a:pt x="1378291" y="13359"/>
                      <a:pt x="1350668" y="5739"/>
                      <a:pt x="1323046" y="5739"/>
                    </a:cubicBezTo>
                    <a:close/>
                  </a:path>
                </a:pathLst>
              </a:custGeom>
              <a:grpFill/>
              <a:ln w="9525" cap="flat">
                <a:noFill/>
                <a:prstDash val="solid"/>
                <a:miter/>
              </a:ln>
            </p:spPr>
            <p:txBody>
              <a:bodyPr rtlCol="0" anchor="ctr"/>
              <a:lstStyle/>
              <a:p>
                <a:endParaRPr lang="en-US" sz="1730"/>
              </a:p>
            </p:txBody>
          </p:sp>
          <p:sp>
            <p:nvSpPr>
              <p:cNvPr id="61" name="Freeform: Shape 60">
                <a:extLst>
                  <a:ext uri="{FF2B5EF4-FFF2-40B4-BE49-F238E27FC236}">
                    <a16:creationId xmlns:a16="http://schemas.microsoft.com/office/drawing/2014/main" id="{22045ED4-534F-4B15-8795-D2C7547978FE}"/>
                  </a:ext>
                </a:extLst>
              </p:cNvPr>
              <p:cNvSpPr/>
              <p:nvPr/>
            </p:nvSpPr>
            <p:spPr>
              <a:xfrm>
                <a:off x="5302425" y="2655449"/>
                <a:ext cx="1631597" cy="1570475"/>
              </a:xfrm>
              <a:custGeom>
                <a:avLst/>
                <a:gdLst>
                  <a:gd name="connsiteX0" fmla="*/ 1014871 w 1631597"/>
                  <a:gd name="connsiteY0" fmla="*/ 1570476 h 1570475"/>
                  <a:gd name="connsiteX1" fmla="*/ 892951 w 1631597"/>
                  <a:gd name="connsiteY1" fmla="*/ 1513326 h 1570475"/>
                  <a:gd name="connsiteX2" fmla="*/ 37606 w 1631597"/>
                  <a:gd name="connsiteY2" fmla="*/ 494151 h 1570475"/>
                  <a:gd name="connsiteX3" fmla="*/ 9984 w 1631597"/>
                  <a:gd name="connsiteY3" fmla="*/ 336988 h 1570475"/>
                  <a:gd name="connsiteX4" fmla="*/ 132856 w 1631597"/>
                  <a:gd name="connsiteY4" fmla="*/ 234118 h 1570475"/>
                  <a:gd name="connsiteX5" fmla="*/ 1443496 w 1631597"/>
                  <a:gd name="connsiteY5" fmla="*/ 2660 h 1570475"/>
                  <a:gd name="connsiteX6" fmla="*/ 1593991 w 1631597"/>
                  <a:gd name="connsiteY6" fmla="*/ 56953 h 1570475"/>
                  <a:gd name="connsiteX7" fmla="*/ 1621614 w 1631597"/>
                  <a:gd name="connsiteY7" fmla="*/ 214115 h 1570475"/>
                  <a:gd name="connsiteX8" fmla="*/ 1166319 w 1631597"/>
                  <a:gd name="connsiteY8" fmla="*/ 1464748 h 1570475"/>
                  <a:gd name="connsiteX9" fmla="*/ 1043446 w 1631597"/>
                  <a:gd name="connsiteY9" fmla="*/ 1567618 h 1570475"/>
                  <a:gd name="connsiteX10" fmla="*/ 1014871 w 1631597"/>
                  <a:gd name="connsiteY10" fmla="*/ 1570476 h 1570475"/>
                  <a:gd name="connsiteX11" fmla="*/ 1471119 w 1631597"/>
                  <a:gd name="connsiteY11" fmla="*/ 6470 h 1570475"/>
                  <a:gd name="connsiteX12" fmla="*/ 1443496 w 1631597"/>
                  <a:gd name="connsiteY12" fmla="*/ 9328 h 1570475"/>
                  <a:gd name="connsiteX13" fmla="*/ 133809 w 1631597"/>
                  <a:gd name="connsiteY13" fmla="*/ 239833 h 1570475"/>
                  <a:gd name="connsiteX14" fmla="*/ 15699 w 1631597"/>
                  <a:gd name="connsiteY14" fmla="*/ 338893 h 1570475"/>
                  <a:gd name="connsiteX15" fmla="*/ 42369 w 1631597"/>
                  <a:gd name="connsiteY15" fmla="*/ 491293 h 1570475"/>
                  <a:gd name="connsiteX16" fmla="*/ 897714 w 1631597"/>
                  <a:gd name="connsiteY16" fmla="*/ 1510468 h 1570475"/>
                  <a:gd name="connsiteX17" fmla="*/ 1042494 w 1631597"/>
                  <a:gd name="connsiteY17" fmla="*/ 1562856 h 1570475"/>
                  <a:gd name="connsiteX18" fmla="*/ 1160604 w 1631597"/>
                  <a:gd name="connsiteY18" fmla="*/ 1463796 h 1570475"/>
                  <a:gd name="connsiteX19" fmla="*/ 1163461 w 1631597"/>
                  <a:gd name="connsiteY19" fmla="*/ 1464748 h 1570475"/>
                  <a:gd name="connsiteX20" fmla="*/ 1160604 w 1631597"/>
                  <a:gd name="connsiteY20" fmla="*/ 1463796 h 1570475"/>
                  <a:gd name="connsiteX21" fmla="*/ 1615899 w 1631597"/>
                  <a:gd name="connsiteY21" fmla="*/ 213163 h 1570475"/>
                  <a:gd name="connsiteX22" fmla="*/ 1589229 w 1631597"/>
                  <a:gd name="connsiteY22" fmla="*/ 60763 h 1570475"/>
                  <a:gd name="connsiteX23" fmla="*/ 1471119 w 1631597"/>
                  <a:gd name="connsiteY23" fmla="*/ 6470 h 157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1597" h="1570475">
                    <a:moveTo>
                      <a:pt x="1014871" y="1570476"/>
                    </a:moveTo>
                    <a:cubicBezTo>
                      <a:pt x="968199" y="1570476"/>
                      <a:pt x="924384" y="1550473"/>
                      <a:pt x="892951" y="1513326"/>
                    </a:cubicBezTo>
                    <a:lnTo>
                      <a:pt x="37606" y="494151"/>
                    </a:lnTo>
                    <a:cubicBezTo>
                      <a:pt x="459" y="450336"/>
                      <a:pt x="-10019" y="391281"/>
                      <a:pt x="9984" y="336988"/>
                    </a:cubicBezTo>
                    <a:cubicBezTo>
                      <a:pt x="29986" y="282695"/>
                      <a:pt x="75706" y="244595"/>
                      <a:pt x="132856" y="234118"/>
                    </a:cubicBezTo>
                    <a:lnTo>
                      <a:pt x="1443496" y="2660"/>
                    </a:lnTo>
                    <a:cubicBezTo>
                      <a:pt x="1500646" y="-7817"/>
                      <a:pt x="1556844" y="13138"/>
                      <a:pt x="1593991" y="56953"/>
                    </a:cubicBezTo>
                    <a:cubicBezTo>
                      <a:pt x="1631139" y="100768"/>
                      <a:pt x="1641616" y="159823"/>
                      <a:pt x="1621614" y="214115"/>
                    </a:cubicBezTo>
                    <a:lnTo>
                      <a:pt x="1166319" y="1464748"/>
                    </a:lnTo>
                    <a:cubicBezTo>
                      <a:pt x="1146316" y="1519041"/>
                      <a:pt x="1100596" y="1557141"/>
                      <a:pt x="1043446" y="1567618"/>
                    </a:cubicBezTo>
                    <a:cubicBezTo>
                      <a:pt x="1033921" y="1569523"/>
                      <a:pt x="1024396" y="1570476"/>
                      <a:pt x="1014871" y="1570476"/>
                    </a:cubicBezTo>
                    <a:close/>
                    <a:moveTo>
                      <a:pt x="1471119" y="6470"/>
                    </a:moveTo>
                    <a:cubicBezTo>
                      <a:pt x="1461594" y="6470"/>
                      <a:pt x="1453021" y="7423"/>
                      <a:pt x="1443496" y="9328"/>
                    </a:cubicBezTo>
                    <a:lnTo>
                      <a:pt x="133809" y="239833"/>
                    </a:lnTo>
                    <a:cubicBezTo>
                      <a:pt x="78564" y="249358"/>
                      <a:pt x="34749" y="286506"/>
                      <a:pt x="15699" y="338893"/>
                    </a:cubicBezTo>
                    <a:cubicBezTo>
                      <a:pt x="-3351" y="391281"/>
                      <a:pt x="6174" y="448430"/>
                      <a:pt x="42369" y="491293"/>
                    </a:cubicBezTo>
                    <a:lnTo>
                      <a:pt x="897714" y="1510468"/>
                    </a:lnTo>
                    <a:cubicBezTo>
                      <a:pt x="933909" y="1553331"/>
                      <a:pt x="988201" y="1573333"/>
                      <a:pt x="1042494" y="1562856"/>
                    </a:cubicBezTo>
                    <a:cubicBezTo>
                      <a:pt x="1097739" y="1553331"/>
                      <a:pt x="1141554" y="1516183"/>
                      <a:pt x="1160604" y="1463796"/>
                    </a:cubicBezTo>
                    <a:lnTo>
                      <a:pt x="1163461" y="1464748"/>
                    </a:lnTo>
                    <a:lnTo>
                      <a:pt x="1160604" y="1463796"/>
                    </a:lnTo>
                    <a:lnTo>
                      <a:pt x="1615899" y="213163"/>
                    </a:lnTo>
                    <a:cubicBezTo>
                      <a:pt x="1634949" y="160775"/>
                      <a:pt x="1625424" y="103625"/>
                      <a:pt x="1589229" y="60763"/>
                    </a:cubicBezTo>
                    <a:cubicBezTo>
                      <a:pt x="1558749" y="25520"/>
                      <a:pt x="1515886" y="6470"/>
                      <a:pt x="1471119" y="6470"/>
                    </a:cubicBezTo>
                    <a:close/>
                  </a:path>
                </a:pathLst>
              </a:custGeom>
              <a:grpFill/>
              <a:ln w="9525" cap="flat">
                <a:noFill/>
                <a:prstDash val="solid"/>
                <a:miter/>
              </a:ln>
            </p:spPr>
            <p:txBody>
              <a:bodyPr rtlCol="0" anchor="ctr"/>
              <a:lstStyle/>
              <a:p>
                <a:endParaRPr lang="en-US" sz="1730"/>
              </a:p>
            </p:txBody>
          </p:sp>
          <p:sp>
            <p:nvSpPr>
              <p:cNvPr id="62" name="Freeform: Shape 61">
                <a:extLst>
                  <a:ext uri="{FF2B5EF4-FFF2-40B4-BE49-F238E27FC236}">
                    <a16:creationId xmlns:a16="http://schemas.microsoft.com/office/drawing/2014/main" id="{FEE68F87-0B6B-4885-866B-61423AE3724E}"/>
                  </a:ext>
                </a:extLst>
              </p:cNvPr>
              <p:cNvSpPr/>
              <p:nvPr/>
            </p:nvSpPr>
            <p:spPr>
              <a:xfrm>
                <a:off x="5490992" y="2665438"/>
                <a:ext cx="1634512" cy="1562390"/>
              </a:xfrm>
              <a:custGeom>
                <a:avLst/>
                <a:gdLst>
                  <a:gd name="connsiteX0" fmla="*/ 637710 w 1634512"/>
                  <a:gd name="connsiteY0" fmla="*/ 1562391 h 1562390"/>
                  <a:gd name="connsiteX1" fmla="*/ 611992 w 1634512"/>
                  <a:gd name="connsiteY1" fmla="*/ 1560486 h 1562390"/>
                  <a:gd name="connsiteX2" fmla="*/ 488167 w 1634512"/>
                  <a:gd name="connsiteY2" fmla="*/ 1459521 h 1562390"/>
                  <a:gd name="connsiteX3" fmla="*/ 10965 w 1634512"/>
                  <a:gd name="connsiteY3" fmla="*/ 217461 h 1562390"/>
                  <a:gd name="connsiteX4" fmla="*/ 35730 w 1634512"/>
                  <a:gd name="connsiteY4" fmla="*/ 59346 h 1562390"/>
                  <a:gd name="connsiteX5" fmla="*/ 185272 w 1634512"/>
                  <a:gd name="connsiteY5" fmla="*/ 2196 h 1562390"/>
                  <a:gd name="connsiteX6" fmla="*/ 1499723 w 1634512"/>
                  <a:gd name="connsiteY6" fmla="*/ 209841 h 1562390"/>
                  <a:gd name="connsiteX7" fmla="*/ 1623548 w 1634512"/>
                  <a:gd name="connsiteY7" fmla="*/ 310806 h 1562390"/>
                  <a:gd name="connsiteX8" fmla="*/ 1598782 w 1634512"/>
                  <a:gd name="connsiteY8" fmla="*/ 468921 h 1562390"/>
                  <a:gd name="connsiteX9" fmla="*/ 761535 w 1634512"/>
                  <a:gd name="connsiteY9" fmla="*/ 1502383 h 1562390"/>
                  <a:gd name="connsiteX10" fmla="*/ 759630 w 1634512"/>
                  <a:gd name="connsiteY10" fmla="*/ 1500478 h 1562390"/>
                  <a:gd name="connsiteX11" fmla="*/ 761535 w 1634512"/>
                  <a:gd name="connsiteY11" fmla="*/ 1502383 h 1562390"/>
                  <a:gd name="connsiteX12" fmla="*/ 637710 w 1634512"/>
                  <a:gd name="connsiteY12" fmla="*/ 1562391 h 1562390"/>
                  <a:gd name="connsiteX13" fmla="*/ 159555 w 1634512"/>
                  <a:gd name="connsiteY13" fmla="*/ 6006 h 1562390"/>
                  <a:gd name="connsiteX14" fmla="*/ 40492 w 1634512"/>
                  <a:gd name="connsiteY14" fmla="*/ 63156 h 1562390"/>
                  <a:gd name="connsiteX15" fmla="*/ 16680 w 1634512"/>
                  <a:gd name="connsiteY15" fmla="*/ 215556 h 1562390"/>
                  <a:gd name="connsiteX16" fmla="*/ 493882 w 1634512"/>
                  <a:gd name="connsiteY16" fmla="*/ 1457616 h 1562390"/>
                  <a:gd name="connsiteX17" fmla="*/ 613897 w 1634512"/>
                  <a:gd name="connsiteY17" fmla="*/ 1554771 h 1562390"/>
                  <a:gd name="connsiteX18" fmla="*/ 757725 w 1634512"/>
                  <a:gd name="connsiteY18" fmla="*/ 1499526 h 1562390"/>
                  <a:gd name="connsiteX19" fmla="*/ 1594020 w 1634512"/>
                  <a:gd name="connsiteY19" fmla="*/ 465111 h 1562390"/>
                  <a:gd name="connsiteX20" fmla="*/ 1617832 w 1634512"/>
                  <a:gd name="connsiteY20" fmla="*/ 312711 h 1562390"/>
                  <a:gd name="connsiteX21" fmla="*/ 1497817 w 1634512"/>
                  <a:gd name="connsiteY21" fmla="*/ 215556 h 1562390"/>
                  <a:gd name="connsiteX22" fmla="*/ 184320 w 1634512"/>
                  <a:gd name="connsiteY22" fmla="*/ 7911 h 1562390"/>
                  <a:gd name="connsiteX23" fmla="*/ 159555 w 1634512"/>
                  <a:gd name="connsiteY23" fmla="*/ 6006 h 156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4512" h="1562390">
                    <a:moveTo>
                      <a:pt x="637710" y="1562391"/>
                    </a:moveTo>
                    <a:cubicBezTo>
                      <a:pt x="629137" y="1562391"/>
                      <a:pt x="620565" y="1561438"/>
                      <a:pt x="611992" y="1560486"/>
                    </a:cubicBezTo>
                    <a:cubicBezTo>
                      <a:pt x="554842" y="1551913"/>
                      <a:pt x="508170" y="1513813"/>
                      <a:pt x="488167" y="1459521"/>
                    </a:cubicBezTo>
                    <a:lnTo>
                      <a:pt x="10965" y="217461"/>
                    </a:lnTo>
                    <a:cubicBezTo>
                      <a:pt x="-9990" y="163168"/>
                      <a:pt x="-465" y="104113"/>
                      <a:pt x="35730" y="59346"/>
                    </a:cubicBezTo>
                    <a:cubicBezTo>
                      <a:pt x="71925" y="14578"/>
                      <a:pt x="128122" y="-7329"/>
                      <a:pt x="185272" y="2196"/>
                    </a:cubicBezTo>
                    <a:lnTo>
                      <a:pt x="1499723" y="209841"/>
                    </a:lnTo>
                    <a:cubicBezTo>
                      <a:pt x="1556873" y="218413"/>
                      <a:pt x="1603545" y="256513"/>
                      <a:pt x="1623548" y="310806"/>
                    </a:cubicBezTo>
                    <a:cubicBezTo>
                      <a:pt x="1644502" y="365098"/>
                      <a:pt x="1634977" y="424153"/>
                      <a:pt x="1598782" y="468921"/>
                    </a:cubicBezTo>
                    <a:lnTo>
                      <a:pt x="761535" y="1502383"/>
                    </a:lnTo>
                    <a:lnTo>
                      <a:pt x="759630" y="1500478"/>
                    </a:lnTo>
                    <a:lnTo>
                      <a:pt x="761535" y="1502383"/>
                    </a:lnTo>
                    <a:cubicBezTo>
                      <a:pt x="730102" y="1541436"/>
                      <a:pt x="685335" y="1562391"/>
                      <a:pt x="637710" y="1562391"/>
                    </a:cubicBezTo>
                    <a:close/>
                    <a:moveTo>
                      <a:pt x="159555" y="6006"/>
                    </a:moveTo>
                    <a:cubicBezTo>
                      <a:pt x="113835" y="6006"/>
                      <a:pt x="70020" y="26008"/>
                      <a:pt x="40492" y="63156"/>
                    </a:cubicBezTo>
                    <a:cubicBezTo>
                      <a:pt x="5250" y="106971"/>
                      <a:pt x="-3323" y="163168"/>
                      <a:pt x="16680" y="215556"/>
                    </a:cubicBezTo>
                    <a:lnTo>
                      <a:pt x="493882" y="1457616"/>
                    </a:lnTo>
                    <a:cubicBezTo>
                      <a:pt x="513885" y="1510003"/>
                      <a:pt x="558652" y="1546198"/>
                      <a:pt x="613897" y="1554771"/>
                    </a:cubicBezTo>
                    <a:cubicBezTo>
                      <a:pt x="669142" y="1563343"/>
                      <a:pt x="722482" y="1542388"/>
                      <a:pt x="757725" y="1499526"/>
                    </a:cubicBezTo>
                    <a:lnTo>
                      <a:pt x="1594020" y="465111"/>
                    </a:lnTo>
                    <a:cubicBezTo>
                      <a:pt x="1629262" y="421296"/>
                      <a:pt x="1637835" y="365098"/>
                      <a:pt x="1617832" y="312711"/>
                    </a:cubicBezTo>
                    <a:cubicBezTo>
                      <a:pt x="1597830" y="260323"/>
                      <a:pt x="1553062" y="224128"/>
                      <a:pt x="1497817" y="215556"/>
                    </a:cubicBezTo>
                    <a:lnTo>
                      <a:pt x="184320" y="7911"/>
                    </a:lnTo>
                    <a:cubicBezTo>
                      <a:pt x="175747" y="6958"/>
                      <a:pt x="167175" y="6006"/>
                      <a:pt x="159555" y="6006"/>
                    </a:cubicBezTo>
                    <a:close/>
                  </a:path>
                </a:pathLst>
              </a:custGeom>
              <a:grpFill/>
              <a:ln w="9525" cap="flat">
                <a:noFill/>
                <a:prstDash val="solid"/>
                <a:miter/>
              </a:ln>
            </p:spPr>
            <p:txBody>
              <a:bodyPr rtlCol="0" anchor="ctr"/>
              <a:lstStyle/>
              <a:p>
                <a:endParaRPr lang="en-US" sz="1730"/>
              </a:p>
            </p:txBody>
          </p:sp>
          <p:sp>
            <p:nvSpPr>
              <p:cNvPr id="63" name="Freeform: Shape 62">
                <a:extLst>
                  <a:ext uri="{FF2B5EF4-FFF2-40B4-BE49-F238E27FC236}">
                    <a16:creationId xmlns:a16="http://schemas.microsoft.com/office/drawing/2014/main" id="{E99B4F58-0E6C-41DE-99A2-C3FCE7F11DB0}"/>
                  </a:ext>
                </a:extLst>
              </p:cNvPr>
              <p:cNvSpPr/>
              <p:nvPr/>
            </p:nvSpPr>
            <p:spPr>
              <a:xfrm>
                <a:off x="5740942" y="2518472"/>
                <a:ext cx="1494657" cy="1649348"/>
              </a:xfrm>
              <a:custGeom>
                <a:avLst/>
                <a:gdLst>
                  <a:gd name="connsiteX0" fmla="*/ 206785 w 1494657"/>
                  <a:gd name="connsiteY0" fmla="*/ 1649349 h 1649348"/>
                  <a:gd name="connsiteX1" fmla="*/ 131537 w 1494657"/>
                  <a:gd name="connsiteY1" fmla="*/ 1630299 h 1649348"/>
                  <a:gd name="connsiteX2" fmla="*/ 46765 w 1494657"/>
                  <a:gd name="connsiteY2" fmla="*/ 1495044 h 1649348"/>
                  <a:gd name="connsiteX3" fmla="*/ 92 w 1494657"/>
                  <a:gd name="connsiteY3" fmla="*/ 165354 h 1649348"/>
                  <a:gd name="connsiteX4" fmla="*/ 75340 w 1494657"/>
                  <a:gd name="connsiteY4" fmla="*/ 24384 h 1649348"/>
                  <a:gd name="connsiteX5" fmla="*/ 235360 w 1494657"/>
                  <a:gd name="connsiteY5" fmla="*/ 18669 h 1649348"/>
                  <a:gd name="connsiteX6" fmla="*/ 1409792 w 1494657"/>
                  <a:gd name="connsiteY6" fmla="*/ 643509 h 1649348"/>
                  <a:gd name="connsiteX7" fmla="*/ 1494565 w 1494657"/>
                  <a:gd name="connsiteY7" fmla="*/ 778764 h 1649348"/>
                  <a:gd name="connsiteX8" fmla="*/ 1419317 w 1494657"/>
                  <a:gd name="connsiteY8" fmla="*/ 919734 h 1649348"/>
                  <a:gd name="connsiteX9" fmla="*/ 291557 w 1494657"/>
                  <a:gd name="connsiteY9" fmla="*/ 1624584 h 1649348"/>
                  <a:gd name="connsiteX10" fmla="*/ 206785 w 1494657"/>
                  <a:gd name="connsiteY10" fmla="*/ 1649349 h 1649348"/>
                  <a:gd name="connsiteX11" fmla="*/ 160112 w 1494657"/>
                  <a:gd name="connsiteY11" fmla="*/ 4381 h 1649348"/>
                  <a:gd name="connsiteX12" fmla="*/ 78197 w 1494657"/>
                  <a:gd name="connsiteY12" fmla="*/ 28194 h 1649348"/>
                  <a:gd name="connsiteX13" fmla="*/ 5807 w 1494657"/>
                  <a:gd name="connsiteY13" fmla="*/ 164402 h 1649348"/>
                  <a:gd name="connsiteX14" fmla="*/ 52480 w 1494657"/>
                  <a:gd name="connsiteY14" fmla="*/ 1494092 h 1649348"/>
                  <a:gd name="connsiteX15" fmla="*/ 134395 w 1494657"/>
                  <a:gd name="connsiteY15" fmla="*/ 1624584 h 1649348"/>
                  <a:gd name="connsiteX16" fmla="*/ 288700 w 1494657"/>
                  <a:gd name="connsiteY16" fmla="*/ 1618869 h 1649348"/>
                  <a:gd name="connsiteX17" fmla="*/ 290605 w 1494657"/>
                  <a:gd name="connsiteY17" fmla="*/ 1620774 h 1649348"/>
                  <a:gd name="connsiteX18" fmla="*/ 288700 w 1494657"/>
                  <a:gd name="connsiteY18" fmla="*/ 1618869 h 1649348"/>
                  <a:gd name="connsiteX19" fmla="*/ 1416460 w 1494657"/>
                  <a:gd name="connsiteY19" fmla="*/ 914019 h 1649348"/>
                  <a:gd name="connsiteX20" fmla="*/ 1488850 w 1494657"/>
                  <a:gd name="connsiteY20" fmla="*/ 777812 h 1649348"/>
                  <a:gd name="connsiteX21" fmla="*/ 1406935 w 1494657"/>
                  <a:gd name="connsiteY21" fmla="*/ 647319 h 1649348"/>
                  <a:gd name="connsiteX22" fmla="*/ 232502 w 1494657"/>
                  <a:gd name="connsiteY22" fmla="*/ 23431 h 1649348"/>
                  <a:gd name="connsiteX23" fmla="*/ 160112 w 1494657"/>
                  <a:gd name="connsiteY23" fmla="*/ 4381 h 164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94657" h="1649348">
                    <a:moveTo>
                      <a:pt x="206785" y="1649349"/>
                    </a:moveTo>
                    <a:cubicBezTo>
                      <a:pt x="181067" y="1649349"/>
                      <a:pt x="155350" y="1642682"/>
                      <a:pt x="131537" y="1630299"/>
                    </a:cubicBezTo>
                    <a:cubicBezTo>
                      <a:pt x="80102" y="1603629"/>
                      <a:pt x="48670" y="1552194"/>
                      <a:pt x="46765" y="1495044"/>
                    </a:cubicBezTo>
                    <a:lnTo>
                      <a:pt x="92" y="165354"/>
                    </a:lnTo>
                    <a:cubicBezTo>
                      <a:pt x="-1813" y="107252"/>
                      <a:pt x="25810" y="54864"/>
                      <a:pt x="75340" y="24384"/>
                    </a:cubicBezTo>
                    <a:cubicBezTo>
                      <a:pt x="123917" y="-6096"/>
                      <a:pt x="183925" y="-8001"/>
                      <a:pt x="235360" y="18669"/>
                    </a:cubicBezTo>
                    <a:lnTo>
                      <a:pt x="1409792" y="643509"/>
                    </a:lnTo>
                    <a:cubicBezTo>
                      <a:pt x="1461228" y="670179"/>
                      <a:pt x="1492660" y="721614"/>
                      <a:pt x="1494565" y="778764"/>
                    </a:cubicBezTo>
                    <a:cubicBezTo>
                      <a:pt x="1496470" y="836867"/>
                      <a:pt x="1468848" y="889254"/>
                      <a:pt x="1419317" y="919734"/>
                    </a:cubicBezTo>
                    <a:lnTo>
                      <a:pt x="291557" y="1624584"/>
                    </a:lnTo>
                    <a:cubicBezTo>
                      <a:pt x="264887" y="1640777"/>
                      <a:pt x="236312" y="1649349"/>
                      <a:pt x="206785" y="1649349"/>
                    </a:cubicBezTo>
                    <a:close/>
                    <a:moveTo>
                      <a:pt x="160112" y="4381"/>
                    </a:moveTo>
                    <a:cubicBezTo>
                      <a:pt x="131537" y="4381"/>
                      <a:pt x="103915" y="12002"/>
                      <a:pt x="78197" y="28194"/>
                    </a:cubicBezTo>
                    <a:cubicBezTo>
                      <a:pt x="30572" y="57722"/>
                      <a:pt x="3902" y="109157"/>
                      <a:pt x="5807" y="164402"/>
                    </a:cubicBezTo>
                    <a:lnTo>
                      <a:pt x="52480" y="1494092"/>
                    </a:lnTo>
                    <a:cubicBezTo>
                      <a:pt x="54385" y="1550289"/>
                      <a:pt x="84865" y="1598867"/>
                      <a:pt x="134395" y="1624584"/>
                    </a:cubicBezTo>
                    <a:cubicBezTo>
                      <a:pt x="183925" y="1651254"/>
                      <a:pt x="241075" y="1648397"/>
                      <a:pt x="288700" y="1618869"/>
                    </a:cubicBezTo>
                    <a:lnTo>
                      <a:pt x="290605" y="1620774"/>
                    </a:lnTo>
                    <a:lnTo>
                      <a:pt x="288700" y="1618869"/>
                    </a:lnTo>
                    <a:lnTo>
                      <a:pt x="1416460" y="914019"/>
                    </a:lnTo>
                    <a:cubicBezTo>
                      <a:pt x="1464085" y="884492"/>
                      <a:pt x="1490755" y="833057"/>
                      <a:pt x="1488850" y="777812"/>
                    </a:cubicBezTo>
                    <a:cubicBezTo>
                      <a:pt x="1486945" y="721614"/>
                      <a:pt x="1456465" y="673037"/>
                      <a:pt x="1406935" y="647319"/>
                    </a:cubicBezTo>
                    <a:lnTo>
                      <a:pt x="232502" y="23431"/>
                    </a:lnTo>
                    <a:cubicBezTo>
                      <a:pt x="209642" y="11049"/>
                      <a:pt x="184877" y="4381"/>
                      <a:pt x="160112" y="4381"/>
                    </a:cubicBezTo>
                    <a:close/>
                  </a:path>
                </a:pathLst>
              </a:custGeom>
              <a:grpFill/>
              <a:ln w="9525" cap="flat">
                <a:noFill/>
                <a:prstDash val="solid"/>
                <a:miter/>
              </a:ln>
            </p:spPr>
            <p:txBody>
              <a:bodyPr rtlCol="0" anchor="ctr"/>
              <a:lstStyle/>
              <a:p>
                <a:endParaRPr lang="en-US" sz="1730"/>
              </a:p>
            </p:txBody>
          </p:sp>
          <p:sp>
            <p:nvSpPr>
              <p:cNvPr id="64" name="Freeform: Shape 63">
                <a:extLst>
                  <a:ext uri="{FF2B5EF4-FFF2-40B4-BE49-F238E27FC236}">
                    <a16:creationId xmlns:a16="http://schemas.microsoft.com/office/drawing/2014/main" id="{98213603-4044-4EDC-B3E0-CE20E3EE9BC2}"/>
                  </a:ext>
                </a:extLst>
              </p:cNvPr>
              <p:cNvSpPr/>
              <p:nvPr/>
            </p:nvSpPr>
            <p:spPr>
              <a:xfrm>
                <a:off x="5636186" y="2459480"/>
                <a:ext cx="1616538" cy="1592136"/>
              </a:xfrm>
              <a:custGeom>
                <a:avLst/>
                <a:gdLst>
                  <a:gd name="connsiteX0" fmla="*/ 159141 w 1616538"/>
                  <a:gd name="connsiteY0" fmla="*/ 1592136 h 1592136"/>
                  <a:gd name="connsiteX1" fmla="*/ 42936 w 1616538"/>
                  <a:gd name="connsiteY1" fmla="*/ 1541654 h 1592136"/>
                  <a:gd name="connsiteX2" fmla="*/ 6741 w 1616538"/>
                  <a:gd name="connsiteY2" fmla="*/ 1385444 h 1592136"/>
                  <a:gd name="connsiteX3" fmla="*/ 396313 w 1616538"/>
                  <a:gd name="connsiteY3" fmla="*/ 112904 h 1592136"/>
                  <a:gd name="connsiteX4" fmla="*/ 513471 w 1616538"/>
                  <a:gd name="connsiteY4" fmla="*/ 4319 h 1592136"/>
                  <a:gd name="connsiteX5" fmla="*/ 665871 w 1616538"/>
                  <a:gd name="connsiteY5" fmla="*/ 50991 h 1592136"/>
                  <a:gd name="connsiteX6" fmla="*/ 1573603 w 1616538"/>
                  <a:gd name="connsiteY6" fmla="*/ 1024446 h 1592136"/>
                  <a:gd name="connsiteX7" fmla="*/ 1609798 w 1616538"/>
                  <a:gd name="connsiteY7" fmla="*/ 1180656 h 1592136"/>
                  <a:gd name="connsiteX8" fmla="*/ 1492641 w 1616538"/>
                  <a:gd name="connsiteY8" fmla="*/ 1289241 h 1592136"/>
                  <a:gd name="connsiteX9" fmla="*/ 196288 w 1616538"/>
                  <a:gd name="connsiteY9" fmla="*/ 1588326 h 1592136"/>
                  <a:gd name="connsiteX10" fmla="*/ 195336 w 1616538"/>
                  <a:gd name="connsiteY10" fmla="*/ 1585469 h 1592136"/>
                  <a:gd name="connsiteX11" fmla="*/ 196288 w 1616538"/>
                  <a:gd name="connsiteY11" fmla="*/ 1588326 h 1592136"/>
                  <a:gd name="connsiteX12" fmla="*/ 159141 w 1616538"/>
                  <a:gd name="connsiteY12" fmla="*/ 1592136 h 1592136"/>
                  <a:gd name="connsiteX13" fmla="*/ 549666 w 1616538"/>
                  <a:gd name="connsiteY13" fmla="*/ 5271 h 1592136"/>
                  <a:gd name="connsiteX14" fmla="*/ 514423 w 1616538"/>
                  <a:gd name="connsiteY14" fmla="*/ 9081 h 1592136"/>
                  <a:gd name="connsiteX15" fmla="*/ 401076 w 1616538"/>
                  <a:gd name="connsiteY15" fmla="*/ 114809 h 1592136"/>
                  <a:gd name="connsiteX16" fmla="*/ 12456 w 1616538"/>
                  <a:gd name="connsiteY16" fmla="*/ 1387349 h 1592136"/>
                  <a:gd name="connsiteX17" fmla="*/ 46746 w 1616538"/>
                  <a:gd name="connsiteY17" fmla="*/ 1537844 h 1592136"/>
                  <a:gd name="connsiteX18" fmla="*/ 194383 w 1616538"/>
                  <a:gd name="connsiteY18" fmla="*/ 1582611 h 1592136"/>
                  <a:gd name="connsiteX19" fmla="*/ 1490736 w 1616538"/>
                  <a:gd name="connsiteY19" fmla="*/ 1283526 h 1592136"/>
                  <a:gd name="connsiteX20" fmla="*/ 1604083 w 1616538"/>
                  <a:gd name="connsiteY20" fmla="*/ 1177799 h 1592136"/>
                  <a:gd name="connsiteX21" fmla="*/ 1569793 w 1616538"/>
                  <a:gd name="connsiteY21" fmla="*/ 1027304 h 1592136"/>
                  <a:gd name="connsiteX22" fmla="*/ 662061 w 1616538"/>
                  <a:gd name="connsiteY22" fmla="*/ 54801 h 1592136"/>
                  <a:gd name="connsiteX23" fmla="*/ 549666 w 1616538"/>
                  <a:gd name="connsiteY23" fmla="*/ 5271 h 159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16538" h="1592136">
                    <a:moveTo>
                      <a:pt x="159141" y="1592136"/>
                    </a:moveTo>
                    <a:cubicBezTo>
                      <a:pt x="115326" y="1592136"/>
                      <a:pt x="73416" y="1574039"/>
                      <a:pt x="42936" y="1541654"/>
                    </a:cubicBezTo>
                    <a:cubicBezTo>
                      <a:pt x="3883" y="1499744"/>
                      <a:pt x="-9452" y="1441641"/>
                      <a:pt x="6741" y="1385444"/>
                    </a:cubicBezTo>
                    <a:lnTo>
                      <a:pt x="396313" y="112904"/>
                    </a:lnTo>
                    <a:cubicBezTo>
                      <a:pt x="413458" y="57659"/>
                      <a:pt x="457273" y="16701"/>
                      <a:pt x="513471" y="4319"/>
                    </a:cubicBezTo>
                    <a:cubicBezTo>
                      <a:pt x="569668" y="-9016"/>
                      <a:pt x="626818" y="9081"/>
                      <a:pt x="665871" y="50991"/>
                    </a:cubicBezTo>
                    <a:lnTo>
                      <a:pt x="1573603" y="1024446"/>
                    </a:lnTo>
                    <a:cubicBezTo>
                      <a:pt x="1612656" y="1066356"/>
                      <a:pt x="1625991" y="1124459"/>
                      <a:pt x="1609798" y="1180656"/>
                    </a:cubicBezTo>
                    <a:cubicBezTo>
                      <a:pt x="1592653" y="1235901"/>
                      <a:pt x="1548838" y="1276859"/>
                      <a:pt x="1492641" y="1289241"/>
                    </a:cubicBezTo>
                    <a:lnTo>
                      <a:pt x="196288" y="1588326"/>
                    </a:lnTo>
                    <a:lnTo>
                      <a:pt x="195336" y="1585469"/>
                    </a:lnTo>
                    <a:lnTo>
                      <a:pt x="196288" y="1588326"/>
                    </a:lnTo>
                    <a:cubicBezTo>
                      <a:pt x="183905" y="1591184"/>
                      <a:pt x="171523" y="1592136"/>
                      <a:pt x="159141" y="1592136"/>
                    </a:cubicBezTo>
                    <a:close/>
                    <a:moveTo>
                      <a:pt x="549666" y="5271"/>
                    </a:moveTo>
                    <a:cubicBezTo>
                      <a:pt x="538236" y="5271"/>
                      <a:pt x="525853" y="6224"/>
                      <a:pt x="514423" y="9081"/>
                    </a:cubicBezTo>
                    <a:cubicBezTo>
                      <a:pt x="460131" y="21464"/>
                      <a:pt x="418221" y="60516"/>
                      <a:pt x="401076" y="114809"/>
                    </a:cubicBezTo>
                    <a:lnTo>
                      <a:pt x="12456" y="1387349"/>
                    </a:lnTo>
                    <a:cubicBezTo>
                      <a:pt x="-3737" y="1440689"/>
                      <a:pt x="8646" y="1496886"/>
                      <a:pt x="46746" y="1537844"/>
                    </a:cubicBezTo>
                    <a:cubicBezTo>
                      <a:pt x="84846" y="1578801"/>
                      <a:pt x="140091" y="1595946"/>
                      <a:pt x="194383" y="1582611"/>
                    </a:cubicBezTo>
                    <a:lnTo>
                      <a:pt x="1490736" y="1283526"/>
                    </a:lnTo>
                    <a:cubicBezTo>
                      <a:pt x="1545028" y="1271144"/>
                      <a:pt x="1586938" y="1232091"/>
                      <a:pt x="1604083" y="1177799"/>
                    </a:cubicBezTo>
                    <a:cubicBezTo>
                      <a:pt x="1620276" y="1124459"/>
                      <a:pt x="1606941" y="1068261"/>
                      <a:pt x="1569793" y="1027304"/>
                    </a:cubicBezTo>
                    <a:lnTo>
                      <a:pt x="662061" y="54801"/>
                    </a:lnTo>
                    <a:cubicBezTo>
                      <a:pt x="632533" y="22416"/>
                      <a:pt x="592528" y="5271"/>
                      <a:pt x="549666" y="5271"/>
                    </a:cubicBezTo>
                    <a:close/>
                  </a:path>
                </a:pathLst>
              </a:custGeom>
              <a:grpFill/>
              <a:ln w="9525" cap="flat">
                <a:noFill/>
                <a:prstDash val="solid"/>
                <a:miter/>
              </a:ln>
            </p:spPr>
            <p:txBody>
              <a:bodyPr rtlCol="0" anchor="ctr"/>
              <a:lstStyle/>
              <a:p>
                <a:endParaRPr lang="en-US" sz="1730"/>
              </a:p>
            </p:txBody>
          </p:sp>
          <p:sp>
            <p:nvSpPr>
              <p:cNvPr id="65" name="Freeform: Shape 64">
                <a:extLst>
                  <a:ext uri="{FF2B5EF4-FFF2-40B4-BE49-F238E27FC236}">
                    <a16:creationId xmlns:a16="http://schemas.microsoft.com/office/drawing/2014/main" id="{DB035EF0-F3DA-4581-9198-447F52894F88}"/>
                  </a:ext>
                </a:extLst>
              </p:cNvPr>
              <p:cNvSpPr/>
              <p:nvPr/>
            </p:nvSpPr>
            <p:spPr>
              <a:xfrm>
                <a:off x="5531644" y="2497017"/>
                <a:ext cx="1643695" cy="1534597"/>
              </a:xfrm>
              <a:custGeom>
                <a:avLst/>
                <a:gdLst>
                  <a:gd name="connsiteX0" fmla="*/ 1483835 w 1643695"/>
                  <a:gd name="connsiteY0" fmla="*/ 1534598 h 1534597"/>
                  <a:gd name="connsiteX1" fmla="*/ 1466690 w 1643695"/>
                  <a:gd name="connsiteY1" fmla="*/ 1533645 h 1534597"/>
                  <a:gd name="connsiteX2" fmla="*/ 143668 w 1643695"/>
                  <a:gd name="connsiteY2" fmla="*/ 1395532 h 1534597"/>
                  <a:gd name="connsiteX3" fmla="*/ 14128 w 1643695"/>
                  <a:gd name="connsiteY3" fmla="*/ 1301235 h 1534597"/>
                  <a:gd name="connsiteX4" fmla="*/ 31273 w 1643695"/>
                  <a:gd name="connsiteY4" fmla="*/ 1142167 h 1534597"/>
                  <a:gd name="connsiteX5" fmla="*/ 813275 w 1643695"/>
                  <a:gd name="connsiteY5" fmla="*/ 65842 h 1534597"/>
                  <a:gd name="connsiteX6" fmla="*/ 959008 w 1643695"/>
                  <a:gd name="connsiteY6" fmla="*/ 1072 h 1534597"/>
                  <a:gd name="connsiteX7" fmla="*/ 1088548 w 1643695"/>
                  <a:gd name="connsiteY7" fmla="*/ 95370 h 1534597"/>
                  <a:gd name="connsiteX8" fmla="*/ 1629568 w 1643695"/>
                  <a:gd name="connsiteY8" fmla="*/ 1310760 h 1534597"/>
                  <a:gd name="connsiteX9" fmla="*/ 1612423 w 1643695"/>
                  <a:gd name="connsiteY9" fmla="*/ 1469827 h 1534597"/>
                  <a:gd name="connsiteX10" fmla="*/ 1483835 w 1643695"/>
                  <a:gd name="connsiteY10" fmla="*/ 1534598 h 1534597"/>
                  <a:gd name="connsiteX11" fmla="*/ 940910 w 1643695"/>
                  <a:gd name="connsiteY11" fmla="*/ 5835 h 1534597"/>
                  <a:gd name="connsiteX12" fmla="*/ 816133 w 1643695"/>
                  <a:gd name="connsiteY12" fmla="*/ 69652 h 1534597"/>
                  <a:gd name="connsiteX13" fmla="*/ 34130 w 1643695"/>
                  <a:gd name="connsiteY13" fmla="*/ 1145977 h 1534597"/>
                  <a:gd name="connsiteX14" fmla="*/ 17938 w 1643695"/>
                  <a:gd name="connsiteY14" fmla="*/ 1299330 h 1534597"/>
                  <a:gd name="connsiteX15" fmla="*/ 142715 w 1643695"/>
                  <a:gd name="connsiteY15" fmla="*/ 1389817 h 1534597"/>
                  <a:gd name="connsiteX16" fmla="*/ 1465738 w 1643695"/>
                  <a:gd name="connsiteY16" fmla="*/ 1528882 h 1534597"/>
                  <a:gd name="connsiteX17" fmla="*/ 1606708 w 1643695"/>
                  <a:gd name="connsiteY17" fmla="*/ 1466017 h 1534597"/>
                  <a:gd name="connsiteX18" fmla="*/ 1622900 w 1643695"/>
                  <a:gd name="connsiteY18" fmla="*/ 1312665 h 1534597"/>
                  <a:gd name="connsiteX19" fmla="*/ 1082833 w 1643695"/>
                  <a:gd name="connsiteY19" fmla="*/ 97275 h 1534597"/>
                  <a:gd name="connsiteX20" fmla="*/ 958055 w 1643695"/>
                  <a:gd name="connsiteY20" fmla="*/ 6787 h 1534597"/>
                  <a:gd name="connsiteX21" fmla="*/ 940910 w 1643695"/>
                  <a:gd name="connsiteY21" fmla="*/ 5835 h 153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3695" h="1534597">
                    <a:moveTo>
                      <a:pt x="1483835" y="1534598"/>
                    </a:moveTo>
                    <a:cubicBezTo>
                      <a:pt x="1478120" y="1534598"/>
                      <a:pt x="1472405" y="1534598"/>
                      <a:pt x="1466690" y="1533645"/>
                    </a:cubicBezTo>
                    <a:lnTo>
                      <a:pt x="143668" y="1395532"/>
                    </a:lnTo>
                    <a:cubicBezTo>
                      <a:pt x="86518" y="1389817"/>
                      <a:pt x="37940" y="1354575"/>
                      <a:pt x="14128" y="1301235"/>
                    </a:cubicBezTo>
                    <a:cubicBezTo>
                      <a:pt x="-9685" y="1248848"/>
                      <a:pt x="-3017" y="1188840"/>
                      <a:pt x="31273" y="1142167"/>
                    </a:cubicBezTo>
                    <a:lnTo>
                      <a:pt x="813275" y="65842"/>
                    </a:lnTo>
                    <a:cubicBezTo>
                      <a:pt x="847565" y="19170"/>
                      <a:pt x="901858" y="-5595"/>
                      <a:pt x="959008" y="1072"/>
                    </a:cubicBezTo>
                    <a:cubicBezTo>
                      <a:pt x="1016158" y="6787"/>
                      <a:pt x="1064735" y="42030"/>
                      <a:pt x="1088548" y="95370"/>
                    </a:cubicBezTo>
                    <a:lnTo>
                      <a:pt x="1629568" y="1310760"/>
                    </a:lnTo>
                    <a:cubicBezTo>
                      <a:pt x="1653380" y="1363148"/>
                      <a:pt x="1646713" y="1423155"/>
                      <a:pt x="1612423" y="1469827"/>
                    </a:cubicBezTo>
                    <a:cubicBezTo>
                      <a:pt x="1581943" y="1510785"/>
                      <a:pt x="1534318" y="1534598"/>
                      <a:pt x="1483835" y="1534598"/>
                    </a:cubicBezTo>
                    <a:close/>
                    <a:moveTo>
                      <a:pt x="940910" y="5835"/>
                    </a:moveTo>
                    <a:cubicBezTo>
                      <a:pt x="891380" y="5835"/>
                      <a:pt x="845660" y="28695"/>
                      <a:pt x="816133" y="69652"/>
                    </a:cubicBezTo>
                    <a:lnTo>
                      <a:pt x="34130" y="1145977"/>
                    </a:lnTo>
                    <a:cubicBezTo>
                      <a:pt x="1745" y="1190745"/>
                      <a:pt x="-4922" y="1248848"/>
                      <a:pt x="17938" y="1299330"/>
                    </a:cubicBezTo>
                    <a:cubicBezTo>
                      <a:pt x="40798" y="1350765"/>
                      <a:pt x="87470" y="1384102"/>
                      <a:pt x="142715" y="1389817"/>
                    </a:cubicBezTo>
                    <a:lnTo>
                      <a:pt x="1465738" y="1528882"/>
                    </a:lnTo>
                    <a:cubicBezTo>
                      <a:pt x="1520983" y="1534598"/>
                      <a:pt x="1574323" y="1510785"/>
                      <a:pt x="1606708" y="1466017"/>
                    </a:cubicBezTo>
                    <a:cubicBezTo>
                      <a:pt x="1639093" y="1421250"/>
                      <a:pt x="1645760" y="1363148"/>
                      <a:pt x="1622900" y="1312665"/>
                    </a:cubicBezTo>
                    <a:lnTo>
                      <a:pt x="1082833" y="97275"/>
                    </a:lnTo>
                    <a:cubicBezTo>
                      <a:pt x="1059973" y="45840"/>
                      <a:pt x="1013300" y="12502"/>
                      <a:pt x="958055" y="6787"/>
                    </a:cubicBezTo>
                    <a:cubicBezTo>
                      <a:pt x="952340" y="5835"/>
                      <a:pt x="946625" y="5835"/>
                      <a:pt x="940910" y="5835"/>
                    </a:cubicBezTo>
                    <a:close/>
                  </a:path>
                </a:pathLst>
              </a:custGeom>
              <a:grpFill/>
              <a:ln w="9525" cap="flat">
                <a:noFill/>
                <a:prstDash val="solid"/>
                <a:miter/>
              </a:ln>
            </p:spPr>
            <p:txBody>
              <a:bodyPr rtlCol="0" anchor="ctr"/>
              <a:lstStyle/>
              <a:p>
                <a:endParaRPr lang="en-US" sz="1730"/>
              </a:p>
            </p:txBody>
          </p:sp>
          <p:sp>
            <p:nvSpPr>
              <p:cNvPr id="66" name="Freeform: Shape 65">
                <a:extLst>
                  <a:ext uri="{FF2B5EF4-FFF2-40B4-BE49-F238E27FC236}">
                    <a16:creationId xmlns:a16="http://schemas.microsoft.com/office/drawing/2014/main" id="{41AE2AF0-7DD9-443B-8718-D31F62D3CF64}"/>
                  </a:ext>
                </a:extLst>
              </p:cNvPr>
              <p:cNvSpPr/>
              <p:nvPr/>
            </p:nvSpPr>
            <p:spPr>
              <a:xfrm>
                <a:off x="5484232" y="2627034"/>
                <a:ext cx="1525159" cy="1644610"/>
              </a:xfrm>
              <a:custGeom>
                <a:avLst/>
                <a:gdLst>
                  <a:gd name="connsiteX0" fmla="*/ 1365512 w 1525159"/>
                  <a:gd name="connsiteY0" fmla="*/ 1644610 h 1644610"/>
                  <a:gd name="connsiteX1" fmla="*/ 1297885 w 1525159"/>
                  <a:gd name="connsiteY1" fmla="*/ 1629370 h 1644610"/>
                  <a:gd name="connsiteX2" fmla="*/ 92020 w 1525159"/>
                  <a:gd name="connsiteY2" fmla="*/ 1067395 h 1644610"/>
                  <a:gd name="connsiteX3" fmla="*/ 580 w 1525159"/>
                  <a:gd name="connsiteY3" fmla="*/ 936903 h 1644610"/>
                  <a:gd name="connsiteX4" fmla="*/ 68207 w 1525159"/>
                  <a:gd name="connsiteY4" fmla="*/ 792123 h 1644610"/>
                  <a:gd name="connsiteX5" fmla="*/ 1157867 w 1525159"/>
                  <a:gd name="connsiteY5" fmla="*/ 29170 h 1644610"/>
                  <a:gd name="connsiteX6" fmla="*/ 1316935 w 1525159"/>
                  <a:gd name="connsiteY6" fmla="*/ 14883 h 1644610"/>
                  <a:gd name="connsiteX7" fmla="*/ 1408375 w 1525159"/>
                  <a:gd name="connsiteY7" fmla="*/ 145375 h 1644610"/>
                  <a:gd name="connsiteX8" fmla="*/ 1524580 w 1525159"/>
                  <a:gd name="connsiteY8" fmla="*/ 1470303 h 1644610"/>
                  <a:gd name="connsiteX9" fmla="*/ 1456952 w 1525159"/>
                  <a:gd name="connsiteY9" fmla="*/ 1615083 h 1644610"/>
                  <a:gd name="connsiteX10" fmla="*/ 1365512 w 1525159"/>
                  <a:gd name="connsiteY10" fmla="*/ 1644610 h 1644610"/>
                  <a:gd name="connsiteX11" fmla="*/ 1249307 w 1525159"/>
                  <a:gd name="connsiteY11" fmla="*/ 4405 h 1644610"/>
                  <a:gd name="connsiteX12" fmla="*/ 1160725 w 1525159"/>
                  <a:gd name="connsiteY12" fmla="*/ 32980 h 1644610"/>
                  <a:gd name="connsiteX13" fmla="*/ 71065 w 1525159"/>
                  <a:gd name="connsiteY13" fmla="*/ 795933 h 1644610"/>
                  <a:gd name="connsiteX14" fmla="*/ 6295 w 1525159"/>
                  <a:gd name="connsiteY14" fmla="*/ 935950 h 1644610"/>
                  <a:gd name="connsiteX15" fmla="*/ 94877 w 1525159"/>
                  <a:gd name="connsiteY15" fmla="*/ 1062633 h 1644610"/>
                  <a:gd name="connsiteX16" fmla="*/ 1300742 w 1525159"/>
                  <a:gd name="connsiteY16" fmla="*/ 1624608 h 1644610"/>
                  <a:gd name="connsiteX17" fmla="*/ 1454095 w 1525159"/>
                  <a:gd name="connsiteY17" fmla="*/ 1611273 h 1644610"/>
                  <a:gd name="connsiteX18" fmla="*/ 1518865 w 1525159"/>
                  <a:gd name="connsiteY18" fmla="*/ 1471255 h 1644610"/>
                  <a:gd name="connsiteX19" fmla="*/ 1403612 w 1525159"/>
                  <a:gd name="connsiteY19" fmla="*/ 145375 h 1644610"/>
                  <a:gd name="connsiteX20" fmla="*/ 1315030 w 1525159"/>
                  <a:gd name="connsiteY20" fmla="*/ 18693 h 1644610"/>
                  <a:gd name="connsiteX21" fmla="*/ 1249307 w 1525159"/>
                  <a:gd name="connsiteY21" fmla="*/ 4405 h 164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25159" h="1644610">
                    <a:moveTo>
                      <a:pt x="1365512" y="1644610"/>
                    </a:moveTo>
                    <a:cubicBezTo>
                      <a:pt x="1342652" y="1644610"/>
                      <a:pt x="1319792" y="1639848"/>
                      <a:pt x="1297885" y="1629370"/>
                    </a:cubicBezTo>
                    <a:lnTo>
                      <a:pt x="92020" y="1067395"/>
                    </a:lnTo>
                    <a:cubicBezTo>
                      <a:pt x="39632" y="1042630"/>
                      <a:pt x="5342" y="994053"/>
                      <a:pt x="580" y="936903"/>
                    </a:cubicBezTo>
                    <a:cubicBezTo>
                      <a:pt x="-4183" y="879753"/>
                      <a:pt x="20582" y="825460"/>
                      <a:pt x="68207" y="792123"/>
                    </a:cubicBezTo>
                    <a:lnTo>
                      <a:pt x="1157867" y="29170"/>
                    </a:lnTo>
                    <a:cubicBezTo>
                      <a:pt x="1205492" y="-4167"/>
                      <a:pt x="1264547" y="-8930"/>
                      <a:pt x="1316935" y="14883"/>
                    </a:cubicBezTo>
                    <a:cubicBezTo>
                      <a:pt x="1369322" y="39648"/>
                      <a:pt x="1403612" y="88225"/>
                      <a:pt x="1408375" y="145375"/>
                    </a:cubicBezTo>
                    <a:lnTo>
                      <a:pt x="1524580" y="1470303"/>
                    </a:lnTo>
                    <a:cubicBezTo>
                      <a:pt x="1529342" y="1527453"/>
                      <a:pt x="1504577" y="1581745"/>
                      <a:pt x="1456952" y="1615083"/>
                    </a:cubicBezTo>
                    <a:cubicBezTo>
                      <a:pt x="1429330" y="1634133"/>
                      <a:pt x="1397897" y="1644610"/>
                      <a:pt x="1365512" y="1644610"/>
                    </a:cubicBezTo>
                    <a:close/>
                    <a:moveTo>
                      <a:pt x="1249307" y="4405"/>
                    </a:moveTo>
                    <a:cubicBezTo>
                      <a:pt x="1218827" y="4405"/>
                      <a:pt x="1187395" y="13930"/>
                      <a:pt x="1160725" y="32980"/>
                    </a:cubicBezTo>
                    <a:lnTo>
                      <a:pt x="71065" y="795933"/>
                    </a:lnTo>
                    <a:cubicBezTo>
                      <a:pt x="25345" y="828318"/>
                      <a:pt x="580" y="880705"/>
                      <a:pt x="6295" y="935950"/>
                    </a:cubicBezTo>
                    <a:cubicBezTo>
                      <a:pt x="12010" y="991195"/>
                      <a:pt x="44395" y="1038820"/>
                      <a:pt x="94877" y="1062633"/>
                    </a:cubicBezTo>
                    <a:lnTo>
                      <a:pt x="1300742" y="1624608"/>
                    </a:lnTo>
                    <a:cubicBezTo>
                      <a:pt x="1351225" y="1648420"/>
                      <a:pt x="1408375" y="1642705"/>
                      <a:pt x="1454095" y="1611273"/>
                    </a:cubicBezTo>
                    <a:cubicBezTo>
                      <a:pt x="1499815" y="1578888"/>
                      <a:pt x="1524580" y="1527453"/>
                      <a:pt x="1518865" y="1471255"/>
                    </a:cubicBezTo>
                    <a:lnTo>
                      <a:pt x="1403612" y="145375"/>
                    </a:lnTo>
                    <a:cubicBezTo>
                      <a:pt x="1398850" y="90130"/>
                      <a:pt x="1365512" y="42505"/>
                      <a:pt x="1315030" y="18693"/>
                    </a:cubicBezTo>
                    <a:cubicBezTo>
                      <a:pt x="1294075" y="9168"/>
                      <a:pt x="1271215" y="4405"/>
                      <a:pt x="1249307" y="4405"/>
                    </a:cubicBezTo>
                    <a:close/>
                  </a:path>
                </a:pathLst>
              </a:custGeom>
              <a:grpFill/>
              <a:ln w="9525" cap="flat">
                <a:noFill/>
                <a:prstDash val="solid"/>
                <a:miter/>
              </a:ln>
            </p:spPr>
            <p:txBody>
              <a:bodyPr rtlCol="0" anchor="ctr"/>
              <a:lstStyle/>
              <a:p>
                <a:endParaRPr lang="en-US" sz="1730"/>
              </a:p>
            </p:txBody>
          </p:sp>
          <p:sp>
            <p:nvSpPr>
              <p:cNvPr id="67" name="Freeform: Shape 66">
                <a:extLst>
                  <a:ext uri="{FF2B5EF4-FFF2-40B4-BE49-F238E27FC236}">
                    <a16:creationId xmlns:a16="http://schemas.microsoft.com/office/drawing/2014/main" id="{1CB79995-5784-46B8-8607-92B5827FD726}"/>
                  </a:ext>
                </a:extLst>
              </p:cNvPr>
              <p:cNvSpPr/>
              <p:nvPr/>
            </p:nvSpPr>
            <p:spPr>
              <a:xfrm>
                <a:off x="5498775" y="2833512"/>
                <a:ext cx="1599894" cy="1610534"/>
              </a:xfrm>
              <a:custGeom>
                <a:avLst/>
                <a:gdLst>
                  <a:gd name="connsiteX0" fmla="*/ 1116654 w 1599894"/>
                  <a:gd name="connsiteY0" fmla="*/ 1610535 h 1610534"/>
                  <a:gd name="connsiteX1" fmla="*/ 1006164 w 1599894"/>
                  <a:gd name="connsiteY1" fmla="*/ 1565767 h 1610534"/>
                  <a:gd name="connsiteX2" fmla="*/ 48901 w 1599894"/>
                  <a:gd name="connsiteY2" fmla="*/ 641842 h 1610534"/>
                  <a:gd name="connsiteX3" fmla="*/ 5086 w 1599894"/>
                  <a:gd name="connsiteY3" fmla="*/ 488490 h 1610534"/>
                  <a:gd name="connsiteX4" fmla="*/ 116529 w 1599894"/>
                  <a:gd name="connsiteY4" fmla="*/ 373237 h 1610534"/>
                  <a:gd name="connsiteX5" fmla="*/ 1395736 w 1599894"/>
                  <a:gd name="connsiteY5" fmla="*/ 6525 h 1610534"/>
                  <a:gd name="connsiteX6" fmla="*/ 1550994 w 1599894"/>
                  <a:gd name="connsiteY6" fmla="*/ 45577 h 1610534"/>
                  <a:gd name="connsiteX7" fmla="*/ 1594809 w 1599894"/>
                  <a:gd name="connsiteY7" fmla="*/ 198930 h 1610534"/>
                  <a:gd name="connsiteX8" fmla="*/ 1271911 w 1599894"/>
                  <a:gd name="connsiteY8" fmla="*/ 1488615 h 1610534"/>
                  <a:gd name="connsiteX9" fmla="*/ 1160469 w 1599894"/>
                  <a:gd name="connsiteY9" fmla="*/ 1603867 h 1610534"/>
                  <a:gd name="connsiteX10" fmla="*/ 1116654 w 1599894"/>
                  <a:gd name="connsiteY10" fmla="*/ 1610535 h 1610534"/>
                  <a:gd name="connsiteX11" fmla="*/ 1439551 w 1599894"/>
                  <a:gd name="connsiteY11" fmla="*/ 4620 h 1610534"/>
                  <a:gd name="connsiteX12" fmla="*/ 1396689 w 1599894"/>
                  <a:gd name="connsiteY12" fmla="*/ 10335 h 1610534"/>
                  <a:gd name="connsiteX13" fmla="*/ 117481 w 1599894"/>
                  <a:gd name="connsiteY13" fmla="*/ 378000 h 1610534"/>
                  <a:gd name="connsiteX14" fmla="*/ 9849 w 1599894"/>
                  <a:gd name="connsiteY14" fmla="*/ 489442 h 1610534"/>
                  <a:gd name="connsiteX15" fmla="*/ 52711 w 1599894"/>
                  <a:gd name="connsiteY15" fmla="*/ 638033 h 1610534"/>
                  <a:gd name="connsiteX16" fmla="*/ 1009974 w 1599894"/>
                  <a:gd name="connsiteY16" fmla="*/ 1561958 h 1610534"/>
                  <a:gd name="connsiteX17" fmla="*/ 1159516 w 1599894"/>
                  <a:gd name="connsiteY17" fmla="*/ 1599105 h 1610534"/>
                  <a:gd name="connsiteX18" fmla="*/ 1267149 w 1599894"/>
                  <a:gd name="connsiteY18" fmla="*/ 1487663 h 1610534"/>
                  <a:gd name="connsiteX19" fmla="*/ 1589094 w 1599894"/>
                  <a:gd name="connsiteY19" fmla="*/ 197025 h 1610534"/>
                  <a:gd name="connsiteX20" fmla="*/ 1546231 w 1599894"/>
                  <a:gd name="connsiteY20" fmla="*/ 48435 h 1610534"/>
                  <a:gd name="connsiteX21" fmla="*/ 1439551 w 1599894"/>
                  <a:gd name="connsiteY21" fmla="*/ 4620 h 161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9894" h="1610534">
                    <a:moveTo>
                      <a:pt x="1116654" y="1610535"/>
                    </a:moveTo>
                    <a:cubicBezTo>
                      <a:pt x="1075696" y="1610535"/>
                      <a:pt x="1036644" y="1595295"/>
                      <a:pt x="1006164" y="1565767"/>
                    </a:cubicBezTo>
                    <a:lnTo>
                      <a:pt x="48901" y="641842"/>
                    </a:lnTo>
                    <a:cubicBezTo>
                      <a:pt x="6991" y="601837"/>
                      <a:pt x="-9201" y="544687"/>
                      <a:pt x="5086" y="488490"/>
                    </a:cubicBezTo>
                    <a:cubicBezTo>
                      <a:pt x="19374" y="432292"/>
                      <a:pt x="60331" y="389430"/>
                      <a:pt x="116529" y="373237"/>
                    </a:cubicBezTo>
                    <a:lnTo>
                      <a:pt x="1395736" y="6525"/>
                    </a:lnTo>
                    <a:cubicBezTo>
                      <a:pt x="1450981" y="-9668"/>
                      <a:pt x="1509084" y="4620"/>
                      <a:pt x="1550994" y="45577"/>
                    </a:cubicBezTo>
                    <a:cubicBezTo>
                      <a:pt x="1592904" y="85582"/>
                      <a:pt x="1609096" y="142732"/>
                      <a:pt x="1594809" y="198930"/>
                    </a:cubicBezTo>
                    <a:lnTo>
                      <a:pt x="1271911" y="1488615"/>
                    </a:lnTo>
                    <a:cubicBezTo>
                      <a:pt x="1257624" y="1544813"/>
                      <a:pt x="1216666" y="1587675"/>
                      <a:pt x="1160469" y="1603867"/>
                    </a:cubicBezTo>
                    <a:cubicBezTo>
                      <a:pt x="1146181" y="1607678"/>
                      <a:pt x="1130941" y="1610535"/>
                      <a:pt x="1116654" y="1610535"/>
                    </a:cubicBezTo>
                    <a:close/>
                    <a:moveTo>
                      <a:pt x="1439551" y="4620"/>
                    </a:moveTo>
                    <a:cubicBezTo>
                      <a:pt x="1425264" y="4620"/>
                      <a:pt x="1410976" y="6525"/>
                      <a:pt x="1396689" y="10335"/>
                    </a:cubicBezTo>
                    <a:lnTo>
                      <a:pt x="117481" y="378000"/>
                    </a:lnTo>
                    <a:cubicBezTo>
                      <a:pt x="64141" y="393240"/>
                      <a:pt x="24136" y="435150"/>
                      <a:pt x="9849" y="489442"/>
                    </a:cubicBezTo>
                    <a:cubicBezTo>
                      <a:pt x="-3487" y="543735"/>
                      <a:pt x="12706" y="598980"/>
                      <a:pt x="52711" y="638033"/>
                    </a:cubicBezTo>
                    <a:lnTo>
                      <a:pt x="1009974" y="1561958"/>
                    </a:lnTo>
                    <a:cubicBezTo>
                      <a:pt x="1049979" y="1601010"/>
                      <a:pt x="1106176" y="1614345"/>
                      <a:pt x="1159516" y="1599105"/>
                    </a:cubicBezTo>
                    <a:cubicBezTo>
                      <a:pt x="1212856" y="1583865"/>
                      <a:pt x="1252861" y="1541955"/>
                      <a:pt x="1267149" y="1487663"/>
                    </a:cubicBezTo>
                    <a:lnTo>
                      <a:pt x="1589094" y="197025"/>
                    </a:lnTo>
                    <a:cubicBezTo>
                      <a:pt x="1602429" y="142732"/>
                      <a:pt x="1586236" y="87487"/>
                      <a:pt x="1546231" y="48435"/>
                    </a:cubicBezTo>
                    <a:cubicBezTo>
                      <a:pt x="1516704" y="19860"/>
                      <a:pt x="1478604" y="4620"/>
                      <a:pt x="1439551" y="4620"/>
                    </a:cubicBezTo>
                    <a:close/>
                  </a:path>
                </a:pathLst>
              </a:custGeom>
              <a:grpFill/>
              <a:ln w="9525" cap="flat">
                <a:noFill/>
                <a:prstDash val="solid"/>
                <a:miter/>
              </a:ln>
            </p:spPr>
            <p:txBody>
              <a:bodyPr rtlCol="0" anchor="ctr"/>
              <a:lstStyle/>
              <a:p>
                <a:endParaRPr lang="en-US" sz="1730"/>
              </a:p>
            </p:txBody>
          </p:sp>
          <p:sp>
            <p:nvSpPr>
              <p:cNvPr id="68" name="Freeform: Shape 67">
                <a:extLst>
                  <a:ext uri="{FF2B5EF4-FFF2-40B4-BE49-F238E27FC236}">
                    <a16:creationId xmlns:a16="http://schemas.microsoft.com/office/drawing/2014/main" id="{C2CD6B3F-A5CA-4C9E-A462-6CF2EE2A5719}"/>
                  </a:ext>
                </a:extLst>
              </p:cNvPr>
              <p:cNvSpPr/>
              <p:nvPr/>
            </p:nvSpPr>
            <p:spPr>
              <a:xfrm>
                <a:off x="5574695" y="3024613"/>
                <a:ext cx="1649985" cy="1506110"/>
              </a:xfrm>
              <a:custGeom>
                <a:avLst/>
                <a:gdLst>
                  <a:gd name="connsiteX0" fmla="*/ 764509 w 1649985"/>
                  <a:gd name="connsiteY0" fmla="*/ 1506111 h 1506110"/>
                  <a:gd name="connsiteX1" fmla="*/ 755937 w 1649985"/>
                  <a:gd name="connsiteY1" fmla="*/ 1506111 h 1506110"/>
                  <a:gd name="connsiteX2" fmla="*/ 621634 w 1649985"/>
                  <a:gd name="connsiteY2" fmla="*/ 1419433 h 1506110"/>
                  <a:gd name="connsiteX3" fmla="*/ 17749 w 1649985"/>
                  <a:gd name="connsiteY3" fmla="*/ 232618 h 1506110"/>
                  <a:gd name="connsiteX4" fmla="*/ 26322 w 1649985"/>
                  <a:gd name="connsiteY4" fmla="*/ 72598 h 1506110"/>
                  <a:gd name="connsiteX5" fmla="*/ 169197 w 1649985"/>
                  <a:gd name="connsiteY5" fmla="*/ 208 h 1506110"/>
                  <a:gd name="connsiteX6" fmla="*/ 1497934 w 1649985"/>
                  <a:gd name="connsiteY6" fmla="*/ 69741 h 1506110"/>
                  <a:gd name="connsiteX7" fmla="*/ 1632237 w 1649985"/>
                  <a:gd name="connsiteY7" fmla="*/ 156418 h 1506110"/>
                  <a:gd name="connsiteX8" fmla="*/ 1623664 w 1649985"/>
                  <a:gd name="connsiteY8" fmla="*/ 316438 h 1506110"/>
                  <a:gd name="connsiteX9" fmla="*/ 898812 w 1649985"/>
                  <a:gd name="connsiteY9" fmla="*/ 1431816 h 1506110"/>
                  <a:gd name="connsiteX10" fmla="*/ 764509 w 1649985"/>
                  <a:gd name="connsiteY10" fmla="*/ 1506111 h 1506110"/>
                  <a:gd name="connsiteX11" fmla="*/ 22512 w 1649985"/>
                  <a:gd name="connsiteY11" fmla="*/ 230713 h 1506110"/>
                  <a:gd name="connsiteX12" fmla="*/ 626397 w 1649985"/>
                  <a:gd name="connsiteY12" fmla="*/ 1415623 h 1506110"/>
                  <a:gd name="connsiteX13" fmla="*/ 755937 w 1649985"/>
                  <a:gd name="connsiteY13" fmla="*/ 1499443 h 1506110"/>
                  <a:gd name="connsiteX14" fmla="*/ 893097 w 1649985"/>
                  <a:gd name="connsiteY14" fmla="*/ 1428958 h 1506110"/>
                  <a:gd name="connsiteX15" fmla="*/ 1617949 w 1649985"/>
                  <a:gd name="connsiteY15" fmla="*/ 313581 h 1506110"/>
                  <a:gd name="connsiteX16" fmla="*/ 1625569 w 1649985"/>
                  <a:gd name="connsiteY16" fmla="*/ 159276 h 1506110"/>
                  <a:gd name="connsiteX17" fmla="*/ 1496029 w 1649985"/>
                  <a:gd name="connsiteY17" fmla="*/ 75456 h 1506110"/>
                  <a:gd name="connsiteX18" fmla="*/ 168244 w 1649985"/>
                  <a:gd name="connsiteY18" fmla="*/ 5923 h 1506110"/>
                  <a:gd name="connsiteX19" fmla="*/ 31084 w 1649985"/>
                  <a:gd name="connsiteY19" fmla="*/ 76408 h 1506110"/>
                  <a:gd name="connsiteX20" fmla="*/ 22512 w 1649985"/>
                  <a:gd name="connsiteY20" fmla="*/ 230713 h 15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9985" h="1506110">
                    <a:moveTo>
                      <a:pt x="764509" y="1506111"/>
                    </a:moveTo>
                    <a:cubicBezTo>
                      <a:pt x="761652" y="1506111"/>
                      <a:pt x="758794" y="1506111"/>
                      <a:pt x="755937" y="1506111"/>
                    </a:cubicBezTo>
                    <a:cubicBezTo>
                      <a:pt x="697834" y="1503253"/>
                      <a:pt x="648304" y="1470868"/>
                      <a:pt x="621634" y="1419433"/>
                    </a:cubicBezTo>
                    <a:lnTo>
                      <a:pt x="17749" y="232618"/>
                    </a:lnTo>
                    <a:cubicBezTo>
                      <a:pt x="-8921" y="181183"/>
                      <a:pt x="-5111" y="121176"/>
                      <a:pt x="26322" y="72598"/>
                    </a:cubicBezTo>
                    <a:cubicBezTo>
                      <a:pt x="57754" y="24021"/>
                      <a:pt x="111094" y="-2649"/>
                      <a:pt x="169197" y="208"/>
                    </a:cubicBezTo>
                    <a:lnTo>
                      <a:pt x="1497934" y="69741"/>
                    </a:lnTo>
                    <a:cubicBezTo>
                      <a:pt x="1556037" y="72598"/>
                      <a:pt x="1605567" y="104983"/>
                      <a:pt x="1632237" y="156418"/>
                    </a:cubicBezTo>
                    <a:cubicBezTo>
                      <a:pt x="1658907" y="207853"/>
                      <a:pt x="1655097" y="267861"/>
                      <a:pt x="1623664" y="316438"/>
                    </a:cubicBezTo>
                    <a:lnTo>
                      <a:pt x="898812" y="1431816"/>
                    </a:lnTo>
                    <a:cubicBezTo>
                      <a:pt x="868332" y="1478488"/>
                      <a:pt x="818802" y="1506111"/>
                      <a:pt x="764509" y="1506111"/>
                    </a:cubicBezTo>
                    <a:close/>
                    <a:moveTo>
                      <a:pt x="22512" y="230713"/>
                    </a:moveTo>
                    <a:lnTo>
                      <a:pt x="626397" y="1415623"/>
                    </a:lnTo>
                    <a:cubicBezTo>
                      <a:pt x="652114" y="1465153"/>
                      <a:pt x="699739" y="1496586"/>
                      <a:pt x="755937" y="1499443"/>
                    </a:cubicBezTo>
                    <a:cubicBezTo>
                      <a:pt x="812134" y="1502301"/>
                      <a:pt x="862617" y="1476583"/>
                      <a:pt x="893097" y="1428958"/>
                    </a:cubicBezTo>
                    <a:lnTo>
                      <a:pt x="1617949" y="313581"/>
                    </a:lnTo>
                    <a:cubicBezTo>
                      <a:pt x="1648429" y="266908"/>
                      <a:pt x="1651287" y="208806"/>
                      <a:pt x="1625569" y="159276"/>
                    </a:cubicBezTo>
                    <a:cubicBezTo>
                      <a:pt x="1599852" y="109746"/>
                      <a:pt x="1552227" y="78313"/>
                      <a:pt x="1496029" y="75456"/>
                    </a:cubicBezTo>
                    <a:lnTo>
                      <a:pt x="168244" y="5923"/>
                    </a:lnTo>
                    <a:cubicBezTo>
                      <a:pt x="112999" y="3066"/>
                      <a:pt x="61564" y="28783"/>
                      <a:pt x="31084" y="76408"/>
                    </a:cubicBezTo>
                    <a:cubicBezTo>
                      <a:pt x="604" y="123081"/>
                      <a:pt x="-3206" y="181183"/>
                      <a:pt x="22512" y="230713"/>
                    </a:cubicBezTo>
                    <a:close/>
                  </a:path>
                </a:pathLst>
              </a:custGeom>
              <a:grpFill/>
              <a:ln w="9525" cap="flat">
                <a:noFill/>
                <a:prstDash val="solid"/>
                <a:miter/>
              </a:ln>
            </p:spPr>
            <p:txBody>
              <a:bodyPr rtlCol="0" anchor="ctr"/>
              <a:lstStyle/>
              <a:p>
                <a:endParaRPr lang="en-US" sz="1730"/>
              </a:p>
            </p:txBody>
          </p:sp>
          <p:sp>
            <p:nvSpPr>
              <p:cNvPr id="69" name="Freeform: Shape 68">
                <a:extLst>
                  <a:ext uri="{FF2B5EF4-FFF2-40B4-BE49-F238E27FC236}">
                    <a16:creationId xmlns:a16="http://schemas.microsoft.com/office/drawing/2014/main" id="{078CAE18-6328-4577-A1E2-68D4E723AA5D}"/>
                  </a:ext>
                </a:extLst>
              </p:cNvPr>
              <p:cNvSpPr/>
              <p:nvPr/>
            </p:nvSpPr>
            <p:spPr>
              <a:xfrm>
                <a:off x="5703352" y="2884241"/>
                <a:ext cx="1552692" cy="1637910"/>
              </a:xfrm>
              <a:custGeom>
                <a:avLst/>
                <a:gdLst>
                  <a:gd name="connsiteX0" fmla="*/ 345340 w 1552692"/>
                  <a:gd name="connsiteY0" fmla="*/ 1637910 h 1637910"/>
                  <a:gd name="connsiteX1" fmla="*/ 285332 w 1552692"/>
                  <a:gd name="connsiteY1" fmla="*/ 1626480 h 1637910"/>
                  <a:gd name="connsiteX2" fmla="*/ 187225 w 1552692"/>
                  <a:gd name="connsiteY2" fmla="*/ 1500750 h 1637910"/>
                  <a:gd name="connsiteX3" fmla="*/ 1487 w 1552692"/>
                  <a:gd name="connsiteY3" fmla="*/ 182490 h 1637910"/>
                  <a:gd name="connsiteX4" fmla="*/ 61495 w 1552692"/>
                  <a:gd name="connsiteY4" fmla="*/ 33900 h 1637910"/>
                  <a:gd name="connsiteX5" fmla="*/ 219610 w 1552692"/>
                  <a:gd name="connsiteY5" fmla="*/ 11993 h 1637910"/>
                  <a:gd name="connsiteX6" fmla="*/ 1453097 w 1552692"/>
                  <a:gd name="connsiteY6" fmla="*/ 510150 h 1637910"/>
                  <a:gd name="connsiteX7" fmla="*/ 1551205 w 1552692"/>
                  <a:gd name="connsiteY7" fmla="*/ 635880 h 1637910"/>
                  <a:gd name="connsiteX8" fmla="*/ 1491197 w 1552692"/>
                  <a:gd name="connsiteY8" fmla="*/ 784470 h 1637910"/>
                  <a:gd name="connsiteX9" fmla="*/ 442495 w 1552692"/>
                  <a:gd name="connsiteY9" fmla="*/ 1603620 h 1637910"/>
                  <a:gd name="connsiteX10" fmla="*/ 345340 w 1552692"/>
                  <a:gd name="connsiteY10" fmla="*/ 1637910 h 1637910"/>
                  <a:gd name="connsiteX11" fmla="*/ 7202 w 1552692"/>
                  <a:gd name="connsiteY11" fmla="*/ 182490 h 1637910"/>
                  <a:gd name="connsiteX12" fmla="*/ 191987 w 1552692"/>
                  <a:gd name="connsiteY12" fmla="*/ 1499798 h 1637910"/>
                  <a:gd name="connsiteX13" fmla="*/ 287237 w 1552692"/>
                  <a:gd name="connsiteY13" fmla="*/ 1621718 h 1637910"/>
                  <a:gd name="connsiteX14" fmla="*/ 439637 w 1552692"/>
                  <a:gd name="connsiteY14" fmla="*/ 1599810 h 1637910"/>
                  <a:gd name="connsiteX15" fmla="*/ 1488340 w 1552692"/>
                  <a:gd name="connsiteY15" fmla="*/ 780660 h 1637910"/>
                  <a:gd name="connsiteX16" fmla="*/ 1546442 w 1552692"/>
                  <a:gd name="connsiteY16" fmla="*/ 637785 h 1637910"/>
                  <a:gd name="connsiteX17" fmla="*/ 1451192 w 1552692"/>
                  <a:gd name="connsiteY17" fmla="*/ 515865 h 1637910"/>
                  <a:gd name="connsiteX18" fmla="*/ 217705 w 1552692"/>
                  <a:gd name="connsiteY18" fmla="*/ 17708 h 1637910"/>
                  <a:gd name="connsiteX19" fmla="*/ 65305 w 1552692"/>
                  <a:gd name="connsiteY19" fmla="*/ 39615 h 1637910"/>
                  <a:gd name="connsiteX20" fmla="*/ 7202 w 1552692"/>
                  <a:gd name="connsiteY20" fmla="*/ 182490 h 163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52692" h="1637910">
                    <a:moveTo>
                      <a:pt x="345340" y="1637910"/>
                    </a:moveTo>
                    <a:cubicBezTo>
                      <a:pt x="325337" y="1637910"/>
                      <a:pt x="304382" y="1634100"/>
                      <a:pt x="285332" y="1626480"/>
                    </a:cubicBezTo>
                    <a:cubicBezTo>
                      <a:pt x="231992" y="1604573"/>
                      <a:pt x="194845" y="1557900"/>
                      <a:pt x="187225" y="1500750"/>
                    </a:cubicBezTo>
                    <a:lnTo>
                      <a:pt x="1487" y="182490"/>
                    </a:lnTo>
                    <a:cubicBezTo>
                      <a:pt x="-6133" y="125340"/>
                      <a:pt x="15775" y="70095"/>
                      <a:pt x="61495" y="33900"/>
                    </a:cubicBezTo>
                    <a:cubicBezTo>
                      <a:pt x="107215" y="-1342"/>
                      <a:pt x="166270" y="-9915"/>
                      <a:pt x="219610" y="11993"/>
                    </a:cubicBezTo>
                    <a:lnTo>
                      <a:pt x="1453097" y="510150"/>
                    </a:lnTo>
                    <a:cubicBezTo>
                      <a:pt x="1506437" y="532058"/>
                      <a:pt x="1543585" y="578730"/>
                      <a:pt x="1551205" y="635880"/>
                    </a:cubicBezTo>
                    <a:cubicBezTo>
                      <a:pt x="1558825" y="693030"/>
                      <a:pt x="1536917" y="748275"/>
                      <a:pt x="1491197" y="784470"/>
                    </a:cubicBezTo>
                    <a:lnTo>
                      <a:pt x="442495" y="1603620"/>
                    </a:lnTo>
                    <a:cubicBezTo>
                      <a:pt x="414872" y="1626480"/>
                      <a:pt x="380582" y="1637910"/>
                      <a:pt x="345340" y="1637910"/>
                    </a:cubicBezTo>
                    <a:close/>
                    <a:moveTo>
                      <a:pt x="7202" y="182490"/>
                    </a:moveTo>
                    <a:lnTo>
                      <a:pt x="191987" y="1499798"/>
                    </a:lnTo>
                    <a:cubicBezTo>
                      <a:pt x="199607" y="1555043"/>
                      <a:pt x="234850" y="1600763"/>
                      <a:pt x="287237" y="1621718"/>
                    </a:cubicBezTo>
                    <a:cubicBezTo>
                      <a:pt x="338672" y="1642673"/>
                      <a:pt x="395822" y="1635053"/>
                      <a:pt x="439637" y="1599810"/>
                    </a:cubicBezTo>
                    <a:lnTo>
                      <a:pt x="1488340" y="780660"/>
                    </a:lnTo>
                    <a:cubicBezTo>
                      <a:pt x="1532155" y="746370"/>
                      <a:pt x="1554062" y="693030"/>
                      <a:pt x="1546442" y="637785"/>
                    </a:cubicBezTo>
                    <a:cubicBezTo>
                      <a:pt x="1538822" y="582540"/>
                      <a:pt x="1503580" y="536820"/>
                      <a:pt x="1451192" y="515865"/>
                    </a:cubicBezTo>
                    <a:lnTo>
                      <a:pt x="217705" y="17708"/>
                    </a:lnTo>
                    <a:cubicBezTo>
                      <a:pt x="166270" y="-3247"/>
                      <a:pt x="109120" y="4373"/>
                      <a:pt x="65305" y="39615"/>
                    </a:cubicBezTo>
                    <a:cubicBezTo>
                      <a:pt x="20537" y="72953"/>
                      <a:pt x="-418" y="127245"/>
                      <a:pt x="7202" y="182490"/>
                    </a:cubicBezTo>
                    <a:close/>
                  </a:path>
                </a:pathLst>
              </a:custGeom>
              <a:grpFill/>
              <a:ln w="9525" cap="flat">
                <a:noFill/>
                <a:prstDash val="solid"/>
                <a:miter/>
              </a:ln>
            </p:spPr>
            <p:txBody>
              <a:bodyPr rtlCol="0" anchor="ctr"/>
              <a:lstStyle/>
              <a:p>
                <a:endParaRPr lang="en-US" sz="1730"/>
              </a:p>
            </p:txBody>
          </p:sp>
          <p:sp>
            <p:nvSpPr>
              <p:cNvPr id="70" name="Freeform: Shape 69">
                <a:extLst>
                  <a:ext uri="{FF2B5EF4-FFF2-40B4-BE49-F238E27FC236}">
                    <a16:creationId xmlns:a16="http://schemas.microsoft.com/office/drawing/2014/main" id="{EBA2E409-2F87-44E1-BDE0-C3F0C5F0EE68}"/>
                  </a:ext>
                </a:extLst>
              </p:cNvPr>
              <p:cNvSpPr/>
              <p:nvPr/>
            </p:nvSpPr>
            <p:spPr>
              <a:xfrm>
                <a:off x="5617251" y="2793839"/>
                <a:ext cx="1577256" cy="1626394"/>
              </a:xfrm>
              <a:custGeom>
                <a:avLst/>
                <a:gdLst>
                  <a:gd name="connsiteX0" fmla="*/ 159026 w 1577256"/>
                  <a:gd name="connsiteY0" fmla="*/ 1626395 h 1626394"/>
                  <a:gd name="connsiteX1" fmla="*/ 55203 w 1577256"/>
                  <a:gd name="connsiteY1" fmla="*/ 1587342 h 1626394"/>
                  <a:gd name="connsiteX2" fmla="*/ 2816 w 1577256"/>
                  <a:gd name="connsiteY2" fmla="*/ 1435895 h 1626394"/>
                  <a:gd name="connsiteX3" fmla="*/ 256181 w 1577256"/>
                  <a:gd name="connsiteY3" fmla="*/ 130017 h 1626394"/>
                  <a:gd name="connsiteX4" fmla="*/ 360956 w 1577256"/>
                  <a:gd name="connsiteY4" fmla="*/ 9050 h 1626394"/>
                  <a:gd name="connsiteX5" fmla="*/ 518118 w 1577256"/>
                  <a:gd name="connsiteY5" fmla="*/ 39530 h 1626394"/>
                  <a:gd name="connsiteX6" fmla="*/ 1522053 w 1577256"/>
                  <a:gd name="connsiteY6" fmla="*/ 912019 h 1626394"/>
                  <a:gd name="connsiteX7" fmla="*/ 1574441 w 1577256"/>
                  <a:gd name="connsiteY7" fmla="*/ 1063467 h 1626394"/>
                  <a:gd name="connsiteX8" fmla="*/ 1469666 w 1577256"/>
                  <a:gd name="connsiteY8" fmla="*/ 1184435 h 1626394"/>
                  <a:gd name="connsiteX9" fmla="*/ 211413 w 1577256"/>
                  <a:gd name="connsiteY9" fmla="*/ 1616870 h 1626394"/>
                  <a:gd name="connsiteX10" fmla="*/ 159026 w 1577256"/>
                  <a:gd name="connsiteY10" fmla="*/ 1626395 h 1626394"/>
                  <a:gd name="connsiteX11" fmla="*/ 259038 w 1577256"/>
                  <a:gd name="connsiteY11" fmla="*/ 130017 h 1626394"/>
                  <a:gd name="connsiteX12" fmla="*/ 261896 w 1577256"/>
                  <a:gd name="connsiteY12" fmla="*/ 130970 h 1626394"/>
                  <a:gd name="connsiteX13" fmla="*/ 7578 w 1577256"/>
                  <a:gd name="connsiteY13" fmla="*/ 1436847 h 1626394"/>
                  <a:gd name="connsiteX14" fmla="*/ 58061 w 1577256"/>
                  <a:gd name="connsiteY14" fmla="*/ 1582580 h 1626394"/>
                  <a:gd name="connsiteX15" fmla="*/ 209508 w 1577256"/>
                  <a:gd name="connsiteY15" fmla="*/ 1612107 h 1626394"/>
                  <a:gd name="connsiteX16" fmla="*/ 1467761 w 1577256"/>
                  <a:gd name="connsiteY16" fmla="*/ 1178720 h 1626394"/>
                  <a:gd name="connsiteX17" fmla="*/ 1568726 w 1577256"/>
                  <a:gd name="connsiteY17" fmla="*/ 1062515 h 1626394"/>
                  <a:gd name="connsiteX18" fmla="*/ 1518243 w 1577256"/>
                  <a:gd name="connsiteY18" fmla="*/ 916782 h 1626394"/>
                  <a:gd name="connsiteX19" fmla="*/ 514308 w 1577256"/>
                  <a:gd name="connsiteY19" fmla="*/ 43340 h 1626394"/>
                  <a:gd name="connsiteX20" fmla="*/ 362861 w 1577256"/>
                  <a:gd name="connsiteY20" fmla="*/ 13812 h 1626394"/>
                  <a:gd name="connsiteX21" fmla="*/ 261896 w 1577256"/>
                  <a:gd name="connsiteY21" fmla="*/ 130017 h 1626394"/>
                  <a:gd name="connsiteX22" fmla="*/ 259038 w 1577256"/>
                  <a:gd name="connsiteY22" fmla="*/ 130017 h 162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7256" h="1626394">
                    <a:moveTo>
                      <a:pt x="159026" y="1626395"/>
                    </a:moveTo>
                    <a:cubicBezTo>
                      <a:pt x="120926" y="1626395"/>
                      <a:pt x="84731" y="1613060"/>
                      <a:pt x="55203" y="1587342"/>
                    </a:cubicBezTo>
                    <a:cubicBezTo>
                      <a:pt x="11388" y="1549242"/>
                      <a:pt x="-7662" y="1493045"/>
                      <a:pt x="2816" y="1435895"/>
                    </a:cubicBezTo>
                    <a:lnTo>
                      <a:pt x="256181" y="130017"/>
                    </a:lnTo>
                    <a:cubicBezTo>
                      <a:pt x="267611" y="72867"/>
                      <a:pt x="306663" y="28100"/>
                      <a:pt x="360956" y="9050"/>
                    </a:cubicBezTo>
                    <a:cubicBezTo>
                      <a:pt x="415248" y="-10000"/>
                      <a:pt x="474303" y="1430"/>
                      <a:pt x="518118" y="39530"/>
                    </a:cubicBezTo>
                    <a:lnTo>
                      <a:pt x="1522053" y="912019"/>
                    </a:lnTo>
                    <a:cubicBezTo>
                      <a:pt x="1565868" y="950119"/>
                      <a:pt x="1584918" y="1006317"/>
                      <a:pt x="1574441" y="1063467"/>
                    </a:cubicBezTo>
                    <a:cubicBezTo>
                      <a:pt x="1563011" y="1120617"/>
                      <a:pt x="1523958" y="1165385"/>
                      <a:pt x="1469666" y="1184435"/>
                    </a:cubicBezTo>
                    <a:lnTo>
                      <a:pt x="211413" y="1616870"/>
                    </a:lnTo>
                    <a:cubicBezTo>
                      <a:pt x="194268" y="1623537"/>
                      <a:pt x="176171" y="1626395"/>
                      <a:pt x="159026" y="1626395"/>
                    </a:cubicBezTo>
                    <a:close/>
                    <a:moveTo>
                      <a:pt x="259038" y="130017"/>
                    </a:moveTo>
                    <a:lnTo>
                      <a:pt x="261896" y="130970"/>
                    </a:lnTo>
                    <a:lnTo>
                      <a:pt x="7578" y="1436847"/>
                    </a:lnTo>
                    <a:cubicBezTo>
                      <a:pt x="-2899" y="1492092"/>
                      <a:pt x="16151" y="1546385"/>
                      <a:pt x="58061" y="1582580"/>
                    </a:cubicBezTo>
                    <a:cubicBezTo>
                      <a:pt x="99971" y="1618775"/>
                      <a:pt x="157121" y="1630205"/>
                      <a:pt x="209508" y="1612107"/>
                    </a:cubicBezTo>
                    <a:lnTo>
                      <a:pt x="1467761" y="1178720"/>
                    </a:lnTo>
                    <a:cubicBezTo>
                      <a:pt x="1520148" y="1160622"/>
                      <a:pt x="1558248" y="1116807"/>
                      <a:pt x="1568726" y="1062515"/>
                    </a:cubicBezTo>
                    <a:cubicBezTo>
                      <a:pt x="1579203" y="1007269"/>
                      <a:pt x="1560153" y="952977"/>
                      <a:pt x="1518243" y="916782"/>
                    </a:cubicBezTo>
                    <a:lnTo>
                      <a:pt x="514308" y="43340"/>
                    </a:lnTo>
                    <a:cubicBezTo>
                      <a:pt x="472398" y="7145"/>
                      <a:pt x="415248" y="-4285"/>
                      <a:pt x="362861" y="13812"/>
                    </a:cubicBezTo>
                    <a:cubicBezTo>
                      <a:pt x="310473" y="31910"/>
                      <a:pt x="272373" y="75725"/>
                      <a:pt x="261896" y="130017"/>
                    </a:cubicBezTo>
                    <a:lnTo>
                      <a:pt x="259038" y="130017"/>
                    </a:lnTo>
                    <a:close/>
                  </a:path>
                </a:pathLst>
              </a:custGeom>
              <a:grpFill/>
              <a:ln w="9525" cap="flat">
                <a:noFill/>
                <a:prstDash val="solid"/>
                <a:miter/>
              </a:ln>
            </p:spPr>
            <p:txBody>
              <a:bodyPr rtlCol="0" anchor="ctr"/>
              <a:lstStyle/>
              <a:p>
                <a:endParaRPr lang="en-US" sz="1730"/>
              </a:p>
            </p:txBody>
          </p:sp>
          <p:sp>
            <p:nvSpPr>
              <p:cNvPr id="71" name="Freeform: Shape 70">
                <a:extLst>
                  <a:ext uri="{FF2B5EF4-FFF2-40B4-BE49-F238E27FC236}">
                    <a16:creationId xmlns:a16="http://schemas.microsoft.com/office/drawing/2014/main" id="{4B3569C1-CDDE-4300-A777-F5A88095235D}"/>
                  </a:ext>
                </a:extLst>
              </p:cNvPr>
              <p:cNvSpPr/>
              <p:nvPr/>
            </p:nvSpPr>
            <p:spPr>
              <a:xfrm>
                <a:off x="5392895" y="2761931"/>
                <a:ext cx="1648777" cy="1472564"/>
              </a:xfrm>
              <a:custGeom>
                <a:avLst/>
                <a:gdLst>
                  <a:gd name="connsiteX0" fmla="*/ 1490186 w 1648777"/>
                  <a:gd name="connsiteY0" fmla="*/ 1472565 h 1472564"/>
                  <a:gd name="connsiteX1" fmla="*/ 159544 w 1648777"/>
                  <a:gd name="connsiteY1" fmla="*/ 1472565 h 1472564"/>
                  <a:gd name="connsiteX2" fmla="*/ 21431 w 1648777"/>
                  <a:gd name="connsiteY2" fmla="*/ 1392555 h 1472564"/>
                  <a:gd name="connsiteX3" fmla="*/ 21431 w 1648777"/>
                  <a:gd name="connsiteY3" fmla="*/ 1232535 h 1472564"/>
                  <a:gd name="connsiteX4" fmla="*/ 686276 w 1648777"/>
                  <a:gd name="connsiteY4" fmla="*/ 80010 h 1472564"/>
                  <a:gd name="connsiteX5" fmla="*/ 824389 w 1648777"/>
                  <a:gd name="connsiteY5" fmla="*/ 0 h 1472564"/>
                  <a:gd name="connsiteX6" fmla="*/ 824389 w 1648777"/>
                  <a:gd name="connsiteY6" fmla="*/ 0 h 1472564"/>
                  <a:gd name="connsiteX7" fmla="*/ 962501 w 1648777"/>
                  <a:gd name="connsiteY7" fmla="*/ 80010 h 1472564"/>
                  <a:gd name="connsiteX8" fmla="*/ 1627346 w 1648777"/>
                  <a:gd name="connsiteY8" fmla="*/ 1232535 h 1472564"/>
                  <a:gd name="connsiteX9" fmla="*/ 1627346 w 1648777"/>
                  <a:gd name="connsiteY9" fmla="*/ 1392555 h 1472564"/>
                  <a:gd name="connsiteX10" fmla="*/ 1490186 w 1648777"/>
                  <a:gd name="connsiteY10" fmla="*/ 1472565 h 1472564"/>
                  <a:gd name="connsiteX11" fmla="*/ 691039 w 1648777"/>
                  <a:gd name="connsiteY11" fmla="*/ 83820 h 1472564"/>
                  <a:gd name="connsiteX12" fmla="*/ 26194 w 1648777"/>
                  <a:gd name="connsiteY12" fmla="*/ 1236345 h 1472564"/>
                  <a:gd name="connsiteX13" fmla="*/ 26194 w 1648777"/>
                  <a:gd name="connsiteY13" fmla="*/ 1390650 h 1472564"/>
                  <a:gd name="connsiteX14" fmla="*/ 159544 w 1648777"/>
                  <a:gd name="connsiteY14" fmla="*/ 1467803 h 1472564"/>
                  <a:gd name="connsiteX15" fmla="*/ 1490186 w 1648777"/>
                  <a:gd name="connsiteY15" fmla="*/ 1467803 h 1472564"/>
                  <a:gd name="connsiteX16" fmla="*/ 1623536 w 1648777"/>
                  <a:gd name="connsiteY16" fmla="*/ 1390650 h 1472564"/>
                  <a:gd name="connsiteX17" fmla="*/ 1623536 w 1648777"/>
                  <a:gd name="connsiteY17" fmla="*/ 1236345 h 1472564"/>
                  <a:gd name="connsiteX18" fmla="*/ 958691 w 1648777"/>
                  <a:gd name="connsiteY18" fmla="*/ 83820 h 1472564"/>
                  <a:gd name="connsiteX19" fmla="*/ 825341 w 1648777"/>
                  <a:gd name="connsiteY19" fmla="*/ 6668 h 1472564"/>
                  <a:gd name="connsiteX20" fmla="*/ 691039 w 1648777"/>
                  <a:gd name="connsiteY20" fmla="*/ 83820 h 1472564"/>
                  <a:gd name="connsiteX21" fmla="*/ 691039 w 1648777"/>
                  <a:gd name="connsiteY21" fmla="*/ 83820 h 147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48777" h="1472564">
                    <a:moveTo>
                      <a:pt x="1490186" y="1472565"/>
                    </a:moveTo>
                    <a:lnTo>
                      <a:pt x="159544" y="1472565"/>
                    </a:lnTo>
                    <a:cubicBezTo>
                      <a:pt x="101441" y="1472565"/>
                      <a:pt x="50006" y="1443038"/>
                      <a:pt x="21431" y="1392555"/>
                    </a:cubicBezTo>
                    <a:cubicBezTo>
                      <a:pt x="-7144" y="1342073"/>
                      <a:pt x="-7144" y="1283018"/>
                      <a:pt x="21431" y="1232535"/>
                    </a:cubicBezTo>
                    <a:lnTo>
                      <a:pt x="686276" y="80010"/>
                    </a:lnTo>
                    <a:cubicBezTo>
                      <a:pt x="714851" y="29528"/>
                      <a:pt x="767239" y="0"/>
                      <a:pt x="824389" y="0"/>
                    </a:cubicBezTo>
                    <a:cubicBezTo>
                      <a:pt x="824389" y="0"/>
                      <a:pt x="824389" y="0"/>
                      <a:pt x="824389" y="0"/>
                    </a:cubicBezTo>
                    <a:cubicBezTo>
                      <a:pt x="882491" y="0"/>
                      <a:pt x="933926" y="29528"/>
                      <a:pt x="962501" y="80010"/>
                    </a:cubicBezTo>
                    <a:lnTo>
                      <a:pt x="1627346" y="1232535"/>
                    </a:lnTo>
                    <a:cubicBezTo>
                      <a:pt x="1655921" y="1283018"/>
                      <a:pt x="1655921" y="1342073"/>
                      <a:pt x="1627346" y="1392555"/>
                    </a:cubicBezTo>
                    <a:cubicBezTo>
                      <a:pt x="1599724" y="1443038"/>
                      <a:pt x="1548289" y="1472565"/>
                      <a:pt x="1490186" y="1472565"/>
                    </a:cubicBezTo>
                    <a:close/>
                    <a:moveTo>
                      <a:pt x="691039" y="83820"/>
                    </a:moveTo>
                    <a:lnTo>
                      <a:pt x="26194" y="1236345"/>
                    </a:lnTo>
                    <a:cubicBezTo>
                      <a:pt x="-1429" y="1284923"/>
                      <a:pt x="-1429" y="1342073"/>
                      <a:pt x="26194" y="1390650"/>
                    </a:cubicBezTo>
                    <a:cubicBezTo>
                      <a:pt x="53816" y="1439228"/>
                      <a:pt x="104299" y="1467803"/>
                      <a:pt x="159544" y="1467803"/>
                    </a:cubicBezTo>
                    <a:lnTo>
                      <a:pt x="1490186" y="1467803"/>
                    </a:lnTo>
                    <a:cubicBezTo>
                      <a:pt x="1546384" y="1467803"/>
                      <a:pt x="1595914" y="1439228"/>
                      <a:pt x="1623536" y="1390650"/>
                    </a:cubicBezTo>
                    <a:cubicBezTo>
                      <a:pt x="1651159" y="1342073"/>
                      <a:pt x="1651159" y="1284923"/>
                      <a:pt x="1623536" y="1236345"/>
                    </a:cubicBezTo>
                    <a:lnTo>
                      <a:pt x="958691" y="83820"/>
                    </a:lnTo>
                    <a:cubicBezTo>
                      <a:pt x="931069" y="35243"/>
                      <a:pt x="880586" y="6668"/>
                      <a:pt x="825341" y="6668"/>
                    </a:cubicBezTo>
                    <a:cubicBezTo>
                      <a:pt x="769144" y="6668"/>
                      <a:pt x="719614" y="35243"/>
                      <a:pt x="691039" y="83820"/>
                    </a:cubicBezTo>
                    <a:lnTo>
                      <a:pt x="691039" y="83820"/>
                    </a:lnTo>
                    <a:close/>
                  </a:path>
                </a:pathLst>
              </a:custGeom>
              <a:grpFill/>
              <a:ln w="9525" cap="flat">
                <a:noFill/>
                <a:prstDash val="solid"/>
                <a:miter/>
              </a:ln>
            </p:spPr>
            <p:txBody>
              <a:bodyPr rtlCol="0" anchor="ctr"/>
              <a:lstStyle/>
              <a:p>
                <a:endParaRPr lang="en-US" sz="1730"/>
              </a:p>
            </p:txBody>
          </p:sp>
        </p:grpSp>
        <p:sp>
          <p:nvSpPr>
            <p:cNvPr id="39" name="Oval 38">
              <a:extLst>
                <a:ext uri="{FF2B5EF4-FFF2-40B4-BE49-F238E27FC236}">
                  <a16:creationId xmlns:a16="http://schemas.microsoft.com/office/drawing/2014/main" id="{9AE111FB-FF99-4626-BF15-A4F33CA3E1B5}"/>
                </a:ext>
              </a:extLst>
            </p:cNvPr>
            <p:cNvSpPr/>
            <p:nvPr userDrawn="1"/>
          </p:nvSpPr>
          <p:spPr bwMode="auto">
            <a:xfrm>
              <a:off x="7282905" y="3548967"/>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0" name="Oval 39">
              <a:extLst>
                <a:ext uri="{FF2B5EF4-FFF2-40B4-BE49-F238E27FC236}">
                  <a16:creationId xmlns:a16="http://schemas.microsoft.com/office/drawing/2014/main" id="{EEBF4D1F-7718-4CBE-B978-16FFCC2E3239}"/>
                </a:ext>
              </a:extLst>
            </p:cNvPr>
            <p:cNvSpPr/>
            <p:nvPr userDrawn="1"/>
          </p:nvSpPr>
          <p:spPr bwMode="auto">
            <a:xfrm>
              <a:off x="10896617" y="2909240"/>
              <a:ext cx="124272" cy="12429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1" name="Oval 40">
              <a:extLst>
                <a:ext uri="{FF2B5EF4-FFF2-40B4-BE49-F238E27FC236}">
                  <a16:creationId xmlns:a16="http://schemas.microsoft.com/office/drawing/2014/main" id="{59426D11-A3B4-4FDE-8641-D925588DAB39}"/>
                </a:ext>
              </a:extLst>
            </p:cNvPr>
            <p:cNvSpPr/>
            <p:nvPr userDrawn="1"/>
          </p:nvSpPr>
          <p:spPr bwMode="auto">
            <a:xfrm>
              <a:off x="9437993" y="5187887"/>
              <a:ext cx="124272" cy="12429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57EDB010-9BE7-4344-984B-7453B4FF8307}"/>
                </a:ext>
              </a:extLst>
            </p:cNvPr>
            <p:cNvSpPr/>
            <p:nvPr userDrawn="1"/>
          </p:nvSpPr>
          <p:spPr bwMode="auto">
            <a:xfrm>
              <a:off x="9087616" y="1541433"/>
              <a:ext cx="124272" cy="12429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786CA2CE-9797-4C92-9057-B3C8D9338727}"/>
                </a:ext>
              </a:extLst>
            </p:cNvPr>
            <p:cNvSpPr/>
            <p:nvPr userDrawn="1"/>
          </p:nvSpPr>
          <p:spPr bwMode="auto">
            <a:xfrm>
              <a:off x="9052314" y="3314275"/>
              <a:ext cx="229418" cy="22945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4" name="Oval 43">
              <a:extLst>
                <a:ext uri="{FF2B5EF4-FFF2-40B4-BE49-F238E27FC236}">
                  <a16:creationId xmlns:a16="http://schemas.microsoft.com/office/drawing/2014/main" id="{F9A1662E-1481-432B-8DC4-FF834AA60F57}"/>
                </a:ext>
              </a:extLst>
            </p:cNvPr>
            <p:cNvSpPr/>
            <p:nvPr userDrawn="1"/>
          </p:nvSpPr>
          <p:spPr bwMode="auto">
            <a:xfrm>
              <a:off x="9104887" y="2889394"/>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715F718A-84C5-42DA-9B9C-64E200753714}"/>
                </a:ext>
              </a:extLst>
            </p:cNvPr>
            <p:cNvSpPr/>
            <p:nvPr userDrawn="1"/>
          </p:nvSpPr>
          <p:spPr bwMode="auto">
            <a:xfrm>
              <a:off x="9104887" y="3844315"/>
              <a:ext cx="124272" cy="1242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6" name="Oval 45">
              <a:extLst>
                <a:ext uri="{FF2B5EF4-FFF2-40B4-BE49-F238E27FC236}">
                  <a16:creationId xmlns:a16="http://schemas.microsoft.com/office/drawing/2014/main" id="{48AC1770-CB0D-4E0F-BBE4-41A23A7256AC}"/>
                </a:ext>
              </a:extLst>
            </p:cNvPr>
            <p:cNvSpPr/>
            <p:nvPr userDrawn="1"/>
          </p:nvSpPr>
          <p:spPr bwMode="auto">
            <a:xfrm rot="16200000">
              <a:off x="8628699" y="3366864"/>
              <a:ext cx="124290" cy="12427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7" name="Oval 46">
              <a:extLst>
                <a:ext uri="{FF2B5EF4-FFF2-40B4-BE49-F238E27FC236}">
                  <a16:creationId xmlns:a16="http://schemas.microsoft.com/office/drawing/2014/main" id="{4DE4736B-6655-4B31-833F-1C130B67E3D0}"/>
                </a:ext>
              </a:extLst>
            </p:cNvPr>
            <p:cNvSpPr/>
            <p:nvPr userDrawn="1"/>
          </p:nvSpPr>
          <p:spPr bwMode="auto">
            <a:xfrm rot="16200000">
              <a:off x="9583486" y="3366864"/>
              <a:ext cx="124290" cy="12427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3" name="Footer Placeholder 1">
            <a:extLst>
              <a:ext uri="{FF2B5EF4-FFF2-40B4-BE49-F238E27FC236}">
                <a16:creationId xmlns:a16="http://schemas.microsoft.com/office/drawing/2014/main" id="{5B097BE3-EF10-4B46-96C1-8E86C90AEF09}"/>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156638940"/>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matchingName="105. Template instructions (Icon Instructions)">
  <p:cSld name="105. Template instructions (Icon Instructions)">
    <p:spTree>
      <p:nvGrpSpPr>
        <p:cNvPr id="1" name="Shape 2542"/>
        <p:cNvGrpSpPr/>
        <p:nvPr/>
      </p:nvGrpSpPr>
      <p:grpSpPr>
        <a:xfrm>
          <a:off x="0" y="0"/>
          <a:ext cx="0" cy="0"/>
          <a:chOff x="0" y="0"/>
          <a:chExt cx="0" cy="0"/>
        </a:xfrm>
      </p:grpSpPr>
      <p:pic>
        <p:nvPicPr>
          <p:cNvPr id="2543" name="Google Shape;2543;p131"/>
          <p:cNvPicPr preferRelativeResize="0"/>
          <p:nvPr/>
        </p:nvPicPr>
        <p:blipFill rotWithShape="1">
          <a:blip r:embed="rId2">
            <a:alphaModFix/>
          </a:blip>
          <a:srcRect l="1889" r="29888"/>
          <a:stretch/>
        </p:blipFill>
        <p:spPr>
          <a:xfrm>
            <a:off x="1102359" y="1693205"/>
            <a:ext cx="2972000" cy="2495200"/>
          </a:xfrm>
          <a:prstGeom prst="roundRect">
            <a:avLst>
              <a:gd name="adj" fmla="val 3546"/>
            </a:avLst>
          </a:prstGeom>
          <a:noFill/>
          <a:ln w="19050" cap="flat" cmpd="sng">
            <a:solidFill>
              <a:schemeClr val="accent1"/>
            </a:solidFill>
            <a:prstDash val="solid"/>
            <a:round/>
            <a:headEnd type="none" w="sm" len="sm"/>
            <a:tailEnd type="none" w="sm" len="sm"/>
          </a:ln>
        </p:spPr>
      </p:pic>
      <p:sp>
        <p:nvSpPr>
          <p:cNvPr id="2544" name="Google Shape;2544;p131"/>
          <p:cNvSpPr txBox="1"/>
          <p:nvPr/>
        </p:nvSpPr>
        <p:spPr>
          <a:xfrm>
            <a:off x="1114829" y="414307"/>
            <a:ext cx="6570800" cy="789960"/>
          </a:xfrm>
          <a:prstGeom prst="rect">
            <a:avLst/>
          </a:prstGeom>
          <a:noFill/>
          <a:ln>
            <a:noFill/>
          </a:ln>
        </p:spPr>
        <p:txBody>
          <a:bodyPr spcFirstLastPara="1" wrap="square" lIns="25400" tIns="25400" rIns="25400" bIns="25400"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 sz="4800" b="1">
                <a:solidFill>
                  <a:srgbClr val="F0F6FC"/>
                </a:solidFill>
              </a:rPr>
              <a:t>Icon</a:t>
            </a:r>
            <a:r>
              <a:rPr lang="en" sz="4800" b="1" i="0" u="none" strike="noStrike" cap="none">
                <a:solidFill>
                  <a:srgbClr val="F0F6FC"/>
                </a:solidFill>
              </a:rPr>
              <a:t> instructions</a:t>
            </a:r>
            <a:endParaRPr sz="4800" b="1"/>
          </a:p>
        </p:txBody>
      </p:sp>
      <p:sp>
        <p:nvSpPr>
          <p:cNvPr id="2545" name="Google Shape;2545;p131"/>
          <p:cNvSpPr txBox="1"/>
          <p:nvPr/>
        </p:nvSpPr>
        <p:spPr>
          <a:xfrm>
            <a:off x="6369427" y="4478794"/>
            <a:ext cx="2665200" cy="374412"/>
          </a:xfrm>
          <a:prstGeom prst="rect">
            <a:avLst/>
          </a:prstGeom>
          <a:noFill/>
          <a:ln>
            <a:noFill/>
          </a:ln>
        </p:spPr>
        <p:txBody>
          <a:bodyPr spcFirstLastPara="1" wrap="square" lIns="45700" tIns="22867" rIns="45700" bIns="22867" anchor="t" anchorCtr="0">
            <a:spAutoFit/>
          </a:bodyPr>
          <a:lstStyle/>
          <a:p>
            <a:pPr marL="0" marR="0" lvl="0" indent="0" algn="l" rtl="0">
              <a:lnSpc>
                <a:spcPct val="100000"/>
              </a:lnSpc>
              <a:spcBef>
                <a:spcPts val="0"/>
              </a:spcBef>
              <a:spcAft>
                <a:spcPts val="0"/>
              </a:spcAft>
              <a:buClr>
                <a:schemeClr val="lt1"/>
              </a:buClr>
              <a:buSzPts val="1400"/>
              <a:buFont typeface="Arial"/>
              <a:buNone/>
            </a:pPr>
            <a:r>
              <a:rPr lang="en" sz="2133">
                <a:solidFill>
                  <a:schemeClr val="lt1"/>
                </a:solidFill>
              </a:rPr>
              <a:t>Large circle (1.5”)</a:t>
            </a:r>
            <a:endParaRPr sz="2133"/>
          </a:p>
        </p:txBody>
      </p:sp>
      <p:sp>
        <p:nvSpPr>
          <p:cNvPr id="2546" name="Google Shape;2546;p131"/>
          <p:cNvSpPr txBox="1"/>
          <p:nvPr/>
        </p:nvSpPr>
        <p:spPr>
          <a:xfrm>
            <a:off x="6369433" y="4884001"/>
            <a:ext cx="5087200" cy="1897955"/>
          </a:xfrm>
          <a:prstGeom prst="rect">
            <a:avLst/>
          </a:prstGeom>
          <a:noFill/>
          <a:ln>
            <a:noFill/>
          </a:ln>
        </p:spPr>
        <p:txBody>
          <a:bodyPr spcFirstLastPara="1" wrap="square" lIns="25400" tIns="25400" rIns="25400" bIns="25400"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 sz="2400">
                <a:solidFill>
                  <a:srgbClr val="8B949E"/>
                </a:solidFill>
              </a:rPr>
              <a:t>When you see the large circle, find a </a:t>
            </a:r>
            <a:br>
              <a:rPr lang="en" sz="2400">
                <a:solidFill>
                  <a:srgbClr val="8B949E"/>
                </a:solidFill>
              </a:rPr>
            </a:br>
            <a:r>
              <a:rPr lang="en" sz="2400">
                <a:solidFill>
                  <a:schemeClr val="lt1"/>
                </a:solidFill>
              </a:rPr>
              <a:t>GitHub icon </a:t>
            </a:r>
            <a:r>
              <a:rPr lang="en" sz="2400">
                <a:solidFill>
                  <a:schemeClr val="dk2"/>
                </a:solidFill>
              </a:rPr>
              <a:t>from the GitHub icon pages</a:t>
            </a:r>
            <a:r>
              <a:rPr lang="en" sz="2400">
                <a:solidFill>
                  <a:srgbClr val="8B949E"/>
                </a:solidFill>
              </a:rPr>
              <a:t> and copy/paste into the center of the circle. </a:t>
            </a:r>
            <a:br>
              <a:rPr lang="en" sz="2400">
                <a:solidFill>
                  <a:srgbClr val="8B949E"/>
                </a:solidFill>
              </a:rPr>
            </a:br>
            <a:r>
              <a:rPr lang="en" sz="2400">
                <a:solidFill>
                  <a:srgbClr val="8B949E"/>
                </a:solidFill>
              </a:rPr>
              <a:t>No need to resize.</a:t>
            </a:r>
            <a:endParaRPr sz="2400">
              <a:solidFill>
                <a:srgbClr val="8B949E"/>
              </a:solidFill>
            </a:endParaRPr>
          </a:p>
        </p:txBody>
      </p:sp>
      <p:sp>
        <p:nvSpPr>
          <p:cNvPr id="2547" name="Google Shape;2547;p131"/>
          <p:cNvSpPr txBox="1"/>
          <p:nvPr/>
        </p:nvSpPr>
        <p:spPr>
          <a:xfrm>
            <a:off x="1108368" y="4478794"/>
            <a:ext cx="2960000" cy="374412"/>
          </a:xfrm>
          <a:prstGeom prst="rect">
            <a:avLst/>
          </a:prstGeom>
          <a:noFill/>
          <a:ln>
            <a:noFill/>
          </a:ln>
        </p:spPr>
        <p:txBody>
          <a:bodyPr spcFirstLastPara="1" wrap="square" lIns="45700" tIns="22867" rIns="45700" bIns="22867" anchor="t" anchorCtr="0">
            <a:spAutoFit/>
          </a:bodyPr>
          <a:lstStyle/>
          <a:p>
            <a:pPr marL="0" marR="0" lvl="0" indent="0" algn="l" rtl="0">
              <a:lnSpc>
                <a:spcPct val="100000"/>
              </a:lnSpc>
              <a:spcBef>
                <a:spcPts val="0"/>
              </a:spcBef>
              <a:spcAft>
                <a:spcPts val="0"/>
              </a:spcAft>
              <a:buClr>
                <a:schemeClr val="lt1"/>
              </a:buClr>
              <a:buSzPts val="1400"/>
              <a:buFont typeface="Arial"/>
              <a:buNone/>
            </a:pPr>
            <a:r>
              <a:rPr lang="en" sz="2133">
                <a:solidFill>
                  <a:schemeClr val="lt1"/>
                </a:solidFill>
              </a:rPr>
              <a:t>Small circle (0.6”)</a:t>
            </a:r>
            <a:endParaRPr sz="2133">
              <a:solidFill>
                <a:schemeClr val="lt1"/>
              </a:solidFill>
            </a:endParaRPr>
          </a:p>
        </p:txBody>
      </p:sp>
      <p:sp>
        <p:nvSpPr>
          <p:cNvPr id="2548" name="Google Shape;2548;p131"/>
          <p:cNvSpPr txBox="1"/>
          <p:nvPr/>
        </p:nvSpPr>
        <p:spPr>
          <a:xfrm>
            <a:off x="1102367" y="4884001"/>
            <a:ext cx="4349200" cy="1897955"/>
          </a:xfrm>
          <a:prstGeom prst="rect">
            <a:avLst/>
          </a:prstGeom>
          <a:noFill/>
          <a:ln>
            <a:noFill/>
          </a:ln>
        </p:spPr>
        <p:txBody>
          <a:bodyPr spcFirstLastPara="1" wrap="square" lIns="25400" tIns="25400" rIns="25400" bIns="25400"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 sz="2400">
                <a:solidFill>
                  <a:srgbClr val="8B949E"/>
                </a:solidFill>
              </a:rPr>
              <a:t>When you see the small circle, find an </a:t>
            </a:r>
            <a:r>
              <a:rPr lang="en" sz="2400">
                <a:solidFill>
                  <a:schemeClr val="lt1"/>
                </a:solidFill>
              </a:rPr>
              <a:t>Octicon</a:t>
            </a:r>
            <a:r>
              <a:rPr lang="en" sz="2400">
                <a:solidFill>
                  <a:srgbClr val="8B949E"/>
                </a:solidFill>
              </a:rPr>
              <a:t> from the Octicon pages and copy/paste into the center of the circle. No need to resize. </a:t>
            </a:r>
            <a:endParaRPr sz="2400">
              <a:solidFill>
                <a:srgbClr val="8B949E"/>
              </a:solidFill>
            </a:endParaRPr>
          </a:p>
        </p:txBody>
      </p:sp>
      <p:sp>
        <p:nvSpPr>
          <p:cNvPr id="2549" name="Google Shape;2549;p131"/>
          <p:cNvSpPr/>
          <p:nvPr/>
        </p:nvSpPr>
        <p:spPr>
          <a:xfrm>
            <a:off x="9687329" y="2014179"/>
            <a:ext cx="1828800" cy="18288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550" name="Google Shape;2550;p131"/>
          <p:cNvSpPr/>
          <p:nvPr/>
        </p:nvSpPr>
        <p:spPr>
          <a:xfrm>
            <a:off x="4417748" y="2574985"/>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pic>
        <p:nvPicPr>
          <p:cNvPr id="2551" name="Google Shape;2551;p131"/>
          <p:cNvPicPr preferRelativeResize="0"/>
          <p:nvPr/>
        </p:nvPicPr>
        <p:blipFill rotWithShape="1">
          <a:blip r:embed="rId3">
            <a:alphaModFix/>
          </a:blip>
          <a:srcRect l="1454" r="26197"/>
          <a:stretch/>
        </p:blipFill>
        <p:spPr>
          <a:xfrm>
            <a:off x="6369425" y="1680972"/>
            <a:ext cx="2972000" cy="2495200"/>
          </a:xfrm>
          <a:prstGeom prst="roundRect">
            <a:avLst>
              <a:gd name="adj" fmla="val 3546"/>
            </a:avLst>
          </a:prstGeom>
          <a:noFill/>
          <a:ln w="19050" cap="flat" cmpd="sng">
            <a:solidFill>
              <a:schemeClr val="accent2"/>
            </a:solidFill>
            <a:prstDash val="solid"/>
            <a:round/>
            <a:headEnd type="none" w="sm" len="sm"/>
            <a:tailEnd type="none" w="sm" len="sm"/>
          </a:ln>
        </p:spPr>
      </p:pic>
      <p:pic>
        <p:nvPicPr>
          <p:cNvPr id="2552" name="Google Shape;2552;p131"/>
          <p:cNvPicPr preferRelativeResize="0"/>
          <p:nvPr/>
        </p:nvPicPr>
        <p:blipFill rotWithShape="1">
          <a:blip r:embed="rId4">
            <a:alphaModFix/>
          </a:blip>
          <a:srcRect/>
          <a:stretch/>
        </p:blipFill>
        <p:spPr>
          <a:xfrm>
            <a:off x="4615553" y="2772790"/>
            <a:ext cx="335964" cy="336013"/>
          </a:xfrm>
          <a:prstGeom prst="rect">
            <a:avLst/>
          </a:prstGeom>
          <a:noFill/>
          <a:ln>
            <a:noFill/>
          </a:ln>
        </p:spPr>
      </p:pic>
      <p:pic>
        <p:nvPicPr>
          <p:cNvPr id="2553" name="Google Shape;2553;p131"/>
          <p:cNvPicPr preferRelativeResize="0"/>
          <p:nvPr/>
        </p:nvPicPr>
        <p:blipFill rotWithShape="1">
          <a:blip r:embed="rId5">
            <a:alphaModFix/>
          </a:blip>
          <a:srcRect/>
          <a:stretch/>
        </p:blipFill>
        <p:spPr>
          <a:xfrm>
            <a:off x="10090313" y="2426436"/>
            <a:ext cx="1022855" cy="1028701"/>
          </a:xfrm>
          <a:prstGeom prst="rect">
            <a:avLst/>
          </a:prstGeom>
          <a:noFill/>
          <a:ln>
            <a:noFill/>
          </a:ln>
        </p:spPr>
      </p:pic>
      <p:sp>
        <p:nvSpPr>
          <p:cNvPr id="2554" name="Google Shape;2554;p131"/>
          <p:cNvSpPr/>
          <p:nvPr/>
        </p:nvSpPr>
        <p:spPr>
          <a:xfrm>
            <a:off x="1102367" y="2082800"/>
            <a:ext cx="475600" cy="657200"/>
          </a:xfrm>
          <a:prstGeom prst="roundRect">
            <a:avLst>
              <a:gd name="adj" fmla="val 7079"/>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2555" name="Google Shape;2555;p131"/>
          <p:cNvSpPr/>
          <p:nvPr/>
        </p:nvSpPr>
        <p:spPr>
          <a:xfrm>
            <a:off x="6369433" y="2695567"/>
            <a:ext cx="450400" cy="1419600"/>
          </a:xfrm>
          <a:prstGeom prst="roundRect">
            <a:avLst>
              <a:gd name="adj" fmla="val 7079"/>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2556" name="Google Shape;2556;p131"/>
          <p:cNvSpPr/>
          <p:nvPr/>
        </p:nvSpPr>
        <p:spPr>
          <a:xfrm>
            <a:off x="7157900" y="2159000"/>
            <a:ext cx="2183600" cy="1684000"/>
          </a:xfrm>
          <a:prstGeom prst="roundRect">
            <a:avLst>
              <a:gd name="adj" fmla="val 1782"/>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2557" name="Google Shape;2557;p131"/>
          <p:cNvSpPr/>
          <p:nvPr/>
        </p:nvSpPr>
        <p:spPr>
          <a:xfrm>
            <a:off x="1906067" y="2159000"/>
            <a:ext cx="2183600" cy="1828800"/>
          </a:xfrm>
          <a:prstGeom prst="roundRect">
            <a:avLst>
              <a:gd name="adj" fmla="val 1782"/>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80198844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matchingName="106. Template instructions (Icon Instructions) 1">
  <p:cSld name="106. Template instructions (Icon Instructions) 1">
    <p:spTree>
      <p:nvGrpSpPr>
        <p:cNvPr id="1" name="Shape 2558"/>
        <p:cNvGrpSpPr/>
        <p:nvPr/>
      </p:nvGrpSpPr>
      <p:grpSpPr>
        <a:xfrm>
          <a:off x="0" y="0"/>
          <a:ext cx="0" cy="0"/>
          <a:chOff x="0" y="0"/>
          <a:chExt cx="0" cy="0"/>
        </a:xfrm>
      </p:grpSpPr>
      <p:sp>
        <p:nvSpPr>
          <p:cNvPr id="2559" name="Google Shape;2559;p132"/>
          <p:cNvSpPr txBox="1"/>
          <p:nvPr/>
        </p:nvSpPr>
        <p:spPr>
          <a:xfrm>
            <a:off x="1114829" y="414307"/>
            <a:ext cx="6570800" cy="789960"/>
          </a:xfrm>
          <a:prstGeom prst="rect">
            <a:avLst/>
          </a:prstGeom>
          <a:noFill/>
          <a:ln>
            <a:noFill/>
          </a:ln>
        </p:spPr>
        <p:txBody>
          <a:bodyPr spcFirstLastPara="1" wrap="square" lIns="25400" tIns="25400" rIns="25400" bIns="25400"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 sz="4800" b="1">
                <a:solidFill>
                  <a:srgbClr val="F0F6FC"/>
                </a:solidFill>
              </a:rPr>
              <a:t>Shape</a:t>
            </a:r>
            <a:r>
              <a:rPr lang="en" sz="4800" b="1" i="0" u="none" strike="noStrike" cap="none">
                <a:solidFill>
                  <a:srgbClr val="F0F6FC"/>
                </a:solidFill>
              </a:rPr>
              <a:t> instructions</a:t>
            </a:r>
            <a:endParaRPr sz="4800" b="1"/>
          </a:p>
        </p:txBody>
      </p:sp>
      <p:sp>
        <p:nvSpPr>
          <p:cNvPr id="2560" name="Google Shape;2560;p132"/>
          <p:cNvSpPr txBox="1"/>
          <p:nvPr/>
        </p:nvSpPr>
        <p:spPr>
          <a:xfrm>
            <a:off x="1075433" y="4744301"/>
            <a:ext cx="3140800" cy="2267287"/>
          </a:xfrm>
          <a:prstGeom prst="rect">
            <a:avLst/>
          </a:prstGeom>
          <a:noFill/>
          <a:ln>
            <a:noFill/>
          </a:ln>
        </p:spPr>
        <p:txBody>
          <a:bodyPr spcFirstLastPara="1" wrap="square" lIns="25400" tIns="25400" rIns="25400" bIns="25400"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 sz="2400">
                <a:solidFill>
                  <a:schemeClr val="dk2"/>
                </a:solidFill>
              </a:rPr>
              <a:t>When creating rounded corner rectangles, lines, </a:t>
            </a:r>
            <a:br>
              <a:rPr lang="en" sz="2400">
                <a:solidFill>
                  <a:schemeClr val="dk2"/>
                </a:solidFill>
              </a:rPr>
            </a:br>
            <a:r>
              <a:rPr lang="en" sz="2400">
                <a:solidFill>
                  <a:schemeClr val="dk2"/>
                </a:solidFill>
              </a:rPr>
              <a:t>or circles, </a:t>
            </a:r>
            <a:r>
              <a:rPr lang="en" sz="2400">
                <a:solidFill>
                  <a:schemeClr val="lt1"/>
                </a:solidFill>
              </a:rPr>
              <a:t>all line widths or outlines should be 2px </a:t>
            </a:r>
            <a:endParaRPr sz="2400">
              <a:solidFill>
                <a:schemeClr val="lt1"/>
              </a:solidFill>
            </a:endParaRPr>
          </a:p>
        </p:txBody>
      </p:sp>
      <p:sp>
        <p:nvSpPr>
          <p:cNvPr id="2561" name="Google Shape;2561;p132"/>
          <p:cNvSpPr/>
          <p:nvPr/>
        </p:nvSpPr>
        <p:spPr>
          <a:xfrm>
            <a:off x="4549363" y="1737279"/>
            <a:ext cx="1828800" cy="18288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562" name="Google Shape;2562;p132"/>
          <p:cNvSpPr/>
          <p:nvPr/>
        </p:nvSpPr>
        <p:spPr>
          <a:xfrm>
            <a:off x="6796115" y="2834452"/>
            <a:ext cx="7316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pic>
        <p:nvPicPr>
          <p:cNvPr id="2563" name="Google Shape;2563;p132"/>
          <p:cNvPicPr preferRelativeResize="0"/>
          <p:nvPr/>
        </p:nvPicPr>
        <p:blipFill rotWithShape="1">
          <a:blip r:embed="rId2">
            <a:alphaModFix/>
          </a:blip>
          <a:srcRect b="8583"/>
          <a:stretch/>
        </p:blipFill>
        <p:spPr>
          <a:xfrm>
            <a:off x="1114825" y="1769872"/>
            <a:ext cx="3048000" cy="2495200"/>
          </a:xfrm>
          <a:prstGeom prst="roundRect">
            <a:avLst>
              <a:gd name="adj" fmla="val 3546"/>
            </a:avLst>
          </a:prstGeom>
          <a:noFill/>
          <a:ln w="19050" cap="flat" cmpd="sng">
            <a:solidFill>
              <a:schemeClr val="accent1"/>
            </a:solidFill>
            <a:prstDash val="solid"/>
            <a:round/>
            <a:headEnd type="none" w="sm" len="sm"/>
            <a:tailEnd type="none" w="sm" len="sm"/>
          </a:ln>
        </p:spPr>
      </p:pic>
      <p:sp>
        <p:nvSpPr>
          <p:cNvPr id="2564" name="Google Shape;2564;p132"/>
          <p:cNvSpPr/>
          <p:nvPr/>
        </p:nvSpPr>
        <p:spPr>
          <a:xfrm>
            <a:off x="1903300" y="1769867"/>
            <a:ext cx="731600" cy="731600"/>
          </a:xfrm>
          <a:prstGeom prst="roundRect">
            <a:avLst>
              <a:gd name="adj" fmla="val 8980"/>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2565" name="Google Shape;2565;p132"/>
          <p:cNvSpPr txBox="1"/>
          <p:nvPr/>
        </p:nvSpPr>
        <p:spPr>
          <a:xfrm>
            <a:off x="4650967" y="4744300"/>
            <a:ext cx="6570800" cy="2636619"/>
          </a:xfrm>
          <a:prstGeom prst="rect">
            <a:avLst/>
          </a:prstGeom>
          <a:noFill/>
          <a:ln>
            <a:noFill/>
          </a:ln>
        </p:spPr>
        <p:txBody>
          <a:bodyPr spcFirstLastPara="1" wrap="square" lIns="25400" tIns="25400" rIns="25400" bIns="25400"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 sz="2400">
                <a:solidFill>
                  <a:schemeClr val="dk2"/>
                </a:solidFill>
              </a:rPr>
              <a:t>Either create your own shape and follow the shape instructions or </a:t>
            </a:r>
            <a:r>
              <a:rPr lang="en" sz="2400">
                <a:solidFill>
                  <a:schemeClr val="lt2"/>
                </a:solidFill>
              </a:rPr>
              <a:t>feel free to copy and paste from here! </a:t>
            </a:r>
            <a:br>
              <a:rPr lang="en" sz="2400">
                <a:solidFill>
                  <a:schemeClr val="lt2"/>
                </a:solidFill>
              </a:rPr>
            </a:br>
            <a:r>
              <a:rPr lang="en" sz="2400">
                <a:solidFill>
                  <a:schemeClr val="dk2"/>
                </a:solidFill>
              </a:rPr>
              <a:t>Click “Slide” then “Edit theme” and then copy and paste the intended shape. Click the “x” at the top right to exit </a:t>
            </a:r>
            <a:br>
              <a:rPr lang="en" sz="2400">
                <a:solidFill>
                  <a:schemeClr val="dk2"/>
                </a:solidFill>
              </a:rPr>
            </a:br>
            <a:r>
              <a:rPr lang="en" sz="2400">
                <a:solidFill>
                  <a:schemeClr val="dk2"/>
                </a:solidFill>
              </a:rPr>
              <a:t>theme and return to presentation view. </a:t>
            </a:r>
            <a:endParaRPr sz="2400">
              <a:solidFill>
                <a:schemeClr val="dk2"/>
              </a:solidFill>
            </a:endParaRPr>
          </a:p>
        </p:txBody>
      </p:sp>
      <p:sp>
        <p:nvSpPr>
          <p:cNvPr id="2566" name="Google Shape;2566;p132"/>
          <p:cNvSpPr/>
          <p:nvPr/>
        </p:nvSpPr>
        <p:spPr>
          <a:xfrm>
            <a:off x="8148833" y="1769867"/>
            <a:ext cx="3050800" cy="2495200"/>
          </a:xfrm>
          <a:prstGeom prst="roundRect">
            <a:avLst>
              <a:gd name="adj" fmla="val 5090"/>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567" name="Google Shape;2567;p132"/>
          <p:cNvSpPr txBox="1"/>
          <p:nvPr/>
        </p:nvSpPr>
        <p:spPr>
          <a:xfrm>
            <a:off x="4131160" y="3836660"/>
            <a:ext cx="2665200" cy="374400"/>
          </a:xfrm>
          <a:prstGeom prst="rect">
            <a:avLst/>
          </a:prstGeom>
          <a:noFill/>
          <a:ln>
            <a:noFill/>
          </a:ln>
        </p:spPr>
        <p:txBody>
          <a:bodyPr spcFirstLastPara="1" wrap="square" lIns="45700" tIns="22867" rIns="45700" bIns="22867" anchor="ctr" anchorCtr="0">
            <a:noAutofit/>
          </a:bodyPr>
          <a:lstStyle/>
          <a:p>
            <a:pPr marL="0" marR="0" lvl="0" indent="0" algn="ctr" rtl="0">
              <a:lnSpc>
                <a:spcPct val="100000"/>
              </a:lnSpc>
              <a:spcBef>
                <a:spcPts val="0"/>
              </a:spcBef>
              <a:spcAft>
                <a:spcPts val="0"/>
              </a:spcAft>
              <a:buNone/>
            </a:pPr>
            <a:r>
              <a:rPr lang="en" sz="2133">
                <a:solidFill>
                  <a:schemeClr val="lt1"/>
                </a:solidFill>
              </a:rPr>
              <a:t>Large circle </a:t>
            </a:r>
            <a:br>
              <a:rPr lang="en" sz="2133">
                <a:solidFill>
                  <a:schemeClr val="lt1"/>
                </a:solidFill>
              </a:rPr>
            </a:br>
            <a:r>
              <a:rPr lang="en" sz="2133">
                <a:solidFill>
                  <a:schemeClr val="lt1"/>
                </a:solidFill>
              </a:rPr>
              <a:t>(1.5”)</a:t>
            </a:r>
            <a:endParaRPr sz="2133"/>
          </a:p>
        </p:txBody>
      </p:sp>
      <p:sp>
        <p:nvSpPr>
          <p:cNvPr id="2568" name="Google Shape;2568;p132"/>
          <p:cNvSpPr txBox="1"/>
          <p:nvPr/>
        </p:nvSpPr>
        <p:spPr>
          <a:xfrm>
            <a:off x="5829293" y="3836660"/>
            <a:ext cx="2665200" cy="374400"/>
          </a:xfrm>
          <a:prstGeom prst="rect">
            <a:avLst/>
          </a:prstGeom>
          <a:noFill/>
          <a:ln>
            <a:noFill/>
          </a:ln>
        </p:spPr>
        <p:txBody>
          <a:bodyPr spcFirstLastPara="1" wrap="square" lIns="45700" tIns="22867" rIns="45700" bIns="22867" anchor="ctr" anchorCtr="0">
            <a:noAutofit/>
          </a:bodyPr>
          <a:lstStyle/>
          <a:p>
            <a:pPr marL="0" marR="0" lvl="0" indent="0" algn="ctr" rtl="0">
              <a:lnSpc>
                <a:spcPct val="100000"/>
              </a:lnSpc>
              <a:spcBef>
                <a:spcPts val="0"/>
              </a:spcBef>
              <a:spcAft>
                <a:spcPts val="0"/>
              </a:spcAft>
              <a:buNone/>
            </a:pPr>
            <a:r>
              <a:rPr lang="en" sz="2133">
                <a:solidFill>
                  <a:schemeClr val="lt1"/>
                </a:solidFill>
              </a:rPr>
              <a:t>Small circle </a:t>
            </a:r>
            <a:br>
              <a:rPr lang="en" sz="2133">
                <a:solidFill>
                  <a:schemeClr val="lt1"/>
                </a:solidFill>
              </a:rPr>
            </a:br>
            <a:r>
              <a:rPr lang="en" sz="2133">
                <a:solidFill>
                  <a:schemeClr val="lt1"/>
                </a:solidFill>
              </a:rPr>
              <a:t>(0.6”)</a:t>
            </a:r>
            <a:endParaRPr sz="2133"/>
          </a:p>
        </p:txBody>
      </p:sp>
    </p:spTree>
    <p:extLst>
      <p:ext uri="{BB962C8B-B14F-4D97-AF65-F5344CB8AC3E}">
        <p14:creationId xmlns:p14="http://schemas.microsoft.com/office/powerpoint/2010/main" val="4957013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104. Template instructions (font guide)">
  <p:cSld name="104. Template instructions (font guide)">
    <p:spTree>
      <p:nvGrpSpPr>
        <p:cNvPr id="1" name="Shape 2569"/>
        <p:cNvGrpSpPr/>
        <p:nvPr/>
      </p:nvGrpSpPr>
      <p:grpSpPr>
        <a:xfrm>
          <a:off x="0" y="0"/>
          <a:ext cx="0" cy="0"/>
          <a:chOff x="0" y="0"/>
          <a:chExt cx="0" cy="0"/>
        </a:xfrm>
      </p:grpSpPr>
      <p:graphicFrame>
        <p:nvGraphicFramePr>
          <p:cNvPr id="2570" name="Google Shape;2570;p133"/>
          <p:cNvGraphicFramePr/>
          <p:nvPr/>
        </p:nvGraphicFramePr>
        <p:xfrm>
          <a:off x="553719" y="1236131"/>
          <a:ext cx="11016200" cy="5151232"/>
        </p:xfrm>
        <a:graphic>
          <a:graphicData uri="http://schemas.openxmlformats.org/drawingml/2006/table">
            <a:tbl>
              <a:tblPr firstRow="1" bandRow="1">
                <a:noFill/>
              </a:tblPr>
              <a:tblGrid>
                <a:gridCol w="7401667">
                  <a:extLst>
                    <a:ext uri="{9D8B030D-6E8A-4147-A177-3AD203B41FA5}">
                      <a16:colId xmlns:a16="http://schemas.microsoft.com/office/drawing/2014/main" val="20000"/>
                    </a:ext>
                  </a:extLst>
                </a:gridCol>
                <a:gridCol w="3614533">
                  <a:extLst>
                    <a:ext uri="{9D8B030D-6E8A-4147-A177-3AD203B41FA5}">
                      <a16:colId xmlns:a16="http://schemas.microsoft.com/office/drawing/2014/main" val="20001"/>
                    </a:ext>
                  </a:extLst>
                </a:gridCol>
              </a:tblGrid>
              <a:tr h="1264933">
                <a:tc>
                  <a:txBody>
                    <a:bodyPr/>
                    <a:lstStyle/>
                    <a:p>
                      <a:pPr marL="0" marR="0" lvl="0" indent="0" algn="l" rtl="0">
                        <a:lnSpc>
                          <a:spcPct val="100000"/>
                        </a:lnSpc>
                        <a:spcBef>
                          <a:spcPts val="0"/>
                        </a:spcBef>
                        <a:spcAft>
                          <a:spcPts val="0"/>
                        </a:spcAft>
                        <a:buClr>
                          <a:srgbClr val="A371F7"/>
                        </a:buClr>
                        <a:buSzPts val="6000"/>
                        <a:buFont typeface="Arial"/>
                        <a:buNone/>
                      </a:pPr>
                      <a:r>
                        <a:rPr lang="en" sz="8000" b="1" i="0" u="none" strike="noStrike" cap="none">
                          <a:latin typeface="Arial"/>
                          <a:ea typeface="Arial"/>
                          <a:cs typeface="Arial"/>
                          <a:sym typeface="Arial"/>
                        </a:rPr>
                        <a:t>Large </a:t>
                      </a:r>
                      <a:r>
                        <a:rPr lang="en" sz="8000" b="1"/>
                        <a:t>number</a:t>
                      </a:r>
                      <a:endParaRPr sz="8000" b="1" i="0" u="none" strike="noStrike" cap="none">
                        <a:latin typeface="Arial"/>
                        <a:ea typeface="Arial"/>
                        <a:cs typeface="Arial"/>
                        <a:sym typeface="Arial"/>
                      </a:endParaRPr>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 sz="2500">
                          <a:solidFill>
                            <a:srgbClr val="8B949E"/>
                          </a:solidFill>
                        </a:rPr>
                        <a:t>Arial</a:t>
                      </a:r>
                      <a:r>
                        <a:rPr lang="en" sz="1900" i="0" u="none" strike="noStrike" cap="none">
                          <a:solidFill>
                            <a:srgbClr val="8B949E"/>
                          </a:solidFill>
                        </a:rPr>
                        <a:t> Bold </a:t>
                      </a:r>
                      <a:r>
                        <a:rPr lang="en" sz="2500">
                          <a:solidFill>
                            <a:srgbClr val="8B949E"/>
                          </a:solidFill>
                        </a:rPr>
                        <a:t>60</a:t>
                      </a:r>
                      <a:r>
                        <a:rPr lang="en" sz="1900" i="0" u="none" strike="noStrike" cap="none">
                          <a:solidFill>
                            <a:srgbClr val="8B949E"/>
                          </a:solidFill>
                        </a:rPr>
                        <a:t>pt</a:t>
                      </a:r>
                      <a:endParaRPr sz="700"/>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0"/>
                  </a:ext>
                </a:extLst>
              </a:tr>
              <a:tr h="939813">
                <a:tc>
                  <a:txBody>
                    <a:bodyPr/>
                    <a:lstStyle/>
                    <a:p>
                      <a:pPr marL="0" marR="0" lvl="0" indent="0" algn="l" rtl="0">
                        <a:lnSpc>
                          <a:spcPct val="100000"/>
                        </a:lnSpc>
                        <a:spcBef>
                          <a:spcPts val="0"/>
                        </a:spcBef>
                        <a:spcAft>
                          <a:spcPts val="0"/>
                        </a:spcAft>
                        <a:buNone/>
                      </a:pPr>
                      <a:r>
                        <a:rPr lang="en" sz="5900" b="1"/>
                        <a:t>Large title</a:t>
                      </a:r>
                      <a:endParaRPr sz="5900" b="1"/>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lvl="0" indent="0" algn="l" rtl="0">
                        <a:spcBef>
                          <a:spcPts val="0"/>
                        </a:spcBef>
                        <a:spcAft>
                          <a:spcPts val="0"/>
                        </a:spcAft>
                        <a:buClr>
                          <a:srgbClr val="8B949E"/>
                        </a:buClr>
                        <a:buSzPts val="1400"/>
                        <a:buFont typeface="Arial"/>
                        <a:buNone/>
                      </a:pPr>
                      <a:r>
                        <a:rPr lang="en" sz="2500">
                          <a:solidFill>
                            <a:srgbClr val="8B949E"/>
                          </a:solidFill>
                        </a:rPr>
                        <a:t>Arial Bold 44pt</a:t>
                      </a:r>
                      <a:endParaRPr sz="2500">
                        <a:solidFill>
                          <a:srgbClr val="8B949E"/>
                        </a:solidFill>
                      </a:endParaRPr>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1"/>
                  </a:ext>
                </a:extLst>
              </a:tr>
              <a:tr h="777253">
                <a:tc>
                  <a:txBody>
                    <a:bodyPr/>
                    <a:lstStyle/>
                    <a:p>
                      <a:pPr marL="0" marR="0" lvl="0" indent="0" algn="l" rtl="0">
                        <a:lnSpc>
                          <a:spcPct val="100000"/>
                        </a:lnSpc>
                        <a:spcBef>
                          <a:spcPts val="0"/>
                        </a:spcBef>
                        <a:spcAft>
                          <a:spcPts val="0"/>
                        </a:spcAft>
                        <a:buClr>
                          <a:srgbClr val="388BFD"/>
                        </a:buClr>
                        <a:buSzPts val="3600"/>
                        <a:buFont typeface="Arial"/>
                        <a:buNone/>
                      </a:pPr>
                      <a:r>
                        <a:rPr lang="en" sz="4800" b="1"/>
                        <a:t>Medium</a:t>
                      </a:r>
                      <a:r>
                        <a:rPr lang="en" sz="4800" b="1" i="0" u="none" strike="noStrike" cap="none">
                          <a:latin typeface="Arial"/>
                          <a:ea typeface="Arial"/>
                          <a:cs typeface="Arial"/>
                          <a:sym typeface="Arial"/>
                        </a:rPr>
                        <a:t> title</a:t>
                      </a:r>
                      <a:endParaRPr sz="1200" b="1" i="0" u="none" strike="noStrike" cap="none">
                        <a:latin typeface="Arial"/>
                        <a:ea typeface="Arial"/>
                        <a:cs typeface="Arial"/>
                        <a:sym typeface="Arial"/>
                      </a:endParaRPr>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 sz="2500">
                          <a:solidFill>
                            <a:srgbClr val="8B949E"/>
                          </a:solidFill>
                        </a:rPr>
                        <a:t>Arial</a:t>
                      </a:r>
                      <a:r>
                        <a:rPr lang="en" sz="1900" i="0" u="none" strike="noStrike" cap="none">
                          <a:solidFill>
                            <a:srgbClr val="8B949E"/>
                          </a:solidFill>
                        </a:rPr>
                        <a:t> Bold </a:t>
                      </a:r>
                      <a:r>
                        <a:rPr lang="en" sz="2500">
                          <a:solidFill>
                            <a:srgbClr val="8B949E"/>
                          </a:solidFill>
                        </a:rPr>
                        <a:t>36</a:t>
                      </a:r>
                      <a:r>
                        <a:rPr lang="en" sz="1900" i="0" u="none" strike="noStrike" cap="none">
                          <a:solidFill>
                            <a:srgbClr val="8B949E"/>
                          </a:solidFill>
                        </a:rPr>
                        <a:t>pt</a:t>
                      </a:r>
                      <a:endParaRPr sz="700"/>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2"/>
                  </a:ext>
                </a:extLst>
              </a:tr>
              <a:tr h="452133">
                <a:tc>
                  <a:txBody>
                    <a:bodyPr/>
                    <a:lstStyle/>
                    <a:p>
                      <a:pPr marL="0" marR="0" lvl="0" indent="0" algn="l" rtl="0">
                        <a:lnSpc>
                          <a:spcPct val="100000"/>
                        </a:lnSpc>
                        <a:spcBef>
                          <a:spcPts val="0"/>
                        </a:spcBef>
                        <a:spcAft>
                          <a:spcPts val="0"/>
                        </a:spcAft>
                        <a:buClr>
                          <a:schemeClr val="lt1"/>
                        </a:buClr>
                        <a:buSzPts val="2000"/>
                        <a:buFont typeface="Arial"/>
                        <a:buNone/>
                      </a:pPr>
                      <a:r>
                        <a:rPr lang="en" sz="2700" b="1" i="0" u="none" strike="noStrike" cap="none">
                          <a:solidFill>
                            <a:schemeClr val="lt1"/>
                          </a:solidFill>
                          <a:latin typeface="Arial"/>
                          <a:ea typeface="Arial"/>
                          <a:cs typeface="Arial"/>
                          <a:sym typeface="Arial"/>
                        </a:rPr>
                        <a:t>Small title</a:t>
                      </a:r>
                      <a:endParaRPr sz="2700" b="1"/>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 sz="2500">
                          <a:solidFill>
                            <a:srgbClr val="8B949E"/>
                          </a:solidFill>
                        </a:rPr>
                        <a:t>Arial</a:t>
                      </a:r>
                      <a:r>
                        <a:rPr lang="en" sz="1900" i="0" u="none" strike="noStrike" cap="none">
                          <a:solidFill>
                            <a:srgbClr val="8B949E"/>
                          </a:solidFill>
                        </a:rPr>
                        <a:t> Bold </a:t>
                      </a:r>
                      <a:r>
                        <a:rPr lang="en" sz="2500">
                          <a:solidFill>
                            <a:srgbClr val="8B949E"/>
                          </a:solidFill>
                        </a:rPr>
                        <a:t>20</a:t>
                      </a:r>
                      <a:r>
                        <a:rPr lang="en" sz="1900" i="0" u="none" strike="noStrike" cap="none">
                          <a:solidFill>
                            <a:srgbClr val="8B949E"/>
                          </a:solidFill>
                        </a:rPr>
                        <a:t>pt</a:t>
                      </a:r>
                      <a:endParaRPr sz="700"/>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3"/>
                  </a:ext>
                </a:extLst>
              </a:tr>
              <a:tr h="425125">
                <a:tc>
                  <a:txBody>
                    <a:bodyPr/>
                    <a:lstStyle/>
                    <a:p>
                      <a:pPr marL="0" marR="0" lvl="0" indent="0" algn="l" rtl="0">
                        <a:lnSpc>
                          <a:spcPct val="100000"/>
                        </a:lnSpc>
                        <a:spcBef>
                          <a:spcPts val="0"/>
                        </a:spcBef>
                        <a:spcAft>
                          <a:spcPts val="0"/>
                        </a:spcAft>
                        <a:buClr>
                          <a:srgbClr val="F0F6FC"/>
                        </a:buClr>
                        <a:buSzPts val="1700"/>
                        <a:buFont typeface="Arial"/>
                        <a:buNone/>
                      </a:pPr>
                      <a:r>
                        <a:rPr lang="en" sz="2100" i="0" u="none" strike="noStrike" cap="none">
                          <a:solidFill>
                            <a:srgbClr val="F0F6FC"/>
                          </a:solidFill>
                          <a:latin typeface="Roboto Mono"/>
                          <a:ea typeface="Roboto Mono"/>
                          <a:cs typeface="Roboto Mono"/>
                          <a:sym typeface="Roboto Mono"/>
                        </a:rPr>
                        <a:t>Large dates, usernames</a:t>
                      </a:r>
                      <a:endParaRPr sz="2100" i="0" u="none" strike="noStrike" cap="none">
                        <a:solidFill>
                          <a:schemeClr val="accent1"/>
                        </a:solidFill>
                        <a:latin typeface="Roboto Mono"/>
                        <a:ea typeface="Roboto Mono"/>
                        <a:cs typeface="Roboto Mono"/>
                        <a:sym typeface="Roboto Mono"/>
                      </a:endParaRPr>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 sz="2500">
                          <a:solidFill>
                            <a:srgbClr val="8B949E"/>
                          </a:solidFill>
                        </a:rPr>
                        <a:t>Roboto Mono</a:t>
                      </a:r>
                      <a:r>
                        <a:rPr lang="en" sz="1900" i="0" u="none" strike="noStrike" cap="none">
                          <a:solidFill>
                            <a:srgbClr val="8B949E"/>
                          </a:solidFill>
                        </a:rPr>
                        <a:t> </a:t>
                      </a:r>
                      <a:r>
                        <a:rPr lang="en" sz="2500">
                          <a:solidFill>
                            <a:srgbClr val="8B949E"/>
                          </a:solidFill>
                        </a:rPr>
                        <a:t>16</a:t>
                      </a:r>
                      <a:r>
                        <a:rPr lang="en" sz="1900" i="0" u="none" strike="noStrike" cap="none">
                          <a:solidFill>
                            <a:srgbClr val="8B949E"/>
                          </a:solidFill>
                        </a:rPr>
                        <a:t>pt</a:t>
                      </a:r>
                      <a:endParaRPr sz="700"/>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4"/>
                  </a:ext>
                </a:extLst>
              </a:tr>
              <a:tr h="425125">
                <a:tc>
                  <a:txBody>
                    <a:bodyPr/>
                    <a:lstStyle/>
                    <a:p>
                      <a:pPr marL="0" marR="0" lvl="0" indent="0" algn="l" rtl="0">
                        <a:lnSpc>
                          <a:spcPct val="100000"/>
                        </a:lnSpc>
                        <a:spcBef>
                          <a:spcPts val="0"/>
                        </a:spcBef>
                        <a:spcAft>
                          <a:spcPts val="0"/>
                        </a:spcAft>
                        <a:buClr>
                          <a:schemeClr val="lt1"/>
                        </a:buClr>
                        <a:buSzPts val="1700"/>
                        <a:buFont typeface="Arial"/>
                        <a:buNone/>
                      </a:pPr>
                      <a:r>
                        <a:rPr lang="en" sz="2100" i="0" u="none" strike="noStrike" cap="none">
                          <a:solidFill>
                            <a:schemeClr val="lt1"/>
                          </a:solidFill>
                        </a:rPr>
                        <a:t>Information</a:t>
                      </a:r>
                      <a:endParaRPr sz="500"/>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 sz="2500">
                          <a:solidFill>
                            <a:srgbClr val="8B949E"/>
                          </a:solidFill>
                        </a:rPr>
                        <a:t>Arial</a:t>
                      </a:r>
                      <a:r>
                        <a:rPr lang="en" sz="1900" i="0" u="none" strike="noStrike" cap="none">
                          <a:solidFill>
                            <a:srgbClr val="8B949E"/>
                          </a:solidFill>
                        </a:rPr>
                        <a:t> </a:t>
                      </a:r>
                      <a:r>
                        <a:rPr lang="en" sz="2500">
                          <a:solidFill>
                            <a:srgbClr val="8B949E"/>
                          </a:solidFill>
                        </a:rPr>
                        <a:t>Regular</a:t>
                      </a:r>
                      <a:r>
                        <a:rPr lang="en" sz="1900" i="0" u="none" strike="noStrike" cap="none">
                          <a:solidFill>
                            <a:srgbClr val="8B949E"/>
                          </a:solidFill>
                        </a:rPr>
                        <a:t> </a:t>
                      </a:r>
                      <a:r>
                        <a:rPr lang="en" sz="2500">
                          <a:solidFill>
                            <a:srgbClr val="8B949E"/>
                          </a:solidFill>
                        </a:rPr>
                        <a:t>16</a:t>
                      </a:r>
                      <a:r>
                        <a:rPr lang="en" sz="1900" i="0" u="none" strike="noStrike" cap="none">
                          <a:solidFill>
                            <a:srgbClr val="8B949E"/>
                          </a:solidFill>
                        </a:rPr>
                        <a:t>pt</a:t>
                      </a:r>
                      <a:endParaRPr sz="700"/>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5"/>
                  </a:ext>
                </a:extLst>
              </a:tr>
              <a:tr h="425125">
                <a:tc>
                  <a:txBody>
                    <a:bodyPr/>
                    <a:lstStyle/>
                    <a:p>
                      <a:pPr marL="0" marR="0" lvl="0" indent="0" algn="l" rtl="0">
                        <a:lnSpc>
                          <a:spcPct val="100000"/>
                        </a:lnSpc>
                        <a:spcBef>
                          <a:spcPts val="0"/>
                        </a:spcBef>
                        <a:spcAft>
                          <a:spcPts val="0"/>
                        </a:spcAft>
                        <a:buClr>
                          <a:srgbClr val="8B949E"/>
                        </a:buClr>
                        <a:buSzPts val="1400"/>
                        <a:buFont typeface="Arial"/>
                        <a:buNone/>
                      </a:pPr>
                      <a:r>
                        <a:rPr lang="en" sz="2500">
                          <a:solidFill>
                            <a:srgbClr val="8B949E"/>
                          </a:solidFill>
                        </a:rPr>
                        <a:t>Small information, supporting descriptions</a:t>
                      </a:r>
                      <a:endParaRPr sz="2500" i="0" u="none" strike="noStrike" cap="none">
                        <a:solidFill>
                          <a:srgbClr val="8B949E"/>
                        </a:solidFill>
                      </a:endParaRPr>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 sz="2500">
                          <a:solidFill>
                            <a:srgbClr val="8B949E"/>
                          </a:solidFill>
                        </a:rPr>
                        <a:t>Arial</a:t>
                      </a:r>
                      <a:r>
                        <a:rPr lang="en" sz="1900" i="0" u="none" strike="noStrike" cap="none">
                          <a:solidFill>
                            <a:srgbClr val="8B949E"/>
                          </a:solidFill>
                        </a:rPr>
                        <a:t> </a:t>
                      </a:r>
                      <a:r>
                        <a:rPr lang="en" sz="2500">
                          <a:solidFill>
                            <a:srgbClr val="8B949E"/>
                          </a:solidFill>
                        </a:rPr>
                        <a:t>Regular</a:t>
                      </a:r>
                      <a:r>
                        <a:rPr lang="en" sz="1900" i="0" u="none" strike="noStrike" cap="none">
                          <a:solidFill>
                            <a:srgbClr val="8B949E"/>
                          </a:solidFill>
                        </a:rPr>
                        <a:t> </a:t>
                      </a:r>
                      <a:r>
                        <a:rPr lang="en" sz="2500">
                          <a:solidFill>
                            <a:srgbClr val="8B949E"/>
                          </a:solidFill>
                        </a:rPr>
                        <a:t>14</a:t>
                      </a:r>
                      <a:r>
                        <a:rPr lang="en" sz="1900" i="0" u="none" strike="noStrike" cap="none">
                          <a:solidFill>
                            <a:srgbClr val="8B949E"/>
                          </a:solidFill>
                        </a:rPr>
                        <a:t>pt</a:t>
                      </a:r>
                      <a:endParaRPr sz="700"/>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6"/>
                  </a:ext>
                </a:extLst>
              </a:tr>
              <a:tr h="425125">
                <a:tc>
                  <a:txBody>
                    <a:bodyPr/>
                    <a:lstStyle/>
                    <a:p>
                      <a:pPr marL="0" marR="0" lvl="0" indent="0" algn="l" rtl="0">
                        <a:lnSpc>
                          <a:spcPct val="100000"/>
                        </a:lnSpc>
                        <a:spcBef>
                          <a:spcPts val="0"/>
                        </a:spcBef>
                        <a:spcAft>
                          <a:spcPts val="0"/>
                        </a:spcAft>
                        <a:buClr>
                          <a:srgbClr val="8B949E"/>
                        </a:buClr>
                        <a:buSzPts val="1100"/>
                        <a:buFont typeface="Arial"/>
                        <a:buNone/>
                      </a:pPr>
                      <a:r>
                        <a:rPr lang="en" sz="1600" i="0" u="none" strike="noStrike" cap="none">
                          <a:solidFill>
                            <a:srgbClr val="8B949E"/>
                          </a:solidFill>
                          <a:latin typeface="Roboto Mono"/>
                          <a:ea typeface="Roboto Mono"/>
                          <a:cs typeface="Roboto Mono"/>
                          <a:sym typeface="Roboto Mono"/>
                        </a:rPr>
                        <a:t>Small dates, usernames, information</a:t>
                      </a:r>
                      <a:endParaRPr sz="1600">
                        <a:solidFill>
                          <a:srgbClr val="8B949E"/>
                        </a:solidFill>
                        <a:latin typeface="Roboto Mono"/>
                        <a:ea typeface="Roboto Mono"/>
                        <a:cs typeface="Roboto Mono"/>
                        <a:sym typeface="Roboto Mono"/>
                      </a:endParaRPr>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 sz="2500">
                          <a:solidFill>
                            <a:srgbClr val="8B949E"/>
                          </a:solidFill>
                        </a:rPr>
                        <a:t>Roboto Mono 12</a:t>
                      </a:r>
                      <a:r>
                        <a:rPr lang="en" sz="1900" i="0" u="none" strike="noStrike" cap="none">
                          <a:solidFill>
                            <a:srgbClr val="8B949E"/>
                          </a:solidFill>
                        </a:rPr>
                        <a:t>pt</a:t>
                      </a:r>
                      <a:endParaRPr sz="700"/>
                    </a:p>
                  </a:txBody>
                  <a:tcPr marL="45733" marR="45733" marT="22867" marB="22867"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7"/>
                  </a:ext>
                </a:extLst>
              </a:tr>
            </a:tbl>
          </a:graphicData>
        </a:graphic>
      </p:graphicFrame>
      <p:sp>
        <p:nvSpPr>
          <p:cNvPr id="2571" name="Google Shape;2571;p133"/>
          <p:cNvSpPr txBox="1"/>
          <p:nvPr/>
        </p:nvSpPr>
        <p:spPr>
          <a:xfrm>
            <a:off x="553741" y="414320"/>
            <a:ext cx="5803600" cy="789960"/>
          </a:xfrm>
          <a:prstGeom prst="rect">
            <a:avLst/>
          </a:prstGeom>
          <a:noFill/>
          <a:ln>
            <a:noFill/>
          </a:ln>
        </p:spPr>
        <p:txBody>
          <a:bodyPr spcFirstLastPara="1" wrap="square" lIns="25400" tIns="25400" rIns="25400" bIns="25400"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 sz="4800" b="1">
                <a:solidFill>
                  <a:srgbClr val="F0F6FC"/>
                </a:solidFill>
              </a:rPr>
              <a:t>Font guide</a:t>
            </a:r>
            <a:endParaRPr sz="4800" b="1">
              <a:solidFill>
                <a:srgbClr val="F0F6FC"/>
              </a:solidFill>
            </a:endParaRPr>
          </a:p>
        </p:txBody>
      </p:sp>
    </p:spTree>
    <p:extLst>
      <p:ext uri="{BB962C8B-B14F-4D97-AF65-F5344CB8AC3E}">
        <p14:creationId xmlns:p14="http://schemas.microsoft.com/office/powerpoint/2010/main" val="154701574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103. Template instructions (Brand and accessibility)">
  <p:cSld name="103. Template instructions (Brand and accessibility)">
    <p:spTree>
      <p:nvGrpSpPr>
        <p:cNvPr id="1" name="Shape 2572"/>
        <p:cNvGrpSpPr/>
        <p:nvPr/>
      </p:nvGrpSpPr>
      <p:grpSpPr>
        <a:xfrm>
          <a:off x="0" y="0"/>
          <a:ext cx="0" cy="0"/>
          <a:chOff x="0" y="0"/>
          <a:chExt cx="0" cy="0"/>
        </a:xfrm>
      </p:grpSpPr>
      <p:sp>
        <p:nvSpPr>
          <p:cNvPr id="2573" name="Google Shape;2573;p134"/>
          <p:cNvSpPr txBox="1"/>
          <p:nvPr/>
        </p:nvSpPr>
        <p:spPr>
          <a:xfrm>
            <a:off x="454632" y="812724"/>
            <a:ext cx="4577200" cy="2267287"/>
          </a:xfrm>
          <a:prstGeom prst="rect">
            <a:avLst/>
          </a:prstGeom>
          <a:noFill/>
          <a:ln>
            <a:noFill/>
          </a:ln>
        </p:spPr>
        <p:txBody>
          <a:bodyPr spcFirstLastPara="1" wrap="square" lIns="25400" tIns="25400" rIns="25400" bIns="25400"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 sz="4800" b="1">
                <a:solidFill>
                  <a:srgbClr val="F0F6FC"/>
                </a:solidFill>
              </a:rPr>
              <a:t>Brand guidelines &amp; accessibility</a:t>
            </a:r>
            <a:endParaRPr sz="4800" b="1">
              <a:solidFill>
                <a:srgbClr val="F0F6FC"/>
              </a:solidFill>
            </a:endParaRPr>
          </a:p>
        </p:txBody>
      </p:sp>
      <p:sp>
        <p:nvSpPr>
          <p:cNvPr id="2574" name="Google Shape;2574;p134"/>
          <p:cNvSpPr/>
          <p:nvPr/>
        </p:nvSpPr>
        <p:spPr>
          <a:xfrm>
            <a:off x="6091515" y="1208964"/>
            <a:ext cx="731600" cy="731600"/>
          </a:xfrm>
          <a:prstGeom prst="ellipse">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chemeClr val="accent1"/>
              </a:solidFill>
              <a:latin typeface="Arial"/>
              <a:ea typeface="Arial"/>
              <a:cs typeface="Arial"/>
              <a:sym typeface="Arial"/>
            </a:endParaRPr>
          </a:p>
        </p:txBody>
      </p:sp>
      <p:sp>
        <p:nvSpPr>
          <p:cNvPr id="2575" name="Google Shape;2575;p134"/>
          <p:cNvSpPr/>
          <p:nvPr/>
        </p:nvSpPr>
        <p:spPr>
          <a:xfrm>
            <a:off x="6091515" y="3031091"/>
            <a:ext cx="731600" cy="7316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576" name="Google Shape;2576;p134"/>
          <p:cNvSpPr/>
          <p:nvPr/>
        </p:nvSpPr>
        <p:spPr>
          <a:xfrm>
            <a:off x="6091515" y="4746047"/>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577" name="Google Shape;2577;p134"/>
          <p:cNvSpPr txBox="1"/>
          <p:nvPr/>
        </p:nvSpPr>
        <p:spPr>
          <a:xfrm>
            <a:off x="7160167" y="812367"/>
            <a:ext cx="4577200" cy="1707600"/>
          </a:xfrm>
          <a:prstGeom prst="rect">
            <a:avLst/>
          </a:prstGeom>
          <a:noFill/>
          <a:ln>
            <a:noFill/>
          </a:ln>
        </p:spPr>
        <p:txBody>
          <a:bodyPr spcFirstLastPara="1" wrap="square" lIns="121900" tIns="121900" rIns="121900" bIns="121900" anchor="ctr" anchorCtr="0">
            <a:noAutofit/>
          </a:bodyPr>
          <a:lstStyle/>
          <a:p>
            <a:pPr marL="0" lvl="0" indent="0" algn="l" rtl="0">
              <a:lnSpc>
                <a:spcPct val="115000"/>
              </a:lnSpc>
              <a:spcBef>
                <a:spcPts val="0"/>
              </a:spcBef>
              <a:spcAft>
                <a:spcPts val="0"/>
              </a:spcAft>
              <a:buNone/>
            </a:pPr>
            <a:r>
              <a:rPr lang="en" sz="2400">
                <a:solidFill>
                  <a:srgbClr val="FFFFFF"/>
                </a:solidFill>
              </a:rPr>
              <a:t>This template is based on our core brand elements to assist Hubbers in producing communications that align with the GitHub brand system. </a:t>
            </a:r>
            <a:endParaRPr sz="2400"/>
          </a:p>
        </p:txBody>
      </p:sp>
      <p:sp>
        <p:nvSpPr>
          <p:cNvPr id="2578" name="Google Shape;2578;p134"/>
          <p:cNvSpPr txBox="1"/>
          <p:nvPr/>
        </p:nvSpPr>
        <p:spPr>
          <a:xfrm>
            <a:off x="7160167" y="2631900"/>
            <a:ext cx="4577200" cy="1707600"/>
          </a:xfrm>
          <a:prstGeom prst="rect">
            <a:avLst/>
          </a:prstGeom>
          <a:noFill/>
          <a:ln>
            <a:noFill/>
          </a:ln>
        </p:spPr>
        <p:txBody>
          <a:bodyPr spcFirstLastPara="1" wrap="square" lIns="121900" tIns="121900" rIns="121900" bIns="121900" anchor="ctr" anchorCtr="0">
            <a:noAutofit/>
          </a:bodyPr>
          <a:lstStyle/>
          <a:p>
            <a:pPr marL="0" lvl="0" indent="0" algn="l" rtl="0">
              <a:lnSpc>
                <a:spcPct val="115000"/>
              </a:lnSpc>
              <a:spcBef>
                <a:spcPts val="0"/>
              </a:spcBef>
              <a:spcAft>
                <a:spcPts val="0"/>
              </a:spcAft>
              <a:buNone/>
            </a:pPr>
            <a:r>
              <a:rPr lang="en" sz="2400">
                <a:solidFill>
                  <a:srgbClr val="FFFFFF"/>
                </a:solidFill>
              </a:rPr>
              <a:t>The colors and font sizing have been approved by the accessibility team to ensure we are actively being inclusive. </a:t>
            </a:r>
            <a:endParaRPr sz="2400">
              <a:solidFill>
                <a:srgbClr val="FFFFFF"/>
              </a:solidFill>
            </a:endParaRPr>
          </a:p>
        </p:txBody>
      </p:sp>
      <p:sp>
        <p:nvSpPr>
          <p:cNvPr id="2579" name="Google Shape;2579;p134"/>
          <p:cNvSpPr txBox="1"/>
          <p:nvPr/>
        </p:nvSpPr>
        <p:spPr>
          <a:xfrm>
            <a:off x="7160167" y="4558833"/>
            <a:ext cx="4577200" cy="1283600"/>
          </a:xfrm>
          <a:prstGeom prst="rect">
            <a:avLst/>
          </a:prstGeom>
          <a:noFill/>
          <a:ln>
            <a:noFill/>
          </a:ln>
        </p:spPr>
        <p:txBody>
          <a:bodyPr spcFirstLastPara="1" wrap="square" lIns="121900" tIns="121900" rIns="121900" bIns="121900" anchor="ctr" anchorCtr="0">
            <a:noAutofit/>
          </a:bodyPr>
          <a:lstStyle/>
          <a:p>
            <a:pPr marL="0" lvl="0" indent="0" algn="l" rtl="0">
              <a:lnSpc>
                <a:spcPct val="115000"/>
              </a:lnSpc>
              <a:spcBef>
                <a:spcPts val="0"/>
              </a:spcBef>
              <a:spcAft>
                <a:spcPts val="0"/>
              </a:spcAft>
              <a:buNone/>
            </a:pPr>
            <a:r>
              <a:rPr lang="en" sz="2400">
                <a:solidFill>
                  <a:srgbClr val="FFFFFF"/>
                </a:solidFill>
              </a:rPr>
              <a:t>If you have issues with the template, please reach out to via our slack channel </a:t>
            </a:r>
            <a:r>
              <a:rPr lang="en" sz="2400" u="sng">
                <a:solidFill>
                  <a:schemeClr val="lt2"/>
                </a:solidFill>
                <a:hlinkClick r:id="rId2">
                  <a:extLst>
                    <a:ext uri="{A12FA001-AC4F-418D-AE19-62706E023703}">
                      <ahyp:hlinkClr xmlns:ahyp="http://schemas.microsoft.com/office/drawing/2018/hyperlinkcolor" val="tx"/>
                    </a:ext>
                  </a:extLst>
                </a:hlinkClick>
              </a:rPr>
              <a:t>#visual-communications</a:t>
            </a:r>
            <a:endParaRPr sz="2400">
              <a:solidFill>
                <a:schemeClr val="lt2"/>
              </a:solidFill>
            </a:endParaRPr>
          </a:p>
        </p:txBody>
      </p:sp>
      <p:pic>
        <p:nvPicPr>
          <p:cNvPr id="2580" name="Google Shape;2580;p134"/>
          <p:cNvPicPr preferRelativeResize="0"/>
          <p:nvPr/>
        </p:nvPicPr>
        <p:blipFill>
          <a:blip r:embed="rId3">
            <a:alphaModFix/>
          </a:blip>
          <a:stretch>
            <a:fillRect/>
          </a:stretch>
        </p:blipFill>
        <p:spPr>
          <a:xfrm>
            <a:off x="6274417" y="1397100"/>
            <a:ext cx="365760" cy="355309"/>
          </a:xfrm>
          <a:prstGeom prst="rect">
            <a:avLst/>
          </a:prstGeom>
          <a:noFill/>
          <a:ln>
            <a:noFill/>
          </a:ln>
        </p:spPr>
      </p:pic>
      <p:sp>
        <p:nvSpPr>
          <p:cNvPr id="2581" name="Google Shape;2581;p134"/>
          <p:cNvSpPr txBox="1"/>
          <p:nvPr/>
        </p:nvSpPr>
        <p:spPr>
          <a:xfrm>
            <a:off x="454633" y="3656833"/>
            <a:ext cx="5021600" cy="3644034"/>
          </a:xfrm>
          <a:prstGeom prst="rect">
            <a:avLst/>
          </a:prstGeom>
          <a:noFill/>
          <a:ln>
            <a:noFill/>
          </a:ln>
        </p:spPr>
        <p:txBody>
          <a:bodyPr spcFirstLastPara="1" wrap="square" lIns="121900" tIns="121900" rIns="121900" bIns="121900" anchor="t" anchorCtr="0">
            <a:spAutoFit/>
          </a:bodyPr>
          <a:lstStyle/>
          <a:p>
            <a:pPr marL="0" lvl="0" indent="0" algn="l" rtl="0">
              <a:lnSpc>
                <a:spcPct val="115000"/>
              </a:lnSpc>
              <a:spcBef>
                <a:spcPts val="0"/>
              </a:spcBef>
              <a:spcAft>
                <a:spcPts val="0"/>
              </a:spcAft>
              <a:buNone/>
            </a:pPr>
            <a:r>
              <a:rPr lang="en" sz="2400">
                <a:solidFill>
                  <a:srgbClr val="8B949E"/>
                </a:solidFill>
              </a:rPr>
              <a:t>Our goal is to create a user friendly template so all Hubbers have the opportunity to create a presentation that looks as if a designer created it. </a:t>
            </a:r>
            <a:r>
              <a:rPr lang="en" sz="2400">
                <a:solidFill>
                  <a:schemeClr val="lt1"/>
                </a:solidFill>
              </a:rPr>
              <a:t>Please be sure to follow guidelines and template structures to ensure brand and </a:t>
            </a:r>
            <a:br>
              <a:rPr lang="en" sz="2400">
                <a:solidFill>
                  <a:schemeClr val="lt1"/>
                </a:solidFill>
              </a:rPr>
            </a:br>
            <a:r>
              <a:rPr lang="en" sz="2400">
                <a:solidFill>
                  <a:schemeClr val="lt1"/>
                </a:solidFill>
              </a:rPr>
              <a:t>accessibility compliance.</a:t>
            </a:r>
            <a:r>
              <a:rPr lang="en" sz="2400">
                <a:solidFill>
                  <a:srgbClr val="8B949E"/>
                </a:solidFill>
              </a:rPr>
              <a:t>  </a:t>
            </a:r>
            <a:endParaRPr sz="2400">
              <a:solidFill>
                <a:srgbClr val="8B949E"/>
              </a:solidFill>
            </a:endParaRPr>
          </a:p>
        </p:txBody>
      </p:sp>
      <p:pic>
        <p:nvPicPr>
          <p:cNvPr id="2582" name="Google Shape;2582;p134"/>
          <p:cNvPicPr preferRelativeResize="0"/>
          <p:nvPr/>
        </p:nvPicPr>
        <p:blipFill>
          <a:blip r:embed="rId4">
            <a:alphaModFix/>
          </a:blip>
          <a:stretch>
            <a:fillRect/>
          </a:stretch>
        </p:blipFill>
        <p:spPr>
          <a:xfrm>
            <a:off x="6274417" y="3194051"/>
            <a:ext cx="365760" cy="355309"/>
          </a:xfrm>
          <a:prstGeom prst="rect">
            <a:avLst/>
          </a:prstGeom>
          <a:noFill/>
          <a:ln>
            <a:noFill/>
          </a:ln>
        </p:spPr>
      </p:pic>
      <p:pic>
        <p:nvPicPr>
          <p:cNvPr id="2583" name="Google Shape;2583;p134"/>
          <p:cNvPicPr preferRelativeResize="0"/>
          <p:nvPr/>
        </p:nvPicPr>
        <p:blipFill>
          <a:blip r:embed="rId5">
            <a:alphaModFix/>
          </a:blip>
          <a:stretch>
            <a:fillRect/>
          </a:stretch>
        </p:blipFill>
        <p:spPr>
          <a:xfrm>
            <a:off x="6274417" y="4934167"/>
            <a:ext cx="365760" cy="355309"/>
          </a:xfrm>
          <a:prstGeom prst="rect">
            <a:avLst/>
          </a:prstGeom>
          <a:noFill/>
          <a:ln>
            <a:noFill/>
          </a:ln>
        </p:spPr>
      </p:pic>
    </p:spTree>
    <p:extLst>
      <p:ext uri="{BB962C8B-B14F-4D97-AF65-F5344CB8AC3E}">
        <p14:creationId xmlns:p14="http://schemas.microsoft.com/office/powerpoint/2010/main" val="126102988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2. Blank">
  <p:cSld name="2. Blank">
    <p:spTree>
      <p:nvGrpSpPr>
        <p:cNvPr id="1" name="Shape 2584"/>
        <p:cNvGrpSpPr/>
        <p:nvPr/>
      </p:nvGrpSpPr>
      <p:grpSpPr>
        <a:xfrm>
          <a:off x="0" y="0"/>
          <a:ext cx="0" cy="0"/>
          <a:chOff x="0" y="0"/>
          <a:chExt cx="0" cy="0"/>
        </a:xfrm>
      </p:grpSpPr>
      <p:grpSp>
        <p:nvGrpSpPr>
          <p:cNvPr id="2585" name="Google Shape;2585;p135"/>
          <p:cNvGrpSpPr/>
          <p:nvPr/>
        </p:nvGrpSpPr>
        <p:grpSpPr>
          <a:xfrm>
            <a:off x="12253600" y="1"/>
            <a:ext cx="3438989" cy="3424452"/>
            <a:chOff x="22170399" y="777240"/>
            <a:chExt cx="6877978" cy="6848903"/>
          </a:xfrm>
        </p:grpSpPr>
        <p:grpSp>
          <p:nvGrpSpPr>
            <p:cNvPr id="2586" name="Google Shape;2586;p135"/>
            <p:cNvGrpSpPr/>
            <p:nvPr/>
          </p:nvGrpSpPr>
          <p:grpSpPr>
            <a:xfrm>
              <a:off x="22170399" y="777240"/>
              <a:ext cx="6877978" cy="6848903"/>
              <a:chOff x="22155159" y="0"/>
              <a:chExt cx="6877978" cy="6848903"/>
            </a:xfrm>
          </p:grpSpPr>
          <p:sp>
            <p:nvSpPr>
              <p:cNvPr id="2587" name="Google Shape;2587;p135"/>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588" name="Google Shape;2588;p135"/>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589" name="Google Shape;2589;p135"/>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590" name="Google Shape;2590;p135"/>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591" name="Google Shape;2591;p135"/>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592" name="Google Shape;2592;p135"/>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593" name="Google Shape;2593;p135"/>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594" name="Google Shape;2594;p135"/>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595" name="Google Shape;2595;p135"/>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596" name="Google Shape;2596;p135"/>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597" name="Google Shape;2597;p135"/>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598" name="Google Shape;2598;p135"/>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599" name="Google Shape;2599;p135"/>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600" name="Google Shape;2600;p135"/>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Tree>
    <p:extLst>
      <p:ext uri="{BB962C8B-B14F-4D97-AF65-F5344CB8AC3E}">
        <p14:creationId xmlns:p14="http://schemas.microsoft.com/office/powerpoint/2010/main" val="162687055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matchingName="1. GitHub splash page" type="tx">
  <p:cSld name="1. GitHub splash page">
    <p:bg>
      <p:bgPr>
        <a:solidFill>
          <a:srgbClr val="0A0C10"/>
        </a:solidFill>
        <a:effectLst/>
      </p:bgPr>
    </p:bg>
    <p:spTree>
      <p:nvGrpSpPr>
        <p:cNvPr id="1" name="Shape 2601"/>
        <p:cNvGrpSpPr/>
        <p:nvPr/>
      </p:nvGrpSpPr>
      <p:grpSpPr>
        <a:xfrm>
          <a:off x="0" y="0"/>
          <a:ext cx="0" cy="0"/>
          <a:chOff x="0" y="0"/>
          <a:chExt cx="0" cy="0"/>
        </a:xfrm>
      </p:grpSpPr>
      <p:pic>
        <p:nvPicPr>
          <p:cNvPr id="2602" name="Google Shape;2602;p136" descr="Image"/>
          <p:cNvPicPr preferRelativeResize="0"/>
          <p:nvPr/>
        </p:nvPicPr>
        <p:blipFill rotWithShape="1">
          <a:blip r:embed="rId2">
            <a:alphaModFix/>
          </a:blip>
          <a:srcRect/>
          <a:stretch/>
        </p:blipFill>
        <p:spPr>
          <a:xfrm>
            <a:off x="4631080" y="2000251"/>
            <a:ext cx="2929840" cy="2857500"/>
          </a:xfrm>
          <a:prstGeom prst="rect">
            <a:avLst/>
          </a:prstGeom>
          <a:noFill/>
          <a:ln>
            <a:noFill/>
          </a:ln>
        </p:spPr>
      </p:pic>
    </p:spTree>
    <p:extLst>
      <p:ext uri="{BB962C8B-B14F-4D97-AF65-F5344CB8AC3E}">
        <p14:creationId xmlns:p14="http://schemas.microsoft.com/office/powerpoint/2010/main" val="82025157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matchingName="3. Presentation title_1">
  <p:cSld name="3. Presentation title_1">
    <p:bg>
      <p:bgPr>
        <a:gradFill>
          <a:gsLst>
            <a:gs pos="0">
              <a:schemeClr val="accent2"/>
            </a:gs>
            <a:gs pos="50000">
              <a:schemeClr val="accent5"/>
            </a:gs>
            <a:gs pos="100000">
              <a:schemeClr val="accent1"/>
            </a:gs>
          </a:gsLst>
          <a:lin ang="18900044" scaled="0"/>
        </a:gradFill>
        <a:effectLst/>
      </p:bgPr>
    </p:bg>
    <p:spTree>
      <p:nvGrpSpPr>
        <p:cNvPr id="1" name="Shape 2603"/>
        <p:cNvGrpSpPr/>
        <p:nvPr/>
      </p:nvGrpSpPr>
      <p:grpSpPr>
        <a:xfrm>
          <a:off x="0" y="0"/>
          <a:ext cx="0" cy="0"/>
          <a:chOff x="0" y="0"/>
          <a:chExt cx="0" cy="0"/>
        </a:xfrm>
      </p:grpSpPr>
      <p:sp>
        <p:nvSpPr>
          <p:cNvPr id="2604" name="Google Shape;2604;p137"/>
          <p:cNvSpPr txBox="1">
            <a:spLocks noGrp="1"/>
          </p:cNvSpPr>
          <p:nvPr>
            <p:ph type="title"/>
          </p:nvPr>
        </p:nvSpPr>
        <p:spPr>
          <a:xfrm>
            <a:off x="649501" y="2266967"/>
            <a:ext cx="5958400" cy="2324000"/>
          </a:xfrm>
          <a:prstGeom prst="rect">
            <a:avLst/>
          </a:prstGeom>
          <a:noFill/>
          <a:ln>
            <a:noFill/>
          </a:ln>
        </p:spPr>
        <p:txBody>
          <a:bodyPr spcFirstLastPara="1" wrap="square" lIns="34275" tIns="17150" rIns="34275" bIns="17150" anchor="ctr" anchorCtr="0">
            <a:noAutofit/>
          </a:bodyPr>
          <a:lstStyle>
            <a:lvl1pPr marR="0" lvl="0" algn="l" rtl="0">
              <a:lnSpc>
                <a:spcPct val="80000"/>
              </a:lnSpc>
              <a:spcBef>
                <a:spcPts val="0"/>
              </a:spcBef>
              <a:spcAft>
                <a:spcPts val="0"/>
              </a:spcAft>
              <a:buClr>
                <a:schemeClr val="lt2"/>
              </a:buClr>
              <a:buSzPts val="4400"/>
              <a:buNone/>
              <a:defRPr sz="5867" b="1" i="0" u="none" strike="noStrike" cap="none">
                <a:solidFill>
                  <a:schemeClr val="lt2"/>
                </a:solidFill>
              </a:defRPr>
            </a:lvl1pPr>
            <a:lvl2pPr marR="0" lvl="1"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9pPr>
          </a:lstStyle>
          <a:p>
            <a:endParaRPr/>
          </a:p>
        </p:txBody>
      </p:sp>
      <p:pic>
        <p:nvPicPr>
          <p:cNvPr id="2605" name="Google Shape;2605;p137" descr="Image"/>
          <p:cNvPicPr preferRelativeResize="0"/>
          <p:nvPr/>
        </p:nvPicPr>
        <p:blipFill rotWithShape="1">
          <a:blip r:embed="rId2">
            <a:alphaModFix/>
          </a:blip>
          <a:srcRect/>
          <a:stretch/>
        </p:blipFill>
        <p:spPr>
          <a:xfrm>
            <a:off x="649516" y="659704"/>
            <a:ext cx="703161" cy="685800"/>
          </a:xfrm>
          <a:prstGeom prst="rect">
            <a:avLst/>
          </a:prstGeom>
          <a:noFill/>
          <a:ln>
            <a:noFill/>
          </a:ln>
        </p:spPr>
      </p:pic>
      <p:sp>
        <p:nvSpPr>
          <p:cNvPr id="2606" name="Google Shape;2606;p137"/>
          <p:cNvSpPr txBox="1">
            <a:spLocks noGrp="1"/>
          </p:cNvSpPr>
          <p:nvPr>
            <p:ph type="subTitle" idx="1"/>
          </p:nvPr>
        </p:nvSpPr>
        <p:spPr>
          <a:xfrm>
            <a:off x="646176" y="5583936"/>
            <a:ext cx="6827600" cy="792400"/>
          </a:xfrm>
          <a:prstGeom prst="rect">
            <a:avLst/>
          </a:prstGeom>
          <a:noFill/>
          <a:ln>
            <a:noFill/>
          </a:ln>
        </p:spPr>
        <p:txBody>
          <a:bodyPr spcFirstLastPara="1" wrap="square" lIns="91425" tIns="91425" rIns="91425" bIns="91425" anchor="t" anchorCtr="0">
            <a:noAutofit/>
          </a:bodyPr>
          <a:lstStyle>
            <a:lvl1pPr marL="0" marR="0" lvl="0" indent="0" algn="l" rtl="0">
              <a:lnSpc>
                <a:spcPct val="100000"/>
              </a:lnSpc>
              <a:spcBef>
                <a:spcPts val="0"/>
              </a:spcBef>
              <a:spcAft>
                <a:spcPts val="0"/>
              </a:spcAft>
              <a:buClr>
                <a:srgbClr val="F0F6FC"/>
              </a:buClr>
              <a:buSzPts val="1700"/>
              <a:buFont typeface="Arial"/>
              <a:buNone/>
              <a:defRPr sz="2133">
                <a:solidFill>
                  <a:srgbClr val="F0F6FC"/>
                </a:solidFill>
                <a:latin typeface="Roboto Mono"/>
                <a:ea typeface="Roboto Mono"/>
                <a:cs typeface="Roboto Mono"/>
                <a:sym typeface="Roboto Mono"/>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98818578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matchingName="4. Presentation title_2">
  <p:cSld name="4. Presentation title_2">
    <p:bg>
      <p:bgPr>
        <a:gradFill>
          <a:gsLst>
            <a:gs pos="0">
              <a:schemeClr val="accent5"/>
            </a:gs>
            <a:gs pos="50000">
              <a:schemeClr val="accent1"/>
            </a:gs>
            <a:gs pos="100000">
              <a:schemeClr val="accent4"/>
            </a:gs>
          </a:gsLst>
          <a:lin ang="18900044" scaled="0"/>
        </a:gradFill>
        <a:effectLst/>
      </p:bgPr>
    </p:bg>
    <p:spTree>
      <p:nvGrpSpPr>
        <p:cNvPr id="1" name="Shape 2607"/>
        <p:cNvGrpSpPr/>
        <p:nvPr/>
      </p:nvGrpSpPr>
      <p:grpSpPr>
        <a:xfrm>
          <a:off x="0" y="0"/>
          <a:ext cx="0" cy="0"/>
          <a:chOff x="0" y="0"/>
          <a:chExt cx="0" cy="0"/>
        </a:xfrm>
      </p:grpSpPr>
      <p:sp>
        <p:nvSpPr>
          <p:cNvPr id="2608" name="Google Shape;2608;p138"/>
          <p:cNvSpPr txBox="1">
            <a:spLocks noGrp="1"/>
          </p:cNvSpPr>
          <p:nvPr>
            <p:ph type="title"/>
          </p:nvPr>
        </p:nvSpPr>
        <p:spPr>
          <a:xfrm>
            <a:off x="649515" y="2266951"/>
            <a:ext cx="9144000" cy="2324000"/>
          </a:xfrm>
          <a:prstGeom prst="rect">
            <a:avLst/>
          </a:prstGeom>
          <a:noFill/>
          <a:ln>
            <a:noFill/>
          </a:ln>
        </p:spPr>
        <p:txBody>
          <a:bodyPr spcFirstLastPara="1" wrap="square" lIns="34275" tIns="17150" rIns="34275" bIns="17150" anchor="ctr" anchorCtr="0">
            <a:noAutofit/>
          </a:bodyPr>
          <a:lstStyle>
            <a:lvl1pPr marR="0" lvl="0" algn="l" rtl="0">
              <a:lnSpc>
                <a:spcPct val="80000"/>
              </a:lnSpc>
              <a:spcBef>
                <a:spcPts val="0"/>
              </a:spcBef>
              <a:spcAft>
                <a:spcPts val="0"/>
              </a:spcAft>
              <a:buClr>
                <a:schemeClr val="lt2"/>
              </a:buClr>
              <a:buSzPts val="4400"/>
              <a:buNone/>
              <a:defRPr sz="5867" b="1" i="0" u="none" strike="noStrike" cap="none">
                <a:solidFill>
                  <a:schemeClr val="lt2"/>
                </a:solidFill>
              </a:defRPr>
            </a:lvl1pPr>
            <a:lvl2pPr marR="0" lvl="1"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9pPr>
          </a:lstStyle>
          <a:p>
            <a:endParaRPr/>
          </a:p>
        </p:txBody>
      </p:sp>
      <p:pic>
        <p:nvPicPr>
          <p:cNvPr id="2609" name="Google Shape;2609;p138" descr="Image"/>
          <p:cNvPicPr preferRelativeResize="0"/>
          <p:nvPr/>
        </p:nvPicPr>
        <p:blipFill rotWithShape="1">
          <a:blip r:embed="rId2">
            <a:alphaModFix/>
          </a:blip>
          <a:srcRect/>
          <a:stretch/>
        </p:blipFill>
        <p:spPr>
          <a:xfrm>
            <a:off x="649516" y="659704"/>
            <a:ext cx="703161" cy="685800"/>
          </a:xfrm>
          <a:prstGeom prst="rect">
            <a:avLst/>
          </a:prstGeom>
          <a:noFill/>
          <a:ln>
            <a:noFill/>
          </a:ln>
        </p:spPr>
      </p:pic>
      <p:grpSp>
        <p:nvGrpSpPr>
          <p:cNvPr id="2610" name="Google Shape;2610;p138"/>
          <p:cNvGrpSpPr/>
          <p:nvPr/>
        </p:nvGrpSpPr>
        <p:grpSpPr>
          <a:xfrm>
            <a:off x="12253600" y="1"/>
            <a:ext cx="3438989" cy="3424452"/>
            <a:chOff x="22170399" y="777240"/>
            <a:chExt cx="6877978" cy="6848903"/>
          </a:xfrm>
        </p:grpSpPr>
        <p:grpSp>
          <p:nvGrpSpPr>
            <p:cNvPr id="2611" name="Google Shape;2611;p138"/>
            <p:cNvGrpSpPr/>
            <p:nvPr/>
          </p:nvGrpSpPr>
          <p:grpSpPr>
            <a:xfrm>
              <a:off x="22170399" y="777240"/>
              <a:ext cx="6877978" cy="6848903"/>
              <a:chOff x="22155159" y="0"/>
              <a:chExt cx="6877978" cy="6848903"/>
            </a:xfrm>
          </p:grpSpPr>
          <p:sp>
            <p:nvSpPr>
              <p:cNvPr id="2612" name="Google Shape;2612;p138"/>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613" name="Google Shape;2613;p138"/>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614" name="Google Shape;2614;p138"/>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615" name="Google Shape;2615;p138"/>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616" name="Google Shape;2616;p138"/>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617" name="Google Shape;2617;p138"/>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618" name="Google Shape;2618;p138"/>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619" name="Google Shape;2619;p138"/>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620" name="Google Shape;2620;p138"/>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621" name="Google Shape;2621;p138"/>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622" name="Google Shape;2622;p138"/>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623" name="Google Shape;2623;p138"/>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624" name="Google Shape;2624;p138"/>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625" name="Google Shape;2625;p138"/>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2626" name="Google Shape;2626;p138"/>
          <p:cNvSpPr txBox="1">
            <a:spLocks noGrp="1"/>
          </p:cNvSpPr>
          <p:nvPr>
            <p:ph type="subTitle" idx="1"/>
          </p:nvPr>
        </p:nvSpPr>
        <p:spPr>
          <a:xfrm>
            <a:off x="646176" y="5583936"/>
            <a:ext cx="6827600" cy="792400"/>
          </a:xfrm>
          <a:prstGeom prst="rect">
            <a:avLst/>
          </a:prstGeom>
          <a:noFill/>
          <a:ln>
            <a:noFill/>
          </a:ln>
        </p:spPr>
        <p:txBody>
          <a:bodyPr spcFirstLastPara="1" wrap="square" lIns="91425" tIns="91425" rIns="91425" bIns="91425" anchor="t" anchorCtr="0">
            <a:noAutofit/>
          </a:bodyPr>
          <a:lstStyle>
            <a:lvl1pPr marL="0" marR="0" lvl="0" indent="0" algn="l" rtl="0">
              <a:lnSpc>
                <a:spcPct val="100000"/>
              </a:lnSpc>
              <a:spcBef>
                <a:spcPts val="0"/>
              </a:spcBef>
              <a:spcAft>
                <a:spcPts val="0"/>
              </a:spcAft>
              <a:buNone/>
              <a:defRPr sz="2133">
                <a:solidFill>
                  <a:srgbClr val="F0F6FC"/>
                </a:solidFill>
                <a:latin typeface="Roboto Mono"/>
                <a:ea typeface="Roboto Mono"/>
                <a:cs typeface="Roboto Mono"/>
                <a:sym typeface="Roboto Mono"/>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59267070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matchingName="5. Presentation title_3">
  <p:cSld name="5. Presentation title_3">
    <p:spTree>
      <p:nvGrpSpPr>
        <p:cNvPr id="1" name="Shape 2627"/>
        <p:cNvGrpSpPr/>
        <p:nvPr/>
      </p:nvGrpSpPr>
      <p:grpSpPr>
        <a:xfrm>
          <a:off x="0" y="0"/>
          <a:ext cx="0" cy="0"/>
          <a:chOff x="0" y="0"/>
          <a:chExt cx="0" cy="0"/>
        </a:xfrm>
      </p:grpSpPr>
      <p:pic>
        <p:nvPicPr>
          <p:cNvPr id="2628" name="Google Shape;2628;p139" descr="A picture containing night sky&#10;&#10;Description automatically generated"/>
          <p:cNvPicPr preferRelativeResize="0"/>
          <p:nvPr/>
        </p:nvPicPr>
        <p:blipFill rotWithShape="1">
          <a:blip r:embed="rId2">
            <a:alphaModFix/>
          </a:blip>
          <a:srcRect/>
          <a:stretch/>
        </p:blipFill>
        <p:spPr>
          <a:xfrm>
            <a:off x="0" y="1786"/>
            <a:ext cx="12191997" cy="6854429"/>
          </a:xfrm>
          <a:prstGeom prst="rect">
            <a:avLst/>
          </a:prstGeom>
          <a:noFill/>
          <a:ln>
            <a:noFill/>
          </a:ln>
        </p:spPr>
      </p:pic>
      <p:pic>
        <p:nvPicPr>
          <p:cNvPr id="2629" name="Google Shape;2629;p139" descr="Image"/>
          <p:cNvPicPr preferRelativeResize="0"/>
          <p:nvPr/>
        </p:nvPicPr>
        <p:blipFill rotWithShape="1">
          <a:blip r:embed="rId3">
            <a:alphaModFix/>
          </a:blip>
          <a:srcRect/>
          <a:stretch/>
        </p:blipFill>
        <p:spPr>
          <a:xfrm>
            <a:off x="649516" y="659704"/>
            <a:ext cx="703161" cy="685800"/>
          </a:xfrm>
          <a:prstGeom prst="rect">
            <a:avLst/>
          </a:prstGeom>
          <a:noFill/>
          <a:ln>
            <a:noFill/>
          </a:ln>
        </p:spPr>
      </p:pic>
      <p:sp>
        <p:nvSpPr>
          <p:cNvPr id="2630" name="Google Shape;2630;p139"/>
          <p:cNvSpPr txBox="1">
            <a:spLocks noGrp="1"/>
          </p:cNvSpPr>
          <p:nvPr>
            <p:ph type="title"/>
          </p:nvPr>
        </p:nvSpPr>
        <p:spPr>
          <a:xfrm>
            <a:off x="649515" y="2266951"/>
            <a:ext cx="9144000" cy="2324000"/>
          </a:xfrm>
          <a:prstGeom prst="rect">
            <a:avLst/>
          </a:prstGeom>
          <a:noFill/>
          <a:ln>
            <a:noFill/>
          </a:ln>
        </p:spPr>
        <p:txBody>
          <a:bodyPr spcFirstLastPara="1" wrap="square" lIns="34275" tIns="17150" rIns="34275" bIns="17150" anchor="ctr" anchorCtr="0">
            <a:noAutofit/>
          </a:bodyPr>
          <a:lstStyle>
            <a:lvl1pPr marL="0" marR="0" lvl="0" indent="0" algn="l" rtl="0">
              <a:lnSpc>
                <a:spcPct val="80000"/>
              </a:lnSpc>
              <a:spcBef>
                <a:spcPts val="0"/>
              </a:spcBef>
              <a:spcAft>
                <a:spcPts val="0"/>
              </a:spcAft>
              <a:buClr>
                <a:schemeClr val="lt2"/>
              </a:buClr>
              <a:buSzPts val="4400"/>
              <a:buNone/>
              <a:defRPr sz="5867" b="1">
                <a:solidFill>
                  <a:schemeClr val="lt2"/>
                </a:solidFill>
              </a:defRPr>
            </a:lvl1pPr>
            <a:lvl2pPr marR="0" lvl="1"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9pPr>
          </a:lstStyle>
          <a:p>
            <a:endParaRPr/>
          </a:p>
        </p:txBody>
      </p:sp>
      <p:sp>
        <p:nvSpPr>
          <p:cNvPr id="2631" name="Google Shape;2631;p139"/>
          <p:cNvSpPr txBox="1">
            <a:spLocks noGrp="1"/>
          </p:cNvSpPr>
          <p:nvPr>
            <p:ph type="subTitle" idx="1"/>
          </p:nvPr>
        </p:nvSpPr>
        <p:spPr>
          <a:xfrm>
            <a:off x="646176" y="5583936"/>
            <a:ext cx="6827600" cy="792400"/>
          </a:xfrm>
          <a:prstGeom prst="rect">
            <a:avLst/>
          </a:prstGeom>
          <a:noFill/>
          <a:ln>
            <a:noFill/>
          </a:ln>
        </p:spPr>
        <p:txBody>
          <a:bodyPr spcFirstLastPara="1" wrap="square" lIns="91425" tIns="91425" rIns="91425" bIns="91425" anchor="t" anchorCtr="0">
            <a:noAutofit/>
          </a:bodyPr>
          <a:lstStyle>
            <a:lvl1pPr marL="0" marR="0" lvl="0" indent="0" algn="l" rtl="0">
              <a:lnSpc>
                <a:spcPct val="100000"/>
              </a:lnSpc>
              <a:spcBef>
                <a:spcPts val="0"/>
              </a:spcBef>
              <a:spcAft>
                <a:spcPts val="0"/>
              </a:spcAft>
              <a:buNone/>
              <a:defRPr sz="2133">
                <a:solidFill>
                  <a:srgbClr val="F0F6FC"/>
                </a:solidFill>
                <a:latin typeface="Roboto Mono"/>
                <a:ea typeface="Roboto Mono"/>
                <a:cs typeface="Roboto Mono"/>
                <a:sym typeface="Roboto Mono"/>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34584814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matchingName="6. Presentation title_4">
  <p:cSld name="6. Presentation title_4">
    <p:spTree>
      <p:nvGrpSpPr>
        <p:cNvPr id="1" name="Shape 2632"/>
        <p:cNvGrpSpPr/>
        <p:nvPr/>
      </p:nvGrpSpPr>
      <p:grpSpPr>
        <a:xfrm>
          <a:off x="0" y="0"/>
          <a:ext cx="0" cy="0"/>
          <a:chOff x="0" y="0"/>
          <a:chExt cx="0" cy="0"/>
        </a:xfrm>
      </p:grpSpPr>
      <p:pic>
        <p:nvPicPr>
          <p:cNvPr id="2633" name="Google Shape;2633;p140"/>
          <p:cNvPicPr preferRelativeResize="0"/>
          <p:nvPr/>
        </p:nvPicPr>
        <p:blipFill rotWithShape="1">
          <a:blip r:embed="rId2">
            <a:alphaModFix/>
          </a:blip>
          <a:srcRect/>
          <a:stretch/>
        </p:blipFill>
        <p:spPr>
          <a:xfrm>
            <a:off x="0" y="1"/>
            <a:ext cx="12192000" cy="6858001"/>
          </a:xfrm>
          <a:prstGeom prst="rect">
            <a:avLst/>
          </a:prstGeom>
          <a:noFill/>
          <a:ln>
            <a:noFill/>
          </a:ln>
        </p:spPr>
      </p:pic>
      <p:pic>
        <p:nvPicPr>
          <p:cNvPr id="2634" name="Google Shape;2634;p140" descr="Image"/>
          <p:cNvPicPr preferRelativeResize="0"/>
          <p:nvPr/>
        </p:nvPicPr>
        <p:blipFill rotWithShape="1">
          <a:blip r:embed="rId3">
            <a:alphaModFix/>
          </a:blip>
          <a:srcRect/>
          <a:stretch/>
        </p:blipFill>
        <p:spPr>
          <a:xfrm>
            <a:off x="649516" y="659704"/>
            <a:ext cx="703161" cy="685800"/>
          </a:xfrm>
          <a:prstGeom prst="rect">
            <a:avLst/>
          </a:prstGeom>
          <a:noFill/>
          <a:ln>
            <a:noFill/>
          </a:ln>
        </p:spPr>
      </p:pic>
      <p:sp>
        <p:nvSpPr>
          <p:cNvPr id="2635" name="Google Shape;2635;p140"/>
          <p:cNvSpPr txBox="1">
            <a:spLocks noGrp="1"/>
          </p:cNvSpPr>
          <p:nvPr>
            <p:ph type="title"/>
          </p:nvPr>
        </p:nvSpPr>
        <p:spPr>
          <a:xfrm>
            <a:off x="649515" y="2266951"/>
            <a:ext cx="9144000" cy="2324000"/>
          </a:xfrm>
          <a:prstGeom prst="rect">
            <a:avLst/>
          </a:prstGeom>
          <a:noFill/>
          <a:ln>
            <a:noFill/>
          </a:ln>
        </p:spPr>
        <p:txBody>
          <a:bodyPr spcFirstLastPara="1" wrap="square" lIns="34275" tIns="17150" rIns="34275" bIns="17150" anchor="ctr" anchorCtr="0">
            <a:noAutofit/>
          </a:bodyPr>
          <a:lstStyle>
            <a:lvl1pPr marL="0" marR="0" lvl="0" indent="0" algn="l" rtl="0">
              <a:lnSpc>
                <a:spcPct val="80000"/>
              </a:lnSpc>
              <a:spcBef>
                <a:spcPts val="0"/>
              </a:spcBef>
              <a:spcAft>
                <a:spcPts val="0"/>
              </a:spcAft>
              <a:buClr>
                <a:schemeClr val="lt2"/>
              </a:buClr>
              <a:buSzPts val="4400"/>
              <a:buNone/>
              <a:defRPr sz="5867" b="1">
                <a:solidFill>
                  <a:schemeClr val="lt2"/>
                </a:solidFill>
              </a:defRPr>
            </a:lvl1pPr>
            <a:lvl2pPr marR="0" lvl="1"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9pPr>
          </a:lstStyle>
          <a:p>
            <a:endParaRPr/>
          </a:p>
        </p:txBody>
      </p:sp>
      <p:sp>
        <p:nvSpPr>
          <p:cNvPr id="2636" name="Google Shape;2636;p140"/>
          <p:cNvSpPr txBox="1">
            <a:spLocks noGrp="1"/>
          </p:cNvSpPr>
          <p:nvPr>
            <p:ph type="subTitle" idx="1"/>
          </p:nvPr>
        </p:nvSpPr>
        <p:spPr>
          <a:xfrm>
            <a:off x="646176" y="5583936"/>
            <a:ext cx="6827600" cy="792400"/>
          </a:xfrm>
          <a:prstGeom prst="rect">
            <a:avLst/>
          </a:prstGeom>
          <a:noFill/>
          <a:ln>
            <a:noFill/>
          </a:ln>
        </p:spPr>
        <p:txBody>
          <a:bodyPr spcFirstLastPara="1" wrap="square" lIns="91425" tIns="91425" rIns="91425" bIns="91425" anchor="t" anchorCtr="0">
            <a:noAutofit/>
          </a:bodyPr>
          <a:lstStyle>
            <a:lvl1pPr marL="0" marR="0" lvl="0" indent="0" algn="l" rtl="0">
              <a:lnSpc>
                <a:spcPct val="100000"/>
              </a:lnSpc>
              <a:spcBef>
                <a:spcPts val="0"/>
              </a:spcBef>
              <a:spcAft>
                <a:spcPts val="0"/>
              </a:spcAft>
              <a:buNone/>
              <a:defRPr sz="2133">
                <a:solidFill>
                  <a:srgbClr val="F0F6FC"/>
                </a:solidFill>
                <a:latin typeface="Roboto Mono"/>
                <a:ea typeface="Roboto Mono"/>
                <a:cs typeface="Roboto Mono"/>
                <a:sym typeface="Roboto Mono"/>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275897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2_SECTION ALT">
    <p:spTree>
      <p:nvGrpSpPr>
        <p:cNvPr id="1" name=""/>
        <p:cNvGrpSpPr/>
        <p:nvPr/>
      </p:nvGrpSpPr>
      <p:grpSpPr>
        <a:xfrm>
          <a:off x="0" y="0"/>
          <a:ext cx="0" cy="0"/>
          <a:chOff x="0" y="0"/>
          <a:chExt cx="0" cy="0"/>
        </a:xfrm>
      </p:grpSpPr>
      <p:sp>
        <p:nvSpPr>
          <p:cNvPr id="11" name="Freeform 10"/>
          <p:cNvSpPr>
            <a:spLocks/>
          </p:cNvSpPr>
          <p:nvPr userDrawn="1"/>
        </p:nvSpPr>
        <p:spPr bwMode="white">
          <a:xfrm rot="10800000">
            <a:off x="0" y="-2"/>
            <a:ext cx="4202723" cy="6860381"/>
          </a:xfrm>
          <a:prstGeom prst="rect">
            <a:avLst/>
          </a:prstGeom>
          <a:solidFill>
            <a:srgbClr val="0078D4"/>
          </a:solidFill>
          <a:ln>
            <a:noFill/>
          </a:ln>
        </p:spPr>
        <p:txBody>
          <a:bodyPr vert="horz" wrap="square" lIns="89630" tIns="44814" rIns="89630" bIns="44814" numCol="1" anchor="t" anchorCtr="0" compatLnSpc="1">
            <a:prstTxWarp prst="textNoShape">
              <a:avLst/>
            </a:prstTxWarp>
            <a:noAutofit/>
          </a:bodyPr>
          <a:lstStyle/>
          <a:p>
            <a:endParaRPr lang="en-US" sz="2129"/>
          </a:p>
        </p:txBody>
      </p:sp>
      <p:pic>
        <p:nvPicPr>
          <p:cNvPr id="3" name="Picture 2">
            <a:extLst>
              <a:ext uri="{FF2B5EF4-FFF2-40B4-BE49-F238E27FC236}">
                <a16:creationId xmlns:a16="http://schemas.microsoft.com/office/drawing/2014/main" id="{04F96CB1-5F59-4B71-A4FA-A7BE413A90B5}"/>
              </a:ext>
            </a:extLst>
          </p:cNvPr>
          <p:cNvPicPr>
            <a:picLocks/>
          </p:cNvPicPr>
          <p:nvPr userDrawn="1"/>
        </p:nvPicPr>
        <p:blipFill rotWithShape="1">
          <a:blip r:embed="rId3" cstate="print">
            <a:extLst>
              <a:ext uri="{28A0092B-C50C-407E-A947-70E740481C1C}">
                <a14:useLocalDpi xmlns:a14="http://schemas.microsoft.com/office/drawing/2010/main" val="0"/>
              </a:ext>
            </a:extLst>
          </a:blip>
          <a:srcRect b="-88"/>
          <a:stretch/>
        </p:blipFill>
        <p:spPr>
          <a:xfrm>
            <a:off x="4202723" y="0"/>
            <a:ext cx="7989277" cy="6864021"/>
          </a:xfrm>
          <a:prstGeom prst="rect">
            <a:avLst/>
          </a:prstGeom>
        </p:spPr>
      </p:pic>
    </p:spTree>
    <p:custDataLst>
      <p:tags r:id="rId1"/>
    </p:custDataLst>
    <p:extLst>
      <p:ext uri="{BB962C8B-B14F-4D97-AF65-F5344CB8AC3E}">
        <p14:creationId xmlns:p14="http://schemas.microsoft.com/office/powerpoint/2010/main" val="3707028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matchingName="3. Presentation title_1 1">
  <p:cSld name="3. Presentation title_1 1">
    <p:spTree>
      <p:nvGrpSpPr>
        <p:cNvPr id="1" name="Shape 2637"/>
        <p:cNvGrpSpPr/>
        <p:nvPr/>
      </p:nvGrpSpPr>
      <p:grpSpPr>
        <a:xfrm>
          <a:off x="0" y="0"/>
          <a:ext cx="0" cy="0"/>
          <a:chOff x="0" y="0"/>
          <a:chExt cx="0" cy="0"/>
        </a:xfrm>
      </p:grpSpPr>
      <p:pic>
        <p:nvPicPr>
          <p:cNvPr id="2638" name="Google Shape;2638;p141" descr="A picture containing indoor, flower, plant, dark&#10;&#10;Description automatically generated"/>
          <p:cNvPicPr preferRelativeResize="0"/>
          <p:nvPr/>
        </p:nvPicPr>
        <p:blipFill rotWithShape="1">
          <a:blip r:embed="rId2">
            <a:alphaModFix/>
          </a:blip>
          <a:srcRect/>
          <a:stretch/>
        </p:blipFill>
        <p:spPr>
          <a:xfrm>
            <a:off x="6425676" y="424059"/>
            <a:ext cx="5116808" cy="6009883"/>
          </a:xfrm>
          <a:prstGeom prst="rect">
            <a:avLst/>
          </a:prstGeom>
          <a:noFill/>
          <a:ln>
            <a:noFill/>
          </a:ln>
        </p:spPr>
      </p:pic>
      <p:sp>
        <p:nvSpPr>
          <p:cNvPr id="2639" name="Google Shape;2639;p141"/>
          <p:cNvSpPr txBox="1">
            <a:spLocks noGrp="1"/>
          </p:cNvSpPr>
          <p:nvPr>
            <p:ph type="title"/>
          </p:nvPr>
        </p:nvSpPr>
        <p:spPr>
          <a:xfrm>
            <a:off x="649501" y="2266967"/>
            <a:ext cx="5958400" cy="2324000"/>
          </a:xfrm>
          <a:prstGeom prst="rect">
            <a:avLst/>
          </a:prstGeom>
          <a:noFill/>
          <a:ln>
            <a:noFill/>
          </a:ln>
        </p:spPr>
        <p:txBody>
          <a:bodyPr spcFirstLastPara="1" wrap="square" lIns="34275" tIns="17150" rIns="34275" bIns="17150" anchor="ctr" anchorCtr="0">
            <a:noAutofit/>
          </a:bodyPr>
          <a:lstStyle>
            <a:lvl1pPr marR="0" lvl="0" algn="l" rtl="0">
              <a:lnSpc>
                <a:spcPct val="80000"/>
              </a:lnSpc>
              <a:spcBef>
                <a:spcPts val="0"/>
              </a:spcBef>
              <a:spcAft>
                <a:spcPts val="0"/>
              </a:spcAft>
              <a:buClr>
                <a:schemeClr val="lt2"/>
              </a:buClr>
              <a:buSzPts val="4400"/>
              <a:buNone/>
              <a:defRPr sz="5867" b="1" i="0" u="none" strike="noStrike" cap="none">
                <a:solidFill>
                  <a:schemeClr val="lt2"/>
                </a:solidFill>
              </a:defRPr>
            </a:lvl1pPr>
            <a:lvl2pPr marR="0" lvl="1"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4400"/>
              <a:buFont typeface="Arial"/>
              <a:buNone/>
              <a:defRPr sz="5867" b="1" i="0" u="none" strike="noStrike" cap="none">
                <a:solidFill>
                  <a:srgbClr val="F0F6FC"/>
                </a:solidFill>
                <a:latin typeface="Arial"/>
                <a:ea typeface="Arial"/>
                <a:cs typeface="Arial"/>
                <a:sym typeface="Arial"/>
              </a:defRPr>
            </a:lvl9pPr>
          </a:lstStyle>
          <a:p>
            <a:endParaRPr/>
          </a:p>
        </p:txBody>
      </p:sp>
      <p:pic>
        <p:nvPicPr>
          <p:cNvPr id="2640" name="Google Shape;2640;p141" descr="Image"/>
          <p:cNvPicPr preferRelativeResize="0"/>
          <p:nvPr/>
        </p:nvPicPr>
        <p:blipFill rotWithShape="1">
          <a:blip r:embed="rId3">
            <a:alphaModFix/>
          </a:blip>
          <a:srcRect/>
          <a:stretch/>
        </p:blipFill>
        <p:spPr>
          <a:xfrm>
            <a:off x="649516" y="659704"/>
            <a:ext cx="703161" cy="685800"/>
          </a:xfrm>
          <a:prstGeom prst="rect">
            <a:avLst/>
          </a:prstGeom>
          <a:noFill/>
          <a:ln>
            <a:noFill/>
          </a:ln>
        </p:spPr>
      </p:pic>
      <p:sp>
        <p:nvSpPr>
          <p:cNvPr id="2641" name="Google Shape;2641;p141"/>
          <p:cNvSpPr txBox="1">
            <a:spLocks noGrp="1"/>
          </p:cNvSpPr>
          <p:nvPr>
            <p:ph type="subTitle" idx="1"/>
          </p:nvPr>
        </p:nvSpPr>
        <p:spPr>
          <a:xfrm>
            <a:off x="646176" y="5583936"/>
            <a:ext cx="6827600" cy="792400"/>
          </a:xfrm>
          <a:prstGeom prst="rect">
            <a:avLst/>
          </a:prstGeom>
          <a:noFill/>
          <a:ln>
            <a:noFill/>
          </a:ln>
        </p:spPr>
        <p:txBody>
          <a:bodyPr spcFirstLastPara="1" wrap="square" lIns="91425" tIns="91425" rIns="91425" bIns="91425" anchor="t" anchorCtr="0">
            <a:noAutofit/>
          </a:bodyPr>
          <a:lstStyle>
            <a:lvl1pPr marL="0" marR="0" lvl="0" indent="0" algn="l" rtl="0">
              <a:lnSpc>
                <a:spcPct val="100000"/>
              </a:lnSpc>
              <a:spcBef>
                <a:spcPts val="0"/>
              </a:spcBef>
              <a:spcAft>
                <a:spcPts val="0"/>
              </a:spcAft>
              <a:buClr>
                <a:srgbClr val="F0F6FC"/>
              </a:buClr>
              <a:buSzPts val="1700"/>
              <a:buFont typeface="Arial"/>
              <a:buNone/>
              <a:defRPr sz="2133">
                <a:solidFill>
                  <a:srgbClr val="F0F6FC"/>
                </a:solidFill>
                <a:latin typeface="Roboto Mono"/>
                <a:ea typeface="Roboto Mono"/>
                <a:cs typeface="Roboto Mono"/>
                <a:sym typeface="Roboto Mono"/>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5694597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matchingName="7. One Speaker_1">
  <p:cSld name="7. One Speaker_1">
    <p:spTree>
      <p:nvGrpSpPr>
        <p:cNvPr id="1" name="Shape 2642"/>
        <p:cNvGrpSpPr/>
        <p:nvPr/>
      </p:nvGrpSpPr>
      <p:grpSpPr>
        <a:xfrm>
          <a:off x="0" y="0"/>
          <a:ext cx="0" cy="0"/>
          <a:chOff x="0" y="0"/>
          <a:chExt cx="0" cy="0"/>
        </a:xfrm>
      </p:grpSpPr>
      <p:pic>
        <p:nvPicPr>
          <p:cNvPr id="2643" name="Google Shape;2643;p142"/>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2644" name="Google Shape;2644;p142"/>
          <p:cNvSpPr>
            <a:spLocks noGrp="1"/>
          </p:cNvSpPr>
          <p:nvPr>
            <p:ph type="pic" idx="2"/>
          </p:nvPr>
        </p:nvSpPr>
        <p:spPr>
          <a:xfrm>
            <a:off x="1849629" y="2286000"/>
            <a:ext cx="2286000" cy="22860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sp>
        <p:nvSpPr>
          <p:cNvPr id="2645" name="Google Shape;2645;p142"/>
          <p:cNvSpPr txBox="1">
            <a:spLocks noGrp="1"/>
          </p:cNvSpPr>
          <p:nvPr>
            <p:ph type="title"/>
          </p:nvPr>
        </p:nvSpPr>
        <p:spPr>
          <a:xfrm>
            <a:off x="4547616" y="2438400"/>
            <a:ext cx="5779200" cy="9876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4800" b="1">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46" name="Google Shape;2646;p142"/>
          <p:cNvSpPr txBox="1">
            <a:spLocks noGrp="1"/>
          </p:cNvSpPr>
          <p:nvPr>
            <p:ph type="subTitle" idx="1"/>
          </p:nvPr>
        </p:nvSpPr>
        <p:spPr>
          <a:xfrm>
            <a:off x="4547616" y="3535680"/>
            <a:ext cx="57792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47" name="Google Shape;2647;p142"/>
          <p:cNvSpPr txBox="1">
            <a:spLocks noGrp="1"/>
          </p:cNvSpPr>
          <p:nvPr>
            <p:ph type="subTitle" idx="3"/>
          </p:nvPr>
        </p:nvSpPr>
        <p:spPr>
          <a:xfrm>
            <a:off x="4547616" y="4035552"/>
            <a:ext cx="57792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8B949E"/>
              </a:buClr>
              <a:buSzPts val="1100"/>
              <a:buFont typeface="Arial"/>
              <a:buNone/>
              <a:defRPr sz="1333">
                <a:solidFill>
                  <a:srgbClr val="8B949E"/>
                </a:solidFill>
                <a:latin typeface="Roboto Mono"/>
                <a:ea typeface="Roboto Mono"/>
                <a:cs typeface="Roboto Mono"/>
                <a:sym typeface="Roboto Mono"/>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53513741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matchingName="8. One Speaker_2">
  <p:cSld name="8. One Speaker_2">
    <p:spTree>
      <p:nvGrpSpPr>
        <p:cNvPr id="1" name="Shape 2648"/>
        <p:cNvGrpSpPr/>
        <p:nvPr/>
      </p:nvGrpSpPr>
      <p:grpSpPr>
        <a:xfrm>
          <a:off x="0" y="0"/>
          <a:ext cx="0" cy="0"/>
          <a:chOff x="0" y="0"/>
          <a:chExt cx="0" cy="0"/>
        </a:xfrm>
      </p:grpSpPr>
      <p:pic>
        <p:nvPicPr>
          <p:cNvPr id="2649" name="Google Shape;2649;p143"/>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2650" name="Google Shape;2650;p143"/>
          <p:cNvSpPr>
            <a:spLocks noGrp="1"/>
          </p:cNvSpPr>
          <p:nvPr>
            <p:ph type="pic" idx="2"/>
          </p:nvPr>
        </p:nvSpPr>
        <p:spPr>
          <a:xfrm>
            <a:off x="1849629" y="2286000"/>
            <a:ext cx="2286000" cy="22860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sp>
        <p:nvSpPr>
          <p:cNvPr id="2651" name="Google Shape;2651;p143"/>
          <p:cNvSpPr txBox="1">
            <a:spLocks noGrp="1"/>
          </p:cNvSpPr>
          <p:nvPr>
            <p:ph type="title"/>
          </p:nvPr>
        </p:nvSpPr>
        <p:spPr>
          <a:xfrm>
            <a:off x="4547616" y="2438400"/>
            <a:ext cx="5779200" cy="9876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4800" b="1">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52" name="Google Shape;2652;p143"/>
          <p:cNvSpPr txBox="1">
            <a:spLocks noGrp="1"/>
          </p:cNvSpPr>
          <p:nvPr>
            <p:ph type="subTitle" idx="1"/>
          </p:nvPr>
        </p:nvSpPr>
        <p:spPr>
          <a:xfrm>
            <a:off x="4547616" y="3535680"/>
            <a:ext cx="57792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53" name="Google Shape;2653;p143"/>
          <p:cNvSpPr txBox="1">
            <a:spLocks noGrp="1"/>
          </p:cNvSpPr>
          <p:nvPr>
            <p:ph type="subTitle" idx="3"/>
          </p:nvPr>
        </p:nvSpPr>
        <p:spPr>
          <a:xfrm>
            <a:off x="4547616" y="4035552"/>
            <a:ext cx="57792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1333">
                <a:solidFill>
                  <a:srgbClr val="8B949E"/>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285334738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matchingName="9. One Speaker_3">
  <p:cSld name="9. One Speaker_3">
    <p:bg>
      <p:bgPr>
        <a:gradFill>
          <a:gsLst>
            <a:gs pos="0">
              <a:srgbClr val="A371F7"/>
            </a:gs>
            <a:gs pos="52999">
              <a:schemeClr val="accent5"/>
            </a:gs>
            <a:gs pos="100000">
              <a:schemeClr val="accent2"/>
            </a:gs>
          </a:gsLst>
          <a:lin ang="18900044" scaled="0"/>
        </a:gradFill>
        <a:effectLst/>
      </p:bgPr>
    </p:bg>
    <p:spTree>
      <p:nvGrpSpPr>
        <p:cNvPr id="1" name="Shape 2654"/>
        <p:cNvGrpSpPr/>
        <p:nvPr/>
      </p:nvGrpSpPr>
      <p:grpSpPr>
        <a:xfrm>
          <a:off x="0" y="0"/>
          <a:ext cx="0" cy="0"/>
          <a:chOff x="0" y="0"/>
          <a:chExt cx="0" cy="0"/>
        </a:xfrm>
      </p:grpSpPr>
      <p:sp>
        <p:nvSpPr>
          <p:cNvPr id="2655" name="Google Shape;2655;p144"/>
          <p:cNvSpPr>
            <a:spLocks noGrp="1"/>
          </p:cNvSpPr>
          <p:nvPr>
            <p:ph type="pic" idx="2"/>
          </p:nvPr>
        </p:nvSpPr>
        <p:spPr>
          <a:xfrm>
            <a:off x="1849629" y="2286000"/>
            <a:ext cx="2286000" cy="22860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sp>
        <p:nvSpPr>
          <p:cNvPr id="2656" name="Google Shape;2656;p144"/>
          <p:cNvSpPr txBox="1">
            <a:spLocks noGrp="1"/>
          </p:cNvSpPr>
          <p:nvPr>
            <p:ph type="title"/>
          </p:nvPr>
        </p:nvSpPr>
        <p:spPr>
          <a:xfrm>
            <a:off x="4547616" y="2438400"/>
            <a:ext cx="5779200" cy="9876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4800" b="1">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57" name="Google Shape;2657;p144"/>
          <p:cNvSpPr txBox="1">
            <a:spLocks noGrp="1"/>
          </p:cNvSpPr>
          <p:nvPr>
            <p:ph type="subTitle" idx="1"/>
          </p:nvPr>
        </p:nvSpPr>
        <p:spPr>
          <a:xfrm>
            <a:off x="4547616" y="3535680"/>
            <a:ext cx="57792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58" name="Google Shape;2658;p144"/>
          <p:cNvSpPr txBox="1">
            <a:spLocks noGrp="1"/>
          </p:cNvSpPr>
          <p:nvPr>
            <p:ph type="subTitle" idx="3"/>
          </p:nvPr>
        </p:nvSpPr>
        <p:spPr>
          <a:xfrm>
            <a:off x="4547616" y="4035552"/>
            <a:ext cx="57792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1333">
                <a:solidFill>
                  <a:schemeClr val="lt1"/>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96100526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matchingName="10. One Speaker_4">
  <p:cSld name="10. One Speaker_4">
    <p:bg>
      <p:bgPr>
        <a:gradFill>
          <a:gsLst>
            <a:gs pos="0">
              <a:srgbClr val="56D364"/>
            </a:gs>
            <a:gs pos="100000">
              <a:srgbClr val="388BFD"/>
            </a:gs>
          </a:gsLst>
          <a:lin ang="18900044" scaled="0"/>
        </a:gradFill>
        <a:effectLst/>
      </p:bgPr>
    </p:bg>
    <p:spTree>
      <p:nvGrpSpPr>
        <p:cNvPr id="1" name="Shape 2659"/>
        <p:cNvGrpSpPr/>
        <p:nvPr/>
      </p:nvGrpSpPr>
      <p:grpSpPr>
        <a:xfrm>
          <a:off x="0" y="0"/>
          <a:ext cx="0" cy="0"/>
          <a:chOff x="0" y="0"/>
          <a:chExt cx="0" cy="0"/>
        </a:xfrm>
      </p:grpSpPr>
      <p:sp>
        <p:nvSpPr>
          <p:cNvPr id="2660" name="Google Shape;2660;p145"/>
          <p:cNvSpPr>
            <a:spLocks noGrp="1"/>
          </p:cNvSpPr>
          <p:nvPr>
            <p:ph type="pic" idx="2"/>
          </p:nvPr>
        </p:nvSpPr>
        <p:spPr>
          <a:xfrm>
            <a:off x="1849629" y="2286000"/>
            <a:ext cx="2286000" cy="22860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sp>
        <p:nvSpPr>
          <p:cNvPr id="2661" name="Google Shape;2661;p145"/>
          <p:cNvSpPr txBox="1">
            <a:spLocks noGrp="1"/>
          </p:cNvSpPr>
          <p:nvPr>
            <p:ph type="title"/>
          </p:nvPr>
        </p:nvSpPr>
        <p:spPr>
          <a:xfrm>
            <a:off x="4547616" y="2438400"/>
            <a:ext cx="5779200" cy="9876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4800" b="1">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62" name="Google Shape;2662;p145"/>
          <p:cNvSpPr txBox="1">
            <a:spLocks noGrp="1"/>
          </p:cNvSpPr>
          <p:nvPr>
            <p:ph type="subTitle" idx="1"/>
          </p:nvPr>
        </p:nvSpPr>
        <p:spPr>
          <a:xfrm>
            <a:off x="4547616" y="3535680"/>
            <a:ext cx="57792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63" name="Google Shape;2663;p145"/>
          <p:cNvSpPr txBox="1">
            <a:spLocks noGrp="1"/>
          </p:cNvSpPr>
          <p:nvPr>
            <p:ph type="subTitle" idx="3"/>
          </p:nvPr>
        </p:nvSpPr>
        <p:spPr>
          <a:xfrm>
            <a:off x="4547616" y="4035552"/>
            <a:ext cx="57792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1333">
                <a:solidFill>
                  <a:schemeClr val="lt1"/>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156259458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matchingName="11. Two Speakers_1">
  <p:cSld name="11. Two Speakers_1">
    <p:bg>
      <p:bgPr>
        <a:solidFill>
          <a:srgbClr val="0A0C10"/>
        </a:solidFill>
        <a:effectLst/>
      </p:bgPr>
    </p:bg>
    <p:spTree>
      <p:nvGrpSpPr>
        <p:cNvPr id="1" name="Shape 2664"/>
        <p:cNvGrpSpPr/>
        <p:nvPr/>
      </p:nvGrpSpPr>
      <p:grpSpPr>
        <a:xfrm>
          <a:off x="0" y="0"/>
          <a:ext cx="0" cy="0"/>
          <a:chOff x="0" y="0"/>
          <a:chExt cx="0" cy="0"/>
        </a:xfrm>
      </p:grpSpPr>
      <p:pic>
        <p:nvPicPr>
          <p:cNvPr id="2665" name="Google Shape;2665;p146"/>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2666" name="Google Shape;2666;p146"/>
          <p:cNvSpPr>
            <a:spLocks noGrp="1"/>
          </p:cNvSpPr>
          <p:nvPr>
            <p:ph type="pic" idx="2"/>
          </p:nvPr>
        </p:nvSpPr>
        <p:spPr>
          <a:xfrm>
            <a:off x="498679" y="4194796"/>
            <a:ext cx="1143200" cy="11432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cxnSp>
        <p:nvCxnSpPr>
          <p:cNvPr id="2667" name="Google Shape;2667;p146"/>
          <p:cNvCxnSpPr/>
          <p:nvPr/>
        </p:nvCxnSpPr>
        <p:spPr>
          <a:xfrm>
            <a:off x="603792" y="3429000"/>
            <a:ext cx="10984400" cy="0"/>
          </a:xfrm>
          <a:prstGeom prst="straightConnector1">
            <a:avLst/>
          </a:prstGeom>
          <a:noFill/>
          <a:ln w="19050" cap="rnd" cmpd="sng">
            <a:solidFill>
              <a:schemeClr val="accent1"/>
            </a:solidFill>
            <a:prstDash val="solid"/>
            <a:round/>
            <a:headEnd type="none" w="sm" len="sm"/>
            <a:tailEnd type="none" w="sm" len="sm"/>
          </a:ln>
        </p:spPr>
      </p:cxnSp>
      <p:sp>
        <p:nvSpPr>
          <p:cNvPr id="2668" name="Google Shape;2668;p146"/>
          <p:cNvSpPr>
            <a:spLocks noGrp="1"/>
          </p:cNvSpPr>
          <p:nvPr>
            <p:ph type="pic" idx="3"/>
          </p:nvPr>
        </p:nvSpPr>
        <p:spPr>
          <a:xfrm>
            <a:off x="6383365" y="4194796"/>
            <a:ext cx="1143200" cy="11432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sp>
        <p:nvSpPr>
          <p:cNvPr id="2669" name="Google Shape;2669;p146"/>
          <p:cNvSpPr txBox="1">
            <a:spLocks noGrp="1"/>
          </p:cNvSpPr>
          <p:nvPr>
            <p:ph type="title"/>
          </p:nvPr>
        </p:nvSpPr>
        <p:spPr>
          <a:xfrm>
            <a:off x="609600" y="1840992"/>
            <a:ext cx="9144000" cy="98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None/>
              <a:defRPr sz="4800" b="1">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70" name="Google Shape;2670;p146"/>
          <p:cNvSpPr txBox="1">
            <a:spLocks noGrp="1"/>
          </p:cNvSpPr>
          <p:nvPr>
            <p:ph type="title" idx="4"/>
          </p:nvPr>
        </p:nvSpPr>
        <p:spPr>
          <a:xfrm>
            <a:off x="1877568" y="4145280"/>
            <a:ext cx="3816000" cy="585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2133">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71" name="Google Shape;2671;p146"/>
          <p:cNvSpPr txBox="1">
            <a:spLocks noGrp="1"/>
          </p:cNvSpPr>
          <p:nvPr>
            <p:ph type="subTitle" idx="1"/>
          </p:nvPr>
        </p:nvSpPr>
        <p:spPr>
          <a:xfrm>
            <a:off x="1877568" y="4767072"/>
            <a:ext cx="38160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72" name="Google Shape;2672;p146"/>
          <p:cNvSpPr txBox="1">
            <a:spLocks noGrp="1"/>
          </p:cNvSpPr>
          <p:nvPr>
            <p:ph type="subTitle" idx="5"/>
          </p:nvPr>
        </p:nvSpPr>
        <p:spPr>
          <a:xfrm>
            <a:off x="1877568" y="5047488"/>
            <a:ext cx="38160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1333">
                <a:solidFill>
                  <a:schemeClr val="lt1"/>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73" name="Google Shape;2673;p146"/>
          <p:cNvSpPr txBox="1">
            <a:spLocks noGrp="1"/>
          </p:cNvSpPr>
          <p:nvPr>
            <p:ph type="title" idx="6"/>
          </p:nvPr>
        </p:nvSpPr>
        <p:spPr>
          <a:xfrm>
            <a:off x="7766304" y="4194813"/>
            <a:ext cx="3816000" cy="585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2133">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74" name="Google Shape;2674;p146"/>
          <p:cNvSpPr txBox="1">
            <a:spLocks noGrp="1"/>
          </p:cNvSpPr>
          <p:nvPr>
            <p:ph type="subTitle" idx="7"/>
          </p:nvPr>
        </p:nvSpPr>
        <p:spPr>
          <a:xfrm>
            <a:off x="7766304" y="4816605"/>
            <a:ext cx="38160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75" name="Google Shape;2675;p146"/>
          <p:cNvSpPr txBox="1">
            <a:spLocks noGrp="1"/>
          </p:cNvSpPr>
          <p:nvPr>
            <p:ph type="subTitle" idx="8"/>
          </p:nvPr>
        </p:nvSpPr>
        <p:spPr>
          <a:xfrm>
            <a:off x="7766304" y="5097021"/>
            <a:ext cx="38160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1333">
                <a:solidFill>
                  <a:schemeClr val="lt1"/>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363587337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matchingName="12. Two Speakers_2">
  <p:cSld name="12. Two Speakers_2">
    <p:bg>
      <p:bgPr>
        <a:blipFill>
          <a:blip r:embed="rId2">
            <a:alphaModFix/>
          </a:blip>
          <a:stretch>
            <a:fillRect/>
          </a:stretch>
        </a:blipFill>
        <a:effectLst/>
      </p:bgPr>
    </p:bg>
    <p:spTree>
      <p:nvGrpSpPr>
        <p:cNvPr id="1" name="Shape 2676"/>
        <p:cNvGrpSpPr/>
        <p:nvPr/>
      </p:nvGrpSpPr>
      <p:grpSpPr>
        <a:xfrm>
          <a:off x="0" y="0"/>
          <a:ext cx="0" cy="0"/>
          <a:chOff x="0" y="0"/>
          <a:chExt cx="0" cy="0"/>
        </a:xfrm>
      </p:grpSpPr>
      <p:sp>
        <p:nvSpPr>
          <p:cNvPr id="2677" name="Google Shape;2677;p147"/>
          <p:cNvSpPr>
            <a:spLocks noGrp="1"/>
          </p:cNvSpPr>
          <p:nvPr>
            <p:ph type="pic" idx="2"/>
          </p:nvPr>
        </p:nvSpPr>
        <p:spPr>
          <a:xfrm>
            <a:off x="498679" y="4194796"/>
            <a:ext cx="1143200" cy="11432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cxnSp>
        <p:nvCxnSpPr>
          <p:cNvPr id="2678" name="Google Shape;2678;p147"/>
          <p:cNvCxnSpPr/>
          <p:nvPr/>
        </p:nvCxnSpPr>
        <p:spPr>
          <a:xfrm>
            <a:off x="603792" y="3429000"/>
            <a:ext cx="10984400" cy="0"/>
          </a:xfrm>
          <a:prstGeom prst="straightConnector1">
            <a:avLst/>
          </a:prstGeom>
          <a:noFill/>
          <a:ln w="19050" cap="rnd" cmpd="sng">
            <a:solidFill>
              <a:schemeClr val="accent1"/>
            </a:solidFill>
            <a:prstDash val="solid"/>
            <a:round/>
            <a:headEnd type="none" w="sm" len="sm"/>
            <a:tailEnd type="none" w="sm" len="sm"/>
          </a:ln>
        </p:spPr>
      </p:cxnSp>
      <p:sp>
        <p:nvSpPr>
          <p:cNvPr id="2679" name="Google Shape;2679;p147"/>
          <p:cNvSpPr>
            <a:spLocks noGrp="1"/>
          </p:cNvSpPr>
          <p:nvPr>
            <p:ph type="pic" idx="3"/>
          </p:nvPr>
        </p:nvSpPr>
        <p:spPr>
          <a:xfrm>
            <a:off x="6383365" y="4194796"/>
            <a:ext cx="1143200" cy="11432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sp>
        <p:nvSpPr>
          <p:cNvPr id="2680" name="Google Shape;2680;p147"/>
          <p:cNvSpPr txBox="1">
            <a:spLocks noGrp="1"/>
          </p:cNvSpPr>
          <p:nvPr>
            <p:ph type="title"/>
          </p:nvPr>
        </p:nvSpPr>
        <p:spPr>
          <a:xfrm>
            <a:off x="1877568" y="4145280"/>
            <a:ext cx="3816000" cy="585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2133">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81" name="Google Shape;2681;p147"/>
          <p:cNvSpPr txBox="1">
            <a:spLocks noGrp="1"/>
          </p:cNvSpPr>
          <p:nvPr>
            <p:ph type="subTitle" idx="1"/>
          </p:nvPr>
        </p:nvSpPr>
        <p:spPr>
          <a:xfrm>
            <a:off x="1877568" y="4767072"/>
            <a:ext cx="38160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82" name="Google Shape;2682;p147"/>
          <p:cNvSpPr txBox="1">
            <a:spLocks noGrp="1"/>
          </p:cNvSpPr>
          <p:nvPr>
            <p:ph type="subTitle" idx="4"/>
          </p:nvPr>
        </p:nvSpPr>
        <p:spPr>
          <a:xfrm>
            <a:off x="1877568" y="5047488"/>
            <a:ext cx="38160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1333">
                <a:solidFill>
                  <a:schemeClr val="lt1"/>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83" name="Google Shape;2683;p147"/>
          <p:cNvSpPr txBox="1">
            <a:spLocks noGrp="1"/>
          </p:cNvSpPr>
          <p:nvPr>
            <p:ph type="title" idx="5"/>
          </p:nvPr>
        </p:nvSpPr>
        <p:spPr>
          <a:xfrm>
            <a:off x="7766304" y="4194813"/>
            <a:ext cx="3816000" cy="585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2133">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84" name="Google Shape;2684;p147"/>
          <p:cNvSpPr txBox="1">
            <a:spLocks noGrp="1"/>
          </p:cNvSpPr>
          <p:nvPr>
            <p:ph type="subTitle" idx="6"/>
          </p:nvPr>
        </p:nvSpPr>
        <p:spPr>
          <a:xfrm>
            <a:off x="7766304" y="4816605"/>
            <a:ext cx="38160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85" name="Google Shape;2685;p147"/>
          <p:cNvSpPr txBox="1">
            <a:spLocks noGrp="1"/>
          </p:cNvSpPr>
          <p:nvPr>
            <p:ph type="subTitle" idx="7"/>
          </p:nvPr>
        </p:nvSpPr>
        <p:spPr>
          <a:xfrm>
            <a:off x="7766304" y="5097021"/>
            <a:ext cx="38160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1333">
                <a:solidFill>
                  <a:schemeClr val="lt1"/>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86" name="Google Shape;2686;p147"/>
          <p:cNvSpPr txBox="1">
            <a:spLocks noGrp="1"/>
          </p:cNvSpPr>
          <p:nvPr>
            <p:ph type="title" idx="8"/>
          </p:nvPr>
        </p:nvSpPr>
        <p:spPr>
          <a:xfrm>
            <a:off x="609600" y="1840992"/>
            <a:ext cx="9144000" cy="98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None/>
              <a:defRPr sz="4800" b="1">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4289499135"/>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matchingName="13. Two Speakers_3">
  <p:cSld name="13. Two Speakers_3">
    <p:bg>
      <p:bgPr>
        <a:gradFill>
          <a:gsLst>
            <a:gs pos="0">
              <a:schemeClr val="accent5"/>
            </a:gs>
            <a:gs pos="50000">
              <a:schemeClr val="accent1"/>
            </a:gs>
            <a:gs pos="100000">
              <a:schemeClr val="accent4"/>
            </a:gs>
          </a:gsLst>
          <a:lin ang="18900044" scaled="0"/>
        </a:gradFill>
        <a:effectLst/>
      </p:bgPr>
    </p:bg>
    <p:spTree>
      <p:nvGrpSpPr>
        <p:cNvPr id="1" name="Shape 2687"/>
        <p:cNvGrpSpPr/>
        <p:nvPr/>
      </p:nvGrpSpPr>
      <p:grpSpPr>
        <a:xfrm>
          <a:off x="0" y="0"/>
          <a:ext cx="0" cy="0"/>
          <a:chOff x="0" y="0"/>
          <a:chExt cx="0" cy="0"/>
        </a:xfrm>
      </p:grpSpPr>
      <p:sp>
        <p:nvSpPr>
          <p:cNvPr id="2688" name="Google Shape;2688;p148"/>
          <p:cNvSpPr>
            <a:spLocks noGrp="1"/>
          </p:cNvSpPr>
          <p:nvPr>
            <p:ph type="pic" idx="2"/>
          </p:nvPr>
        </p:nvSpPr>
        <p:spPr>
          <a:xfrm>
            <a:off x="498679" y="4194796"/>
            <a:ext cx="1143200" cy="11432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cxnSp>
        <p:nvCxnSpPr>
          <p:cNvPr id="2689" name="Google Shape;2689;p148"/>
          <p:cNvCxnSpPr/>
          <p:nvPr/>
        </p:nvCxnSpPr>
        <p:spPr>
          <a:xfrm>
            <a:off x="603792" y="3429000"/>
            <a:ext cx="10984400" cy="0"/>
          </a:xfrm>
          <a:prstGeom prst="straightConnector1">
            <a:avLst/>
          </a:prstGeom>
          <a:noFill/>
          <a:ln w="19050" cap="rnd" cmpd="sng">
            <a:solidFill>
              <a:schemeClr val="accent1"/>
            </a:solidFill>
            <a:prstDash val="solid"/>
            <a:round/>
            <a:headEnd type="none" w="sm" len="sm"/>
            <a:tailEnd type="none" w="sm" len="sm"/>
          </a:ln>
        </p:spPr>
      </p:cxnSp>
      <p:sp>
        <p:nvSpPr>
          <p:cNvPr id="2690" name="Google Shape;2690;p148"/>
          <p:cNvSpPr>
            <a:spLocks noGrp="1"/>
          </p:cNvSpPr>
          <p:nvPr>
            <p:ph type="pic" idx="3"/>
          </p:nvPr>
        </p:nvSpPr>
        <p:spPr>
          <a:xfrm>
            <a:off x="6383365" y="4194796"/>
            <a:ext cx="1143200" cy="11432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sp>
        <p:nvSpPr>
          <p:cNvPr id="2691" name="Google Shape;2691;p148"/>
          <p:cNvSpPr txBox="1">
            <a:spLocks noGrp="1"/>
          </p:cNvSpPr>
          <p:nvPr>
            <p:ph type="title"/>
          </p:nvPr>
        </p:nvSpPr>
        <p:spPr>
          <a:xfrm>
            <a:off x="1877568" y="4145280"/>
            <a:ext cx="3816000" cy="585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2133">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92" name="Google Shape;2692;p148"/>
          <p:cNvSpPr txBox="1">
            <a:spLocks noGrp="1"/>
          </p:cNvSpPr>
          <p:nvPr>
            <p:ph type="subTitle" idx="1"/>
          </p:nvPr>
        </p:nvSpPr>
        <p:spPr>
          <a:xfrm>
            <a:off x="1877568" y="4767072"/>
            <a:ext cx="38160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93" name="Google Shape;2693;p148"/>
          <p:cNvSpPr txBox="1">
            <a:spLocks noGrp="1"/>
          </p:cNvSpPr>
          <p:nvPr>
            <p:ph type="subTitle" idx="4"/>
          </p:nvPr>
        </p:nvSpPr>
        <p:spPr>
          <a:xfrm>
            <a:off x="1877568" y="5047488"/>
            <a:ext cx="38160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1333">
                <a:solidFill>
                  <a:schemeClr val="lt1"/>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94" name="Google Shape;2694;p148"/>
          <p:cNvSpPr txBox="1">
            <a:spLocks noGrp="1"/>
          </p:cNvSpPr>
          <p:nvPr>
            <p:ph type="title" idx="5"/>
          </p:nvPr>
        </p:nvSpPr>
        <p:spPr>
          <a:xfrm>
            <a:off x="7766304" y="4194813"/>
            <a:ext cx="3816000" cy="585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2133">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95" name="Google Shape;2695;p148"/>
          <p:cNvSpPr txBox="1">
            <a:spLocks noGrp="1"/>
          </p:cNvSpPr>
          <p:nvPr>
            <p:ph type="subTitle" idx="6"/>
          </p:nvPr>
        </p:nvSpPr>
        <p:spPr>
          <a:xfrm>
            <a:off x="7766304" y="4816605"/>
            <a:ext cx="38160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96" name="Google Shape;2696;p148"/>
          <p:cNvSpPr txBox="1">
            <a:spLocks noGrp="1"/>
          </p:cNvSpPr>
          <p:nvPr>
            <p:ph type="subTitle" idx="7"/>
          </p:nvPr>
        </p:nvSpPr>
        <p:spPr>
          <a:xfrm>
            <a:off x="7766304" y="5097021"/>
            <a:ext cx="38160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1333">
                <a:solidFill>
                  <a:schemeClr val="lt1"/>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697" name="Google Shape;2697;p148"/>
          <p:cNvSpPr txBox="1">
            <a:spLocks noGrp="1"/>
          </p:cNvSpPr>
          <p:nvPr>
            <p:ph type="title" idx="8"/>
          </p:nvPr>
        </p:nvSpPr>
        <p:spPr>
          <a:xfrm>
            <a:off x="609600" y="1840992"/>
            <a:ext cx="9144000" cy="98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None/>
              <a:defRPr sz="4800" b="1">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5896173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matchingName="14. Two Speakers_4">
  <p:cSld name="14. Two Speakers_4">
    <p:bg>
      <p:bgPr>
        <a:gradFill>
          <a:gsLst>
            <a:gs pos="0">
              <a:srgbClr val="388BFD"/>
            </a:gs>
            <a:gs pos="51000">
              <a:srgbClr val="6C7EFA"/>
            </a:gs>
            <a:gs pos="100000">
              <a:srgbClr val="A371F7"/>
            </a:gs>
          </a:gsLst>
          <a:lin ang="18900044" scaled="0"/>
        </a:gradFill>
        <a:effectLst/>
      </p:bgPr>
    </p:bg>
    <p:spTree>
      <p:nvGrpSpPr>
        <p:cNvPr id="1" name="Shape 2698"/>
        <p:cNvGrpSpPr/>
        <p:nvPr/>
      </p:nvGrpSpPr>
      <p:grpSpPr>
        <a:xfrm>
          <a:off x="0" y="0"/>
          <a:ext cx="0" cy="0"/>
          <a:chOff x="0" y="0"/>
          <a:chExt cx="0" cy="0"/>
        </a:xfrm>
      </p:grpSpPr>
      <p:sp>
        <p:nvSpPr>
          <p:cNvPr id="2699" name="Google Shape;2699;p149"/>
          <p:cNvSpPr>
            <a:spLocks noGrp="1"/>
          </p:cNvSpPr>
          <p:nvPr>
            <p:ph type="pic" idx="2"/>
          </p:nvPr>
        </p:nvSpPr>
        <p:spPr>
          <a:xfrm>
            <a:off x="498679" y="4194796"/>
            <a:ext cx="1143200" cy="11432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cxnSp>
        <p:nvCxnSpPr>
          <p:cNvPr id="2700" name="Google Shape;2700;p149"/>
          <p:cNvCxnSpPr/>
          <p:nvPr/>
        </p:nvCxnSpPr>
        <p:spPr>
          <a:xfrm>
            <a:off x="603792" y="3429000"/>
            <a:ext cx="10984400" cy="0"/>
          </a:xfrm>
          <a:prstGeom prst="straightConnector1">
            <a:avLst/>
          </a:prstGeom>
          <a:noFill/>
          <a:ln w="19050" cap="rnd" cmpd="sng">
            <a:solidFill>
              <a:schemeClr val="accent1"/>
            </a:solidFill>
            <a:prstDash val="solid"/>
            <a:round/>
            <a:headEnd type="none" w="sm" len="sm"/>
            <a:tailEnd type="none" w="sm" len="sm"/>
          </a:ln>
        </p:spPr>
      </p:cxnSp>
      <p:sp>
        <p:nvSpPr>
          <p:cNvPr id="2701" name="Google Shape;2701;p149"/>
          <p:cNvSpPr>
            <a:spLocks noGrp="1"/>
          </p:cNvSpPr>
          <p:nvPr>
            <p:ph type="pic" idx="3"/>
          </p:nvPr>
        </p:nvSpPr>
        <p:spPr>
          <a:xfrm>
            <a:off x="6383365" y="4194796"/>
            <a:ext cx="1143200" cy="1143200"/>
          </a:xfrm>
          <a:prstGeom prst="ellipse">
            <a:avLst/>
          </a:prstGeom>
          <a:noFill/>
          <a:ln w="19050" cap="flat" cmpd="sng">
            <a:solidFill>
              <a:schemeClr val="accent1"/>
            </a:solidFill>
            <a:prstDash val="solid"/>
            <a:round/>
            <a:headEnd type="none" w="sm" len="sm"/>
            <a:tailEnd type="none" w="sm" len="sm"/>
          </a:ln>
          <a:effectLst>
            <a:reflection stA="20000" endPos="25000" dist="50800" dir="5400000" fadeDir="5400012" sy="-100000" algn="bl" rotWithShape="0"/>
          </a:effectLst>
        </p:spPr>
      </p:sp>
      <p:sp>
        <p:nvSpPr>
          <p:cNvPr id="2702" name="Google Shape;2702;p149"/>
          <p:cNvSpPr txBox="1">
            <a:spLocks noGrp="1"/>
          </p:cNvSpPr>
          <p:nvPr>
            <p:ph type="title"/>
          </p:nvPr>
        </p:nvSpPr>
        <p:spPr>
          <a:xfrm>
            <a:off x="1877568" y="4145280"/>
            <a:ext cx="3816000" cy="585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2133">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703" name="Google Shape;2703;p149"/>
          <p:cNvSpPr txBox="1">
            <a:spLocks noGrp="1"/>
          </p:cNvSpPr>
          <p:nvPr>
            <p:ph type="subTitle" idx="1"/>
          </p:nvPr>
        </p:nvSpPr>
        <p:spPr>
          <a:xfrm>
            <a:off x="1877568" y="4767072"/>
            <a:ext cx="38160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704" name="Google Shape;2704;p149"/>
          <p:cNvSpPr txBox="1">
            <a:spLocks noGrp="1"/>
          </p:cNvSpPr>
          <p:nvPr>
            <p:ph type="subTitle" idx="4"/>
          </p:nvPr>
        </p:nvSpPr>
        <p:spPr>
          <a:xfrm>
            <a:off x="1877568" y="5047488"/>
            <a:ext cx="38160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1333">
                <a:solidFill>
                  <a:schemeClr val="lt1"/>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705" name="Google Shape;2705;p149"/>
          <p:cNvSpPr txBox="1">
            <a:spLocks noGrp="1"/>
          </p:cNvSpPr>
          <p:nvPr>
            <p:ph type="title" idx="5"/>
          </p:nvPr>
        </p:nvSpPr>
        <p:spPr>
          <a:xfrm>
            <a:off x="7766304" y="4194813"/>
            <a:ext cx="3816000" cy="585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2133">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706" name="Google Shape;2706;p149"/>
          <p:cNvSpPr txBox="1">
            <a:spLocks noGrp="1"/>
          </p:cNvSpPr>
          <p:nvPr>
            <p:ph type="subTitle" idx="6"/>
          </p:nvPr>
        </p:nvSpPr>
        <p:spPr>
          <a:xfrm>
            <a:off x="7766304" y="4816605"/>
            <a:ext cx="3816000" cy="45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1400"/>
              <a:buFont typeface="Roboto Mono"/>
              <a:buNone/>
              <a:defRPr sz="2133">
                <a:solidFill>
                  <a:srgbClr val="F0F6FC"/>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707" name="Google Shape;2707;p149"/>
          <p:cNvSpPr txBox="1">
            <a:spLocks noGrp="1"/>
          </p:cNvSpPr>
          <p:nvPr>
            <p:ph type="subTitle" idx="7"/>
          </p:nvPr>
        </p:nvSpPr>
        <p:spPr>
          <a:xfrm>
            <a:off x="7766304" y="5097021"/>
            <a:ext cx="3816000" cy="451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None/>
              <a:defRPr sz="1333">
                <a:solidFill>
                  <a:schemeClr val="lt1"/>
                </a:solidFill>
                <a:latin typeface="Roboto Mono"/>
                <a:ea typeface="Roboto Mono"/>
                <a:cs typeface="Roboto Mono"/>
                <a:sym typeface="Roboto Mono"/>
              </a:defRPr>
            </a:lvl1pPr>
            <a:lvl2pPr lvl="1" rtl="0">
              <a:spcBef>
                <a:spcPts val="0"/>
              </a:spcBef>
              <a:spcAft>
                <a:spcPts val="0"/>
              </a:spcAft>
              <a:buSzPts val="1400"/>
              <a:buFont typeface="Roboto Mono"/>
              <a:buNone/>
              <a:defRPr>
                <a:latin typeface="Roboto Mono"/>
                <a:ea typeface="Roboto Mono"/>
                <a:cs typeface="Roboto Mono"/>
                <a:sym typeface="Roboto Mono"/>
              </a:defRPr>
            </a:lvl2pPr>
            <a:lvl3pPr lvl="2" rtl="0">
              <a:spcBef>
                <a:spcPts val="0"/>
              </a:spcBef>
              <a:spcAft>
                <a:spcPts val="0"/>
              </a:spcAft>
              <a:buSzPts val="1400"/>
              <a:buFont typeface="Roboto Mono"/>
              <a:buNone/>
              <a:defRPr>
                <a:latin typeface="Roboto Mono"/>
                <a:ea typeface="Roboto Mono"/>
                <a:cs typeface="Roboto Mono"/>
                <a:sym typeface="Roboto Mono"/>
              </a:defRPr>
            </a:lvl3pPr>
            <a:lvl4pPr lvl="3" rtl="0">
              <a:spcBef>
                <a:spcPts val="0"/>
              </a:spcBef>
              <a:spcAft>
                <a:spcPts val="0"/>
              </a:spcAft>
              <a:buSzPts val="1400"/>
              <a:buFont typeface="Roboto Mono"/>
              <a:buNone/>
              <a:defRPr>
                <a:latin typeface="Roboto Mono"/>
                <a:ea typeface="Roboto Mono"/>
                <a:cs typeface="Roboto Mono"/>
                <a:sym typeface="Roboto Mono"/>
              </a:defRPr>
            </a:lvl4pPr>
            <a:lvl5pPr lvl="4" rtl="0">
              <a:spcBef>
                <a:spcPts val="0"/>
              </a:spcBef>
              <a:spcAft>
                <a:spcPts val="0"/>
              </a:spcAft>
              <a:buSzPts val="1400"/>
              <a:buFont typeface="Roboto Mono"/>
              <a:buNone/>
              <a:defRPr>
                <a:latin typeface="Roboto Mono"/>
                <a:ea typeface="Roboto Mono"/>
                <a:cs typeface="Roboto Mono"/>
                <a:sym typeface="Roboto Mono"/>
              </a:defRPr>
            </a:lvl5pPr>
            <a:lvl6pPr lvl="5" rtl="0">
              <a:spcBef>
                <a:spcPts val="0"/>
              </a:spcBef>
              <a:spcAft>
                <a:spcPts val="0"/>
              </a:spcAft>
              <a:buSzPts val="1400"/>
              <a:buFont typeface="Roboto Mono"/>
              <a:buNone/>
              <a:defRPr>
                <a:latin typeface="Roboto Mono"/>
                <a:ea typeface="Roboto Mono"/>
                <a:cs typeface="Roboto Mono"/>
                <a:sym typeface="Roboto Mono"/>
              </a:defRPr>
            </a:lvl6pPr>
            <a:lvl7pPr lvl="6" rtl="0">
              <a:spcBef>
                <a:spcPts val="0"/>
              </a:spcBef>
              <a:spcAft>
                <a:spcPts val="0"/>
              </a:spcAft>
              <a:buSzPts val="1400"/>
              <a:buFont typeface="Roboto Mono"/>
              <a:buNone/>
              <a:defRPr>
                <a:latin typeface="Roboto Mono"/>
                <a:ea typeface="Roboto Mono"/>
                <a:cs typeface="Roboto Mono"/>
                <a:sym typeface="Roboto Mono"/>
              </a:defRPr>
            </a:lvl7pPr>
            <a:lvl8pPr lvl="7" rtl="0">
              <a:spcBef>
                <a:spcPts val="0"/>
              </a:spcBef>
              <a:spcAft>
                <a:spcPts val="0"/>
              </a:spcAft>
              <a:buSzPts val="1400"/>
              <a:buFont typeface="Roboto Mono"/>
              <a:buNone/>
              <a:defRPr>
                <a:latin typeface="Roboto Mono"/>
                <a:ea typeface="Roboto Mono"/>
                <a:cs typeface="Roboto Mono"/>
                <a:sym typeface="Roboto Mono"/>
              </a:defRPr>
            </a:lvl8pPr>
            <a:lvl9pPr lvl="8" rtl="0">
              <a:spcBef>
                <a:spcPts val="0"/>
              </a:spcBef>
              <a:spcAft>
                <a:spcPts val="0"/>
              </a:spcAft>
              <a:buSzPts val="1400"/>
              <a:buFont typeface="Roboto Mono"/>
              <a:buNone/>
              <a:defRPr>
                <a:latin typeface="Roboto Mono"/>
                <a:ea typeface="Roboto Mono"/>
                <a:cs typeface="Roboto Mono"/>
                <a:sym typeface="Roboto Mono"/>
              </a:defRPr>
            </a:lvl9pPr>
          </a:lstStyle>
          <a:p>
            <a:endParaRPr/>
          </a:p>
        </p:txBody>
      </p:sp>
      <p:sp>
        <p:nvSpPr>
          <p:cNvPr id="2708" name="Google Shape;2708;p149"/>
          <p:cNvSpPr txBox="1">
            <a:spLocks noGrp="1"/>
          </p:cNvSpPr>
          <p:nvPr>
            <p:ph type="title" idx="8"/>
          </p:nvPr>
        </p:nvSpPr>
        <p:spPr>
          <a:xfrm>
            <a:off x="609600" y="1840992"/>
            <a:ext cx="9144000" cy="98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None/>
              <a:defRPr sz="4800" b="1">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81548151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matchingName="15. Two points/sections">
  <p:cSld name="15. Two points/sections">
    <p:spTree>
      <p:nvGrpSpPr>
        <p:cNvPr id="1" name="Shape 2709"/>
        <p:cNvGrpSpPr/>
        <p:nvPr/>
      </p:nvGrpSpPr>
      <p:grpSpPr>
        <a:xfrm>
          <a:off x="0" y="0"/>
          <a:ext cx="0" cy="0"/>
          <a:chOff x="0" y="0"/>
          <a:chExt cx="0" cy="0"/>
        </a:xfrm>
      </p:grpSpPr>
      <p:sp>
        <p:nvSpPr>
          <p:cNvPr id="2710" name="Google Shape;2710;p150"/>
          <p:cNvSpPr/>
          <p:nvPr/>
        </p:nvSpPr>
        <p:spPr>
          <a:xfrm>
            <a:off x="6834211" y="1817872"/>
            <a:ext cx="1828800" cy="1828800"/>
          </a:xfrm>
          <a:prstGeom prst="ellipse">
            <a:avLst/>
          </a:prstGeom>
          <a:no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711" name="Google Shape;2711;p150"/>
          <p:cNvSpPr/>
          <p:nvPr/>
        </p:nvSpPr>
        <p:spPr>
          <a:xfrm>
            <a:off x="3523544" y="1817872"/>
            <a:ext cx="1828800" cy="18288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2712" name="Google Shape;2712;p150"/>
          <p:cNvGrpSpPr/>
          <p:nvPr/>
        </p:nvGrpSpPr>
        <p:grpSpPr>
          <a:xfrm>
            <a:off x="12253600" y="1"/>
            <a:ext cx="3438989" cy="3424452"/>
            <a:chOff x="22170399" y="777240"/>
            <a:chExt cx="6877978" cy="6848903"/>
          </a:xfrm>
        </p:grpSpPr>
        <p:grpSp>
          <p:nvGrpSpPr>
            <p:cNvPr id="2713" name="Google Shape;2713;p150"/>
            <p:cNvGrpSpPr/>
            <p:nvPr/>
          </p:nvGrpSpPr>
          <p:grpSpPr>
            <a:xfrm>
              <a:off x="22170399" y="777240"/>
              <a:ext cx="6877978" cy="6848903"/>
              <a:chOff x="22155159" y="0"/>
              <a:chExt cx="6877978" cy="6848903"/>
            </a:xfrm>
          </p:grpSpPr>
          <p:sp>
            <p:nvSpPr>
              <p:cNvPr id="2714" name="Google Shape;2714;p150"/>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715" name="Google Shape;2715;p150"/>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716" name="Google Shape;2716;p150"/>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717" name="Google Shape;2717;p150"/>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718" name="Google Shape;2718;p150"/>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719" name="Google Shape;2719;p150"/>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720" name="Google Shape;2720;p150"/>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721" name="Google Shape;2721;p150"/>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722" name="Google Shape;2722;p150"/>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723" name="Google Shape;2723;p150"/>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724" name="Google Shape;2724;p150"/>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725" name="Google Shape;2725;p150"/>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726" name="Google Shape;2726;p150"/>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727" name="Google Shape;2727;p150"/>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2728" name="Google Shape;2728;p150"/>
          <p:cNvSpPr txBox="1">
            <a:spLocks noGrp="1"/>
          </p:cNvSpPr>
          <p:nvPr>
            <p:ph type="subTitle" idx="1"/>
          </p:nvPr>
        </p:nvSpPr>
        <p:spPr>
          <a:xfrm>
            <a:off x="3133344" y="3889248"/>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2729" name="Google Shape;2729;p150"/>
          <p:cNvSpPr txBox="1">
            <a:spLocks noGrp="1"/>
          </p:cNvSpPr>
          <p:nvPr>
            <p:ph type="subTitle" idx="2"/>
          </p:nvPr>
        </p:nvSpPr>
        <p:spPr>
          <a:xfrm>
            <a:off x="6444011" y="3889248"/>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2730" name="Google Shape;2730;p150"/>
          <p:cNvSpPr txBox="1">
            <a:spLocks noGrp="1"/>
          </p:cNvSpPr>
          <p:nvPr>
            <p:ph type="subTitle" idx="3"/>
          </p:nvPr>
        </p:nvSpPr>
        <p:spPr>
          <a:xfrm>
            <a:off x="3133344" y="4303776"/>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2731" name="Google Shape;2731;p150"/>
          <p:cNvSpPr txBox="1">
            <a:spLocks noGrp="1"/>
          </p:cNvSpPr>
          <p:nvPr>
            <p:ph type="subTitle" idx="4"/>
          </p:nvPr>
        </p:nvSpPr>
        <p:spPr>
          <a:xfrm>
            <a:off x="6444011" y="4303776"/>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4040460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2_SECTION ALT">
    <p:spTree>
      <p:nvGrpSpPr>
        <p:cNvPr id="1" name=""/>
        <p:cNvGrpSpPr/>
        <p:nvPr/>
      </p:nvGrpSpPr>
      <p:grpSpPr>
        <a:xfrm>
          <a:off x="0" y="0"/>
          <a:ext cx="0" cy="0"/>
          <a:chOff x="0" y="0"/>
          <a:chExt cx="0" cy="0"/>
        </a:xfrm>
      </p:grpSpPr>
      <p:sp>
        <p:nvSpPr>
          <p:cNvPr id="11" name="Freeform 10"/>
          <p:cNvSpPr>
            <a:spLocks/>
          </p:cNvSpPr>
          <p:nvPr userDrawn="1"/>
        </p:nvSpPr>
        <p:spPr bwMode="white">
          <a:xfrm rot="10800000">
            <a:off x="0" y="-2"/>
            <a:ext cx="4202723" cy="6860381"/>
          </a:xfrm>
          <a:prstGeom prst="rect">
            <a:avLst/>
          </a:prstGeom>
          <a:solidFill>
            <a:srgbClr val="0078D4"/>
          </a:solidFill>
          <a:ln>
            <a:noFill/>
          </a:ln>
        </p:spPr>
        <p:txBody>
          <a:bodyPr vert="horz" wrap="square" lIns="89630" tIns="44814" rIns="89630" bIns="44814" numCol="1" anchor="t" anchorCtr="0" compatLnSpc="1">
            <a:prstTxWarp prst="textNoShape">
              <a:avLst/>
            </a:prstTxWarp>
            <a:noAutofit/>
          </a:bodyPr>
          <a:lstStyle/>
          <a:p>
            <a:endParaRPr lang="en-US" sz="2129"/>
          </a:p>
        </p:txBody>
      </p:sp>
      <p:pic>
        <p:nvPicPr>
          <p:cNvPr id="3" name="Picture 2">
            <a:extLst>
              <a:ext uri="{FF2B5EF4-FFF2-40B4-BE49-F238E27FC236}">
                <a16:creationId xmlns:a16="http://schemas.microsoft.com/office/drawing/2014/main" id="{04F96CB1-5F59-4B71-A4FA-A7BE413A90B5}"/>
              </a:ext>
            </a:extLst>
          </p:cNvPr>
          <p:cNvPicPr>
            <a:picLocks/>
          </p:cNvPicPr>
          <p:nvPr userDrawn="1"/>
        </p:nvPicPr>
        <p:blipFill rotWithShape="1">
          <a:blip r:embed="rId3" cstate="print">
            <a:extLst>
              <a:ext uri="{28A0092B-C50C-407E-A947-70E740481C1C}">
                <a14:useLocalDpi xmlns:a14="http://schemas.microsoft.com/office/drawing/2010/main" val="0"/>
              </a:ext>
            </a:extLst>
          </a:blip>
          <a:srcRect b="-88"/>
          <a:stretch/>
        </p:blipFill>
        <p:spPr>
          <a:xfrm>
            <a:off x="4202723" y="0"/>
            <a:ext cx="7989277" cy="6864021"/>
          </a:xfrm>
          <a:prstGeom prst="rect">
            <a:avLst/>
          </a:prstGeom>
        </p:spPr>
      </p:pic>
    </p:spTree>
    <p:custDataLst>
      <p:tags r:id="rId1"/>
    </p:custDataLst>
    <p:extLst>
      <p:ext uri="{BB962C8B-B14F-4D97-AF65-F5344CB8AC3E}">
        <p14:creationId xmlns:p14="http://schemas.microsoft.com/office/powerpoint/2010/main" val="3707028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matchingName="16. Three points/sections">
  <p:cSld name="16. Three points/sections">
    <p:spTree>
      <p:nvGrpSpPr>
        <p:cNvPr id="1" name="Shape 2732"/>
        <p:cNvGrpSpPr/>
        <p:nvPr/>
      </p:nvGrpSpPr>
      <p:grpSpPr>
        <a:xfrm>
          <a:off x="0" y="0"/>
          <a:ext cx="0" cy="0"/>
          <a:chOff x="0" y="0"/>
          <a:chExt cx="0" cy="0"/>
        </a:xfrm>
      </p:grpSpPr>
      <p:sp>
        <p:nvSpPr>
          <p:cNvPr id="2733" name="Google Shape;2733;p151"/>
          <p:cNvSpPr/>
          <p:nvPr/>
        </p:nvSpPr>
        <p:spPr>
          <a:xfrm>
            <a:off x="8543989" y="1830071"/>
            <a:ext cx="1818000" cy="18180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734" name="Google Shape;2734;p151"/>
          <p:cNvSpPr/>
          <p:nvPr/>
        </p:nvSpPr>
        <p:spPr>
          <a:xfrm>
            <a:off x="5186985" y="1830071"/>
            <a:ext cx="1818000" cy="1818000"/>
          </a:xfrm>
          <a:prstGeom prst="ellipse">
            <a:avLst/>
          </a:prstGeom>
          <a:noFill/>
          <a:ln w="19050" cap="flat" cmpd="sng">
            <a:solidFill>
              <a:schemeClr val="accent5"/>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735" name="Google Shape;2735;p151"/>
          <p:cNvSpPr/>
          <p:nvPr/>
        </p:nvSpPr>
        <p:spPr>
          <a:xfrm>
            <a:off x="1903505" y="1830071"/>
            <a:ext cx="1818800" cy="18180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2736" name="Google Shape;2736;p151"/>
          <p:cNvGrpSpPr/>
          <p:nvPr/>
        </p:nvGrpSpPr>
        <p:grpSpPr>
          <a:xfrm>
            <a:off x="12253600" y="1"/>
            <a:ext cx="3438989" cy="3424452"/>
            <a:chOff x="22170399" y="777240"/>
            <a:chExt cx="6877978" cy="6848903"/>
          </a:xfrm>
        </p:grpSpPr>
        <p:grpSp>
          <p:nvGrpSpPr>
            <p:cNvPr id="2737" name="Google Shape;2737;p151"/>
            <p:cNvGrpSpPr/>
            <p:nvPr/>
          </p:nvGrpSpPr>
          <p:grpSpPr>
            <a:xfrm>
              <a:off x="22170399" y="777240"/>
              <a:ext cx="6877978" cy="6848903"/>
              <a:chOff x="22155159" y="0"/>
              <a:chExt cx="6877978" cy="6848903"/>
            </a:xfrm>
          </p:grpSpPr>
          <p:sp>
            <p:nvSpPr>
              <p:cNvPr id="2738" name="Google Shape;2738;p151"/>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739" name="Google Shape;2739;p151"/>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740" name="Google Shape;2740;p151"/>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741" name="Google Shape;2741;p151"/>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742" name="Google Shape;2742;p151"/>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743" name="Google Shape;2743;p151"/>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744" name="Google Shape;2744;p151"/>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745" name="Google Shape;2745;p151"/>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746" name="Google Shape;2746;p151"/>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747" name="Google Shape;2747;p151"/>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748" name="Google Shape;2748;p151"/>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749" name="Google Shape;2749;p151"/>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750" name="Google Shape;2750;p151"/>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751" name="Google Shape;2751;p151"/>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2752" name="Google Shape;2752;p151"/>
          <p:cNvSpPr txBox="1">
            <a:spLocks noGrp="1"/>
          </p:cNvSpPr>
          <p:nvPr>
            <p:ph type="subTitle" idx="1"/>
          </p:nvPr>
        </p:nvSpPr>
        <p:spPr>
          <a:xfrm>
            <a:off x="1508311" y="3889248"/>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2753" name="Google Shape;2753;p151"/>
          <p:cNvSpPr txBox="1">
            <a:spLocks noGrp="1"/>
          </p:cNvSpPr>
          <p:nvPr>
            <p:ph type="subTitle" idx="2"/>
          </p:nvPr>
        </p:nvSpPr>
        <p:spPr>
          <a:xfrm>
            <a:off x="1508311" y="4303776"/>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2754" name="Google Shape;2754;p151"/>
          <p:cNvSpPr txBox="1">
            <a:spLocks noGrp="1"/>
          </p:cNvSpPr>
          <p:nvPr>
            <p:ph type="subTitle" idx="3"/>
          </p:nvPr>
        </p:nvSpPr>
        <p:spPr>
          <a:xfrm>
            <a:off x="4791411" y="3889248"/>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2755" name="Google Shape;2755;p151"/>
          <p:cNvSpPr txBox="1">
            <a:spLocks noGrp="1"/>
          </p:cNvSpPr>
          <p:nvPr>
            <p:ph type="subTitle" idx="4"/>
          </p:nvPr>
        </p:nvSpPr>
        <p:spPr>
          <a:xfrm>
            <a:off x="4791411" y="4303776"/>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2756" name="Google Shape;2756;p151"/>
          <p:cNvSpPr txBox="1">
            <a:spLocks noGrp="1"/>
          </p:cNvSpPr>
          <p:nvPr>
            <p:ph type="subTitle" idx="5"/>
          </p:nvPr>
        </p:nvSpPr>
        <p:spPr>
          <a:xfrm>
            <a:off x="8148411" y="3889248"/>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2757" name="Google Shape;2757;p151"/>
          <p:cNvSpPr txBox="1">
            <a:spLocks noGrp="1"/>
          </p:cNvSpPr>
          <p:nvPr>
            <p:ph type="subTitle" idx="6"/>
          </p:nvPr>
        </p:nvSpPr>
        <p:spPr>
          <a:xfrm>
            <a:off x="8148411" y="4303776"/>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75427807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matchingName="17. Four points/sections">
  <p:cSld name="17. Four points/sections">
    <p:bg>
      <p:bgPr>
        <a:solidFill>
          <a:srgbClr val="0A0C10"/>
        </a:solidFill>
        <a:effectLst/>
      </p:bgPr>
    </p:bg>
    <p:spTree>
      <p:nvGrpSpPr>
        <p:cNvPr id="1" name="Shape 2758"/>
        <p:cNvGrpSpPr/>
        <p:nvPr/>
      </p:nvGrpSpPr>
      <p:grpSpPr>
        <a:xfrm>
          <a:off x="0" y="0"/>
          <a:ext cx="0" cy="0"/>
          <a:chOff x="0" y="0"/>
          <a:chExt cx="0" cy="0"/>
        </a:xfrm>
      </p:grpSpPr>
      <p:sp>
        <p:nvSpPr>
          <p:cNvPr id="2759" name="Google Shape;2759;p152"/>
          <p:cNvSpPr/>
          <p:nvPr/>
        </p:nvSpPr>
        <p:spPr>
          <a:xfrm>
            <a:off x="9462944" y="2219312"/>
            <a:ext cx="1832800" cy="1828800"/>
          </a:xfrm>
          <a:prstGeom prst="ellipse">
            <a:avLst/>
          </a:prstGeom>
          <a:noFill/>
          <a:ln w="19050" cap="flat" cmpd="sng">
            <a:solidFill>
              <a:srgbClr val="57CCC5"/>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760" name="Google Shape;2760;p152"/>
          <p:cNvSpPr/>
          <p:nvPr/>
        </p:nvSpPr>
        <p:spPr>
          <a:xfrm>
            <a:off x="6626711" y="2219312"/>
            <a:ext cx="1832800" cy="1828800"/>
          </a:xfrm>
          <a:prstGeom prst="ellipse">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761" name="Google Shape;2761;p152"/>
          <p:cNvSpPr/>
          <p:nvPr/>
        </p:nvSpPr>
        <p:spPr>
          <a:xfrm>
            <a:off x="901644" y="2219312"/>
            <a:ext cx="1832800" cy="18288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762" name="Google Shape;2762;p152"/>
          <p:cNvSpPr/>
          <p:nvPr/>
        </p:nvSpPr>
        <p:spPr>
          <a:xfrm>
            <a:off x="3794611" y="2219312"/>
            <a:ext cx="1832800" cy="1828800"/>
          </a:xfrm>
          <a:prstGeom prst="ellipse">
            <a:avLst/>
          </a:prstGeom>
          <a:no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2763" name="Google Shape;2763;p152"/>
          <p:cNvGrpSpPr/>
          <p:nvPr/>
        </p:nvGrpSpPr>
        <p:grpSpPr>
          <a:xfrm>
            <a:off x="12253600" y="1"/>
            <a:ext cx="3438989" cy="3424452"/>
            <a:chOff x="22170399" y="777240"/>
            <a:chExt cx="6877978" cy="6848903"/>
          </a:xfrm>
        </p:grpSpPr>
        <p:grpSp>
          <p:nvGrpSpPr>
            <p:cNvPr id="2764" name="Google Shape;2764;p152"/>
            <p:cNvGrpSpPr/>
            <p:nvPr/>
          </p:nvGrpSpPr>
          <p:grpSpPr>
            <a:xfrm>
              <a:off x="22170399" y="777240"/>
              <a:ext cx="6877978" cy="6848903"/>
              <a:chOff x="22155159" y="0"/>
              <a:chExt cx="6877978" cy="6848903"/>
            </a:xfrm>
          </p:grpSpPr>
          <p:sp>
            <p:nvSpPr>
              <p:cNvPr id="2765" name="Google Shape;2765;p152"/>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766" name="Google Shape;2766;p152"/>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767" name="Google Shape;2767;p152"/>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768" name="Google Shape;2768;p152"/>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769" name="Google Shape;2769;p152"/>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770" name="Google Shape;2770;p152"/>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771" name="Google Shape;2771;p152"/>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772" name="Google Shape;2772;p152"/>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773" name="Google Shape;2773;p152"/>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774" name="Google Shape;2774;p152"/>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775" name="Google Shape;2775;p152"/>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776" name="Google Shape;2776;p152"/>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777" name="Google Shape;2777;p152"/>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778" name="Google Shape;2778;p152"/>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2779" name="Google Shape;2779;p152"/>
          <p:cNvSpPr txBox="1">
            <a:spLocks noGrp="1"/>
          </p:cNvSpPr>
          <p:nvPr>
            <p:ph type="subTitle" idx="1"/>
          </p:nvPr>
        </p:nvSpPr>
        <p:spPr>
          <a:xfrm>
            <a:off x="513444" y="4502915"/>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2780" name="Google Shape;2780;p152"/>
          <p:cNvSpPr txBox="1">
            <a:spLocks noGrp="1"/>
          </p:cNvSpPr>
          <p:nvPr>
            <p:ph type="subTitle" idx="2"/>
          </p:nvPr>
        </p:nvSpPr>
        <p:spPr>
          <a:xfrm>
            <a:off x="513444" y="4917443"/>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2781" name="Google Shape;2781;p152"/>
          <p:cNvSpPr txBox="1">
            <a:spLocks noGrp="1"/>
          </p:cNvSpPr>
          <p:nvPr>
            <p:ph type="subTitle" idx="3"/>
          </p:nvPr>
        </p:nvSpPr>
        <p:spPr>
          <a:xfrm>
            <a:off x="3406411" y="4502915"/>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2782" name="Google Shape;2782;p152"/>
          <p:cNvSpPr txBox="1">
            <a:spLocks noGrp="1"/>
          </p:cNvSpPr>
          <p:nvPr>
            <p:ph type="subTitle" idx="4"/>
          </p:nvPr>
        </p:nvSpPr>
        <p:spPr>
          <a:xfrm>
            <a:off x="3406411" y="4917443"/>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2783" name="Google Shape;2783;p152"/>
          <p:cNvSpPr txBox="1">
            <a:spLocks noGrp="1"/>
          </p:cNvSpPr>
          <p:nvPr>
            <p:ph type="subTitle" idx="5"/>
          </p:nvPr>
        </p:nvSpPr>
        <p:spPr>
          <a:xfrm>
            <a:off x="6238511" y="4502915"/>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2784" name="Google Shape;2784;p152"/>
          <p:cNvSpPr txBox="1">
            <a:spLocks noGrp="1"/>
          </p:cNvSpPr>
          <p:nvPr>
            <p:ph type="subTitle" idx="6"/>
          </p:nvPr>
        </p:nvSpPr>
        <p:spPr>
          <a:xfrm>
            <a:off x="6238511" y="4917443"/>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2785" name="Google Shape;2785;p152"/>
          <p:cNvSpPr txBox="1">
            <a:spLocks noGrp="1"/>
          </p:cNvSpPr>
          <p:nvPr>
            <p:ph type="subTitle" idx="7"/>
          </p:nvPr>
        </p:nvSpPr>
        <p:spPr>
          <a:xfrm>
            <a:off x="9074744" y="4502915"/>
            <a:ext cx="2609200" cy="3900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2786" name="Google Shape;2786;p152"/>
          <p:cNvSpPr txBox="1">
            <a:spLocks noGrp="1"/>
          </p:cNvSpPr>
          <p:nvPr>
            <p:ph type="subTitle" idx="8"/>
          </p:nvPr>
        </p:nvSpPr>
        <p:spPr>
          <a:xfrm>
            <a:off x="9074744" y="4917443"/>
            <a:ext cx="2609200" cy="670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731057576"/>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matchingName="18. Section title center_1">
  <p:cSld name="18. Section title center_1">
    <p:spTree>
      <p:nvGrpSpPr>
        <p:cNvPr id="1" name="Shape 2787"/>
        <p:cNvGrpSpPr/>
        <p:nvPr/>
      </p:nvGrpSpPr>
      <p:grpSpPr>
        <a:xfrm>
          <a:off x="0" y="0"/>
          <a:ext cx="0" cy="0"/>
          <a:chOff x="0" y="0"/>
          <a:chExt cx="0" cy="0"/>
        </a:xfrm>
      </p:grpSpPr>
      <p:sp>
        <p:nvSpPr>
          <p:cNvPr id="2788" name="Google Shape;2788;p153"/>
          <p:cNvSpPr txBox="1">
            <a:spLocks noGrp="1"/>
          </p:cNvSpPr>
          <p:nvPr>
            <p:ph type="title"/>
          </p:nvPr>
        </p:nvSpPr>
        <p:spPr>
          <a:xfrm>
            <a:off x="889000" y="3714167"/>
            <a:ext cx="10414000" cy="793600"/>
          </a:xfrm>
          <a:prstGeom prst="rect">
            <a:avLst/>
          </a:prstGeom>
          <a:noFill/>
          <a:ln>
            <a:noFill/>
          </a:ln>
        </p:spPr>
        <p:txBody>
          <a:bodyPr spcFirstLastPara="1" wrap="square" lIns="34275" tIns="17150" rIns="34275" bIns="17150" anchor="ctr" anchorCtr="0">
            <a:noAutofit/>
          </a:bodyPr>
          <a:lstStyle>
            <a:lvl1pPr marR="0" lvl="0"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2789" name="Google Shape;2789;p153"/>
          <p:cNvSpPr/>
          <p:nvPr/>
        </p:nvSpPr>
        <p:spPr>
          <a:xfrm>
            <a:off x="5181600" y="1449819"/>
            <a:ext cx="1828800" cy="1828800"/>
          </a:xfrm>
          <a:prstGeom prst="ellipse">
            <a:avLst/>
          </a:prstGeom>
          <a:noFill/>
          <a:ln w="19050" cap="flat" cmpd="sng">
            <a:solidFill>
              <a:srgbClr val="A371F7"/>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2790" name="Google Shape;2790;p153"/>
          <p:cNvGrpSpPr/>
          <p:nvPr/>
        </p:nvGrpSpPr>
        <p:grpSpPr>
          <a:xfrm>
            <a:off x="12253600" y="1"/>
            <a:ext cx="3438989" cy="3424452"/>
            <a:chOff x="22170399" y="777240"/>
            <a:chExt cx="6877978" cy="6848903"/>
          </a:xfrm>
        </p:grpSpPr>
        <p:grpSp>
          <p:nvGrpSpPr>
            <p:cNvPr id="2791" name="Google Shape;2791;p153"/>
            <p:cNvGrpSpPr/>
            <p:nvPr/>
          </p:nvGrpSpPr>
          <p:grpSpPr>
            <a:xfrm>
              <a:off x="22170399" y="777240"/>
              <a:ext cx="6877978" cy="6848903"/>
              <a:chOff x="22155159" y="0"/>
              <a:chExt cx="6877978" cy="6848903"/>
            </a:xfrm>
          </p:grpSpPr>
          <p:sp>
            <p:nvSpPr>
              <p:cNvPr id="2792" name="Google Shape;2792;p153"/>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793" name="Google Shape;2793;p153"/>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794" name="Google Shape;2794;p153"/>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795" name="Google Shape;2795;p153"/>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796" name="Google Shape;2796;p153"/>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797" name="Google Shape;2797;p153"/>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798" name="Google Shape;2798;p153"/>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799" name="Google Shape;2799;p153"/>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800" name="Google Shape;2800;p153"/>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801" name="Google Shape;2801;p153"/>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802" name="Google Shape;2802;p153"/>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803" name="Google Shape;2803;p153"/>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804" name="Google Shape;2804;p153"/>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805" name="Google Shape;2805;p153"/>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2806" name="Google Shape;2806;p153"/>
          <p:cNvSpPr txBox="1">
            <a:spLocks noGrp="1"/>
          </p:cNvSpPr>
          <p:nvPr>
            <p:ph type="subTitle" idx="1"/>
          </p:nvPr>
        </p:nvSpPr>
        <p:spPr>
          <a:xfrm>
            <a:off x="890000" y="4615781"/>
            <a:ext cx="10412000" cy="79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410026030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matchingName="19. Section title center_2">
  <p:cSld name="19. Section title center_2">
    <p:spTree>
      <p:nvGrpSpPr>
        <p:cNvPr id="1" name="Shape 2807"/>
        <p:cNvGrpSpPr/>
        <p:nvPr/>
      </p:nvGrpSpPr>
      <p:grpSpPr>
        <a:xfrm>
          <a:off x="0" y="0"/>
          <a:ext cx="0" cy="0"/>
          <a:chOff x="0" y="0"/>
          <a:chExt cx="0" cy="0"/>
        </a:xfrm>
      </p:grpSpPr>
      <p:grpSp>
        <p:nvGrpSpPr>
          <p:cNvPr id="2808" name="Google Shape;2808;p154"/>
          <p:cNvGrpSpPr/>
          <p:nvPr/>
        </p:nvGrpSpPr>
        <p:grpSpPr>
          <a:xfrm>
            <a:off x="12253600" y="1"/>
            <a:ext cx="3438989" cy="3424452"/>
            <a:chOff x="22170399" y="777240"/>
            <a:chExt cx="6877978" cy="6848903"/>
          </a:xfrm>
        </p:grpSpPr>
        <p:grpSp>
          <p:nvGrpSpPr>
            <p:cNvPr id="2809" name="Google Shape;2809;p154"/>
            <p:cNvGrpSpPr/>
            <p:nvPr/>
          </p:nvGrpSpPr>
          <p:grpSpPr>
            <a:xfrm>
              <a:off x="22170399" y="777240"/>
              <a:ext cx="6877978" cy="6848903"/>
              <a:chOff x="22155159" y="0"/>
              <a:chExt cx="6877978" cy="6848903"/>
            </a:xfrm>
          </p:grpSpPr>
          <p:sp>
            <p:nvSpPr>
              <p:cNvPr id="2810" name="Google Shape;2810;p154"/>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811" name="Google Shape;2811;p154"/>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812" name="Google Shape;2812;p154"/>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813" name="Google Shape;2813;p154"/>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814" name="Google Shape;2814;p154"/>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815" name="Google Shape;2815;p154"/>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816" name="Google Shape;2816;p154"/>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817" name="Google Shape;2817;p154"/>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818" name="Google Shape;2818;p154"/>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819" name="Google Shape;2819;p154"/>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820" name="Google Shape;2820;p154"/>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821" name="Google Shape;2821;p154"/>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822" name="Google Shape;2822;p154"/>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823" name="Google Shape;2823;p154"/>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2824" name="Google Shape;2824;p154"/>
          <p:cNvSpPr txBox="1">
            <a:spLocks noGrp="1"/>
          </p:cNvSpPr>
          <p:nvPr>
            <p:ph type="title"/>
          </p:nvPr>
        </p:nvSpPr>
        <p:spPr>
          <a:xfrm>
            <a:off x="889000" y="3714167"/>
            <a:ext cx="10414000" cy="793600"/>
          </a:xfrm>
          <a:prstGeom prst="rect">
            <a:avLst/>
          </a:prstGeom>
          <a:noFill/>
          <a:ln>
            <a:noFill/>
          </a:ln>
        </p:spPr>
        <p:txBody>
          <a:bodyPr spcFirstLastPara="1" wrap="square" lIns="34275" tIns="17150" rIns="34275" bIns="17150" anchor="ctr" anchorCtr="0">
            <a:noAutofit/>
          </a:bodyPr>
          <a:lstStyle>
            <a:lvl1pPr marR="0" lvl="0"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2825" name="Google Shape;2825;p154"/>
          <p:cNvSpPr/>
          <p:nvPr/>
        </p:nvSpPr>
        <p:spPr>
          <a:xfrm>
            <a:off x="5181600" y="1449819"/>
            <a:ext cx="1828800" cy="1828800"/>
          </a:xfrm>
          <a:prstGeom prst="ellipse">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826" name="Google Shape;2826;p154"/>
          <p:cNvSpPr txBox="1">
            <a:spLocks noGrp="1"/>
          </p:cNvSpPr>
          <p:nvPr>
            <p:ph type="subTitle" idx="1"/>
          </p:nvPr>
        </p:nvSpPr>
        <p:spPr>
          <a:xfrm>
            <a:off x="890000" y="4615781"/>
            <a:ext cx="10412000" cy="79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85956081"/>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matchingName="20. Section title center_3">
  <p:cSld name="20. Section title center_3">
    <p:spTree>
      <p:nvGrpSpPr>
        <p:cNvPr id="1" name="Shape 2827"/>
        <p:cNvGrpSpPr/>
        <p:nvPr/>
      </p:nvGrpSpPr>
      <p:grpSpPr>
        <a:xfrm>
          <a:off x="0" y="0"/>
          <a:ext cx="0" cy="0"/>
          <a:chOff x="0" y="0"/>
          <a:chExt cx="0" cy="0"/>
        </a:xfrm>
      </p:grpSpPr>
      <p:grpSp>
        <p:nvGrpSpPr>
          <p:cNvPr id="2828" name="Google Shape;2828;p155"/>
          <p:cNvGrpSpPr/>
          <p:nvPr/>
        </p:nvGrpSpPr>
        <p:grpSpPr>
          <a:xfrm>
            <a:off x="12253600" y="1"/>
            <a:ext cx="3438989" cy="3424452"/>
            <a:chOff x="22170399" y="777240"/>
            <a:chExt cx="6877978" cy="6848903"/>
          </a:xfrm>
        </p:grpSpPr>
        <p:grpSp>
          <p:nvGrpSpPr>
            <p:cNvPr id="2829" name="Google Shape;2829;p155"/>
            <p:cNvGrpSpPr/>
            <p:nvPr/>
          </p:nvGrpSpPr>
          <p:grpSpPr>
            <a:xfrm>
              <a:off x="22170399" y="777240"/>
              <a:ext cx="6877978" cy="6848903"/>
              <a:chOff x="22155159" y="0"/>
              <a:chExt cx="6877978" cy="6848903"/>
            </a:xfrm>
          </p:grpSpPr>
          <p:sp>
            <p:nvSpPr>
              <p:cNvPr id="2830" name="Google Shape;2830;p155"/>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831" name="Google Shape;2831;p155"/>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832" name="Google Shape;2832;p155"/>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833" name="Google Shape;2833;p155"/>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834" name="Google Shape;2834;p155"/>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835" name="Google Shape;2835;p155"/>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836" name="Google Shape;2836;p155"/>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837" name="Google Shape;2837;p155"/>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838" name="Google Shape;2838;p155"/>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839" name="Google Shape;2839;p155"/>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840" name="Google Shape;2840;p155"/>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841" name="Google Shape;2841;p155"/>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842" name="Google Shape;2842;p155"/>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843" name="Google Shape;2843;p155"/>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2844" name="Google Shape;2844;p155"/>
          <p:cNvSpPr txBox="1">
            <a:spLocks noGrp="1"/>
          </p:cNvSpPr>
          <p:nvPr>
            <p:ph type="title"/>
          </p:nvPr>
        </p:nvSpPr>
        <p:spPr>
          <a:xfrm>
            <a:off x="889000" y="3714167"/>
            <a:ext cx="10414000" cy="793600"/>
          </a:xfrm>
          <a:prstGeom prst="rect">
            <a:avLst/>
          </a:prstGeom>
          <a:noFill/>
          <a:ln>
            <a:noFill/>
          </a:ln>
        </p:spPr>
        <p:txBody>
          <a:bodyPr spcFirstLastPara="1" wrap="square" lIns="34275" tIns="17150" rIns="34275" bIns="17150" anchor="ctr" anchorCtr="0">
            <a:noAutofit/>
          </a:bodyPr>
          <a:lstStyle>
            <a:lvl1pPr marR="0" lvl="0"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ctr"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2845" name="Google Shape;2845;p155"/>
          <p:cNvSpPr/>
          <p:nvPr/>
        </p:nvSpPr>
        <p:spPr>
          <a:xfrm>
            <a:off x="5181600" y="1449819"/>
            <a:ext cx="1828800" cy="18288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846" name="Google Shape;2846;p155"/>
          <p:cNvSpPr txBox="1">
            <a:spLocks noGrp="1"/>
          </p:cNvSpPr>
          <p:nvPr>
            <p:ph type="subTitle" idx="1"/>
          </p:nvPr>
        </p:nvSpPr>
        <p:spPr>
          <a:xfrm>
            <a:off x="890000" y="4615781"/>
            <a:ext cx="10412000" cy="79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199179040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matchingName="21. Section title left_1">
  <p:cSld name="21. Section title left_1">
    <p:spTree>
      <p:nvGrpSpPr>
        <p:cNvPr id="1" name="Shape 2847"/>
        <p:cNvGrpSpPr/>
        <p:nvPr/>
      </p:nvGrpSpPr>
      <p:grpSpPr>
        <a:xfrm>
          <a:off x="0" y="0"/>
          <a:ext cx="0" cy="0"/>
          <a:chOff x="0" y="0"/>
          <a:chExt cx="0" cy="0"/>
        </a:xfrm>
      </p:grpSpPr>
      <p:sp>
        <p:nvSpPr>
          <p:cNvPr id="2848" name="Google Shape;2848;p156"/>
          <p:cNvSpPr txBox="1">
            <a:spLocks noGrp="1"/>
          </p:cNvSpPr>
          <p:nvPr>
            <p:ph type="title"/>
          </p:nvPr>
        </p:nvSpPr>
        <p:spPr>
          <a:xfrm>
            <a:off x="2895092" y="2798976"/>
            <a:ext cx="8395200" cy="793600"/>
          </a:xfrm>
          <a:prstGeom prst="rect">
            <a:avLst/>
          </a:prstGeom>
          <a:noFill/>
          <a:ln>
            <a:noFill/>
          </a:ln>
        </p:spPr>
        <p:txBody>
          <a:bodyPr spcFirstLastPara="1" wrap="square" lIns="34275" tIns="17150" rIns="34275" bIns="17150" anchor="t" anchorCtr="0">
            <a:noAutofit/>
          </a:bodyPr>
          <a:lstStyle>
            <a:lvl1pPr marR="0" lvl="0"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9pPr>
          </a:lstStyle>
          <a:p>
            <a:endParaRPr/>
          </a:p>
        </p:txBody>
      </p:sp>
      <p:sp>
        <p:nvSpPr>
          <p:cNvPr id="2849" name="Google Shape;2849;p156"/>
          <p:cNvSpPr/>
          <p:nvPr/>
        </p:nvSpPr>
        <p:spPr>
          <a:xfrm>
            <a:off x="682925" y="2514600"/>
            <a:ext cx="1828800" cy="18288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2850" name="Google Shape;2850;p156"/>
          <p:cNvGrpSpPr/>
          <p:nvPr/>
        </p:nvGrpSpPr>
        <p:grpSpPr>
          <a:xfrm>
            <a:off x="12253600" y="1"/>
            <a:ext cx="3438989" cy="3424452"/>
            <a:chOff x="22170399" y="777240"/>
            <a:chExt cx="6877978" cy="6848903"/>
          </a:xfrm>
        </p:grpSpPr>
        <p:grpSp>
          <p:nvGrpSpPr>
            <p:cNvPr id="2851" name="Google Shape;2851;p156"/>
            <p:cNvGrpSpPr/>
            <p:nvPr/>
          </p:nvGrpSpPr>
          <p:grpSpPr>
            <a:xfrm>
              <a:off x="22170399" y="777240"/>
              <a:ext cx="6877978" cy="6848903"/>
              <a:chOff x="22155159" y="0"/>
              <a:chExt cx="6877978" cy="6848903"/>
            </a:xfrm>
          </p:grpSpPr>
          <p:sp>
            <p:nvSpPr>
              <p:cNvPr id="2852" name="Google Shape;2852;p156"/>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853" name="Google Shape;2853;p156"/>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854" name="Google Shape;2854;p156"/>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855" name="Google Shape;2855;p156"/>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856" name="Google Shape;2856;p156"/>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857" name="Google Shape;2857;p156"/>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858" name="Google Shape;2858;p156"/>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859" name="Google Shape;2859;p156"/>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860" name="Google Shape;2860;p156"/>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861" name="Google Shape;2861;p156"/>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862" name="Google Shape;2862;p156"/>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863" name="Google Shape;2863;p156"/>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864" name="Google Shape;2864;p156"/>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865" name="Google Shape;2865;p156"/>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2866" name="Google Shape;2866;p156"/>
          <p:cNvSpPr txBox="1">
            <a:spLocks noGrp="1"/>
          </p:cNvSpPr>
          <p:nvPr>
            <p:ph type="subTitle" idx="1"/>
          </p:nvPr>
        </p:nvSpPr>
        <p:spPr>
          <a:xfrm>
            <a:off x="2889504" y="3633216"/>
            <a:ext cx="8400400" cy="426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218801008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matchingName="22. Section title left_2">
  <p:cSld name="22. Section title left_2">
    <p:spTree>
      <p:nvGrpSpPr>
        <p:cNvPr id="1" name="Shape 2867"/>
        <p:cNvGrpSpPr/>
        <p:nvPr/>
      </p:nvGrpSpPr>
      <p:grpSpPr>
        <a:xfrm>
          <a:off x="0" y="0"/>
          <a:ext cx="0" cy="0"/>
          <a:chOff x="0" y="0"/>
          <a:chExt cx="0" cy="0"/>
        </a:xfrm>
      </p:grpSpPr>
      <p:grpSp>
        <p:nvGrpSpPr>
          <p:cNvPr id="2868" name="Google Shape;2868;p157"/>
          <p:cNvGrpSpPr/>
          <p:nvPr/>
        </p:nvGrpSpPr>
        <p:grpSpPr>
          <a:xfrm>
            <a:off x="12253600" y="1"/>
            <a:ext cx="3438989" cy="3424452"/>
            <a:chOff x="22170399" y="777240"/>
            <a:chExt cx="6877978" cy="6848903"/>
          </a:xfrm>
        </p:grpSpPr>
        <p:grpSp>
          <p:nvGrpSpPr>
            <p:cNvPr id="2869" name="Google Shape;2869;p157"/>
            <p:cNvGrpSpPr/>
            <p:nvPr/>
          </p:nvGrpSpPr>
          <p:grpSpPr>
            <a:xfrm>
              <a:off x="22170399" y="777240"/>
              <a:ext cx="6877978" cy="6848903"/>
              <a:chOff x="22155159" y="0"/>
              <a:chExt cx="6877978" cy="6848903"/>
            </a:xfrm>
          </p:grpSpPr>
          <p:sp>
            <p:nvSpPr>
              <p:cNvPr id="2870" name="Google Shape;2870;p157"/>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871" name="Google Shape;2871;p157"/>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872" name="Google Shape;2872;p157"/>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873" name="Google Shape;2873;p157"/>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874" name="Google Shape;2874;p157"/>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875" name="Google Shape;2875;p157"/>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876" name="Google Shape;2876;p157"/>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877" name="Google Shape;2877;p157"/>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878" name="Google Shape;2878;p157"/>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879" name="Google Shape;2879;p157"/>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880" name="Google Shape;2880;p157"/>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881" name="Google Shape;2881;p157"/>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882" name="Google Shape;2882;p157"/>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883" name="Google Shape;2883;p157"/>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2884" name="Google Shape;2884;p157"/>
          <p:cNvSpPr txBox="1">
            <a:spLocks noGrp="1"/>
          </p:cNvSpPr>
          <p:nvPr>
            <p:ph type="title"/>
          </p:nvPr>
        </p:nvSpPr>
        <p:spPr>
          <a:xfrm>
            <a:off x="2895092" y="2798976"/>
            <a:ext cx="8395200" cy="793600"/>
          </a:xfrm>
          <a:prstGeom prst="rect">
            <a:avLst/>
          </a:prstGeom>
          <a:noFill/>
          <a:ln>
            <a:noFill/>
          </a:ln>
        </p:spPr>
        <p:txBody>
          <a:bodyPr spcFirstLastPara="1" wrap="square" lIns="34275" tIns="17150" rIns="34275" bIns="17150" anchor="t" anchorCtr="0">
            <a:noAutofit/>
          </a:bodyPr>
          <a:lstStyle>
            <a:lvl1pPr marR="0" lvl="0"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9pPr>
          </a:lstStyle>
          <a:p>
            <a:endParaRPr/>
          </a:p>
        </p:txBody>
      </p:sp>
      <p:sp>
        <p:nvSpPr>
          <p:cNvPr id="2885" name="Google Shape;2885;p157"/>
          <p:cNvSpPr txBox="1">
            <a:spLocks noGrp="1"/>
          </p:cNvSpPr>
          <p:nvPr>
            <p:ph type="subTitle" idx="1"/>
          </p:nvPr>
        </p:nvSpPr>
        <p:spPr>
          <a:xfrm>
            <a:off x="2889504" y="3633216"/>
            <a:ext cx="8400400" cy="426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9pPr>
          </a:lstStyle>
          <a:p>
            <a:endParaRPr/>
          </a:p>
        </p:txBody>
      </p:sp>
      <p:sp>
        <p:nvSpPr>
          <p:cNvPr id="2886" name="Google Shape;2886;p157"/>
          <p:cNvSpPr/>
          <p:nvPr/>
        </p:nvSpPr>
        <p:spPr>
          <a:xfrm>
            <a:off x="682925" y="2514600"/>
            <a:ext cx="1828800" cy="1828800"/>
          </a:xfrm>
          <a:prstGeom prst="ellipse">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Tree>
    <p:extLst>
      <p:ext uri="{BB962C8B-B14F-4D97-AF65-F5344CB8AC3E}">
        <p14:creationId xmlns:p14="http://schemas.microsoft.com/office/powerpoint/2010/main" val="7401191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matchingName="23. Section title left_3">
  <p:cSld name="23. Section title left_3">
    <p:spTree>
      <p:nvGrpSpPr>
        <p:cNvPr id="1" name="Shape 2887"/>
        <p:cNvGrpSpPr/>
        <p:nvPr/>
      </p:nvGrpSpPr>
      <p:grpSpPr>
        <a:xfrm>
          <a:off x="0" y="0"/>
          <a:ext cx="0" cy="0"/>
          <a:chOff x="0" y="0"/>
          <a:chExt cx="0" cy="0"/>
        </a:xfrm>
      </p:grpSpPr>
      <p:grpSp>
        <p:nvGrpSpPr>
          <p:cNvPr id="2888" name="Google Shape;2888;p158"/>
          <p:cNvGrpSpPr/>
          <p:nvPr/>
        </p:nvGrpSpPr>
        <p:grpSpPr>
          <a:xfrm>
            <a:off x="12253600" y="1"/>
            <a:ext cx="3438989" cy="3424452"/>
            <a:chOff x="22170399" y="777240"/>
            <a:chExt cx="6877978" cy="6848903"/>
          </a:xfrm>
        </p:grpSpPr>
        <p:grpSp>
          <p:nvGrpSpPr>
            <p:cNvPr id="2889" name="Google Shape;2889;p158"/>
            <p:cNvGrpSpPr/>
            <p:nvPr/>
          </p:nvGrpSpPr>
          <p:grpSpPr>
            <a:xfrm>
              <a:off x="22170399" y="777240"/>
              <a:ext cx="6877978" cy="6848903"/>
              <a:chOff x="22155159" y="0"/>
              <a:chExt cx="6877978" cy="6848903"/>
            </a:xfrm>
          </p:grpSpPr>
          <p:sp>
            <p:nvSpPr>
              <p:cNvPr id="2890" name="Google Shape;2890;p158"/>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891" name="Google Shape;2891;p158"/>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892" name="Google Shape;2892;p158"/>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893" name="Google Shape;2893;p158"/>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894" name="Google Shape;2894;p158"/>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895" name="Google Shape;2895;p158"/>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896" name="Google Shape;2896;p158"/>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897" name="Google Shape;2897;p158"/>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898" name="Google Shape;2898;p158"/>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899" name="Google Shape;2899;p158"/>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900" name="Google Shape;2900;p158"/>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901" name="Google Shape;2901;p158"/>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902" name="Google Shape;2902;p158"/>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903" name="Google Shape;2903;p158"/>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2904" name="Google Shape;2904;p158"/>
          <p:cNvSpPr txBox="1">
            <a:spLocks noGrp="1"/>
          </p:cNvSpPr>
          <p:nvPr>
            <p:ph type="title"/>
          </p:nvPr>
        </p:nvSpPr>
        <p:spPr>
          <a:xfrm>
            <a:off x="2895092" y="2798976"/>
            <a:ext cx="8395200" cy="793600"/>
          </a:xfrm>
          <a:prstGeom prst="rect">
            <a:avLst/>
          </a:prstGeom>
          <a:noFill/>
          <a:ln>
            <a:noFill/>
          </a:ln>
        </p:spPr>
        <p:txBody>
          <a:bodyPr spcFirstLastPara="1" wrap="square" lIns="34275" tIns="17150" rIns="34275" bIns="17150" anchor="t" anchorCtr="0">
            <a:noAutofit/>
          </a:bodyPr>
          <a:lstStyle>
            <a:lvl1pPr marR="0" lvl="0"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9pPr>
          </a:lstStyle>
          <a:p>
            <a:endParaRPr/>
          </a:p>
        </p:txBody>
      </p:sp>
      <p:sp>
        <p:nvSpPr>
          <p:cNvPr id="2905" name="Google Shape;2905;p158"/>
          <p:cNvSpPr txBox="1">
            <a:spLocks noGrp="1"/>
          </p:cNvSpPr>
          <p:nvPr>
            <p:ph type="subTitle" idx="1"/>
          </p:nvPr>
        </p:nvSpPr>
        <p:spPr>
          <a:xfrm>
            <a:off x="2889504" y="3633216"/>
            <a:ext cx="8400400" cy="426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9pPr>
          </a:lstStyle>
          <a:p>
            <a:endParaRPr/>
          </a:p>
        </p:txBody>
      </p:sp>
      <p:sp>
        <p:nvSpPr>
          <p:cNvPr id="2906" name="Google Shape;2906;p158"/>
          <p:cNvSpPr/>
          <p:nvPr/>
        </p:nvSpPr>
        <p:spPr>
          <a:xfrm>
            <a:off x="682925" y="2514600"/>
            <a:ext cx="1828800" cy="18288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Tree>
    <p:extLst>
      <p:ext uri="{BB962C8B-B14F-4D97-AF65-F5344CB8AC3E}">
        <p14:creationId xmlns:p14="http://schemas.microsoft.com/office/powerpoint/2010/main" val="233280088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matchingName="24. Section title left_4">
  <p:cSld name="24. Section title left_4">
    <p:bg>
      <p:bgPr>
        <a:gradFill>
          <a:gsLst>
            <a:gs pos="0">
              <a:schemeClr val="accent5"/>
            </a:gs>
            <a:gs pos="50000">
              <a:schemeClr val="accent1"/>
            </a:gs>
            <a:gs pos="100000">
              <a:schemeClr val="accent4"/>
            </a:gs>
          </a:gsLst>
          <a:lin ang="18900044" scaled="0"/>
        </a:gradFill>
        <a:effectLst/>
      </p:bgPr>
    </p:bg>
    <p:spTree>
      <p:nvGrpSpPr>
        <p:cNvPr id="1" name="Shape 2907"/>
        <p:cNvGrpSpPr/>
        <p:nvPr/>
      </p:nvGrpSpPr>
      <p:grpSpPr>
        <a:xfrm>
          <a:off x="0" y="0"/>
          <a:ext cx="0" cy="0"/>
          <a:chOff x="0" y="0"/>
          <a:chExt cx="0" cy="0"/>
        </a:xfrm>
      </p:grpSpPr>
      <p:sp>
        <p:nvSpPr>
          <p:cNvPr id="2908" name="Google Shape;2908;p159"/>
          <p:cNvSpPr/>
          <p:nvPr/>
        </p:nvSpPr>
        <p:spPr>
          <a:xfrm>
            <a:off x="12210288" y="5155224"/>
            <a:ext cx="1549200" cy="2596800"/>
          </a:xfrm>
          <a:prstGeom prst="rect">
            <a:avLst/>
          </a:prstGeom>
          <a:solidFill>
            <a:srgbClr val="282828"/>
          </a:solidFill>
          <a:ln w="508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2909" name="Google Shape;2909;p159"/>
          <p:cNvSpPr/>
          <p:nvPr/>
        </p:nvSpPr>
        <p:spPr>
          <a:xfrm>
            <a:off x="12213336" y="4279392"/>
            <a:ext cx="1905200" cy="4041600"/>
          </a:xfrm>
          <a:prstGeom prst="rect">
            <a:avLst/>
          </a:prstGeom>
          <a:solidFill>
            <a:srgbClr val="282828"/>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2910" name="Google Shape;2910;p159"/>
          <p:cNvSpPr/>
          <p:nvPr/>
        </p:nvSpPr>
        <p:spPr>
          <a:xfrm>
            <a:off x="11260836" y="6881388"/>
            <a:ext cx="1905200" cy="1155200"/>
          </a:xfrm>
          <a:prstGeom prst="rect">
            <a:avLst/>
          </a:prstGeom>
          <a:solidFill>
            <a:srgbClr val="282828"/>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2911" name="Google Shape;2911;p159"/>
          <p:cNvSpPr txBox="1">
            <a:spLocks noGrp="1"/>
          </p:cNvSpPr>
          <p:nvPr>
            <p:ph type="title"/>
          </p:nvPr>
        </p:nvSpPr>
        <p:spPr>
          <a:xfrm>
            <a:off x="609600" y="2767600"/>
            <a:ext cx="8531200" cy="793600"/>
          </a:xfrm>
          <a:prstGeom prst="rect">
            <a:avLst/>
          </a:prstGeom>
          <a:noFill/>
          <a:ln>
            <a:noFill/>
          </a:ln>
        </p:spPr>
        <p:txBody>
          <a:bodyPr spcFirstLastPara="1" wrap="square" lIns="34275" tIns="17150" rIns="34275" bIns="17150" anchor="b" anchorCtr="0">
            <a:noAutofit/>
          </a:bodyPr>
          <a:lstStyle>
            <a:lvl1pPr marR="0" lvl="0"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9pPr>
          </a:lstStyle>
          <a:p>
            <a:endParaRPr/>
          </a:p>
        </p:txBody>
      </p:sp>
      <p:sp>
        <p:nvSpPr>
          <p:cNvPr id="2912" name="Google Shape;2912;p159"/>
          <p:cNvSpPr txBox="1">
            <a:spLocks noGrp="1"/>
          </p:cNvSpPr>
          <p:nvPr>
            <p:ph type="subTitle" idx="1"/>
          </p:nvPr>
        </p:nvSpPr>
        <p:spPr>
          <a:xfrm>
            <a:off x="609600" y="3560064"/>
            <a:ext cx="8400400" cy="426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2"/>
              </a:buClr>
              <a:buSzPts val="1600"/>
              <a:buFont typeface="Roboto Mono"/>
              <a:buNone/>
              <a:defRPr sz="2133">
                <a:solidFill>
                  <a:schemeClr val="lt2"/>
                </a:solidFill>
                <a:latin typeface="Roboto Mono"/>
                <a:ea typeface="Roboto Mono"/>
                <a:cs typeface="Roboto Mono"/>
                <a:sym typeface="Roboto Mono"/>
              </a:defRPr>
            </a:lvl1pPr>
            <a:lvl2pPr lvl="1"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2pPr>
            <a:lvl3pPr lvl="2"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3pPr>
            <a:lvl4pPr lvl="3"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4pPr>
            <a:lvl5pPr lvl="4"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5pPr>
            <a:lvl6pPr lvl="5"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6pPr>
            <a:lvl7pPr lvl="6"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7pPr>
            <a:lvl8pPr lvl="7"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8pPr>
            <a:lvl9pPr lvl="8"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9pPr>
          </a:lstStyle>
          <a:p>
            <a:endParaRPr/>
          </a:p>
        </p:txBody>
      </p:sp>
    </p:spTree>
    <p:extLst>
      <p:ext uri="{BB962C8B-B14F-4D97-AF65-F5344CB8AC3E}">
        <p14:creationId xmlns:p14="http://schemas.microsoft.com/office/powerpoint/2010/main" val="275190037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matchingName="25. Section title left_5">
  <p:cSld name="25. Section title left_5">
    <p:bg>
      <p:bgPr>
        <a:gradFill>
          <a:gsLst>
            <a:gs pos="0">
              <a:schemeClr val="accent2"/>
            </a:gs>
            <a:gs pos="50000">
              <a:schemeClr val="accent5"/>
            </a:gs>
            <a:gs pos="100000">
              <a:schemeClr val="accent1"/>
            </a:gs>
          </a:gsLst>
          <a:lin ang="18900044" scaled="0"/>
        </a:gradFill>
        <a:effectLst/>
      </p:bgPr>
    </p:bg>
    <p:spTree>
      <p:nvGrpSpPr>
        <p:cNvPr id="1" name="Shape 2913"/>
        <p:cNvGrpSpPr/>
        <p:nvPr/>
      </p:nvGrpSpPr>
      <p:grpSpPr>
        <a:xfrm>
          <a:off x="0" y="0"/>
          <a:ext cx="0" cy="0"/>
          <a:chOff x="0" y="0"/>
          <a:chExt cx="0" cy="0"/>
        </a:xfrm>
      </p:grpSpPr>
      <p:sp>
        <p:nvSpPr>
          <p:cNvPr id="2914" name="Google Shape;2914;p160"/>
          <p:cNvSpPr txBox="1">
            <a:spLocks noGrp="1"/>
          </p:cNvSpPr>
          <p:nvPr>
            <p:ph type="title"/>
          </p:nvPr>
        </p:nvSpPr>
        <p:spPr>
          <a:xfrm>
            <a:off x="609600" y="2767584"/>
            <a:ext cx="8395200" cy="793600"/>
          </a:xfrm>
          <a:prstGeom prst="rect">
            <a:avLst/>
          </a:prstGeom>
          <a:noFill/>
          <a:ln>
            <a:noFill/>
          </a:ln>
        </p:spPr>
        <p:txBody>
          <a:bodyPr spcFirstLastPara="1" wrap="square" lIns="34275" tIns="17150" rIns="34275" bIns="17150" anchor="b" anchorCtr="0">
            <a:noAutofit/>
          </a:bodyPr>
          <a:lstStyle>
            <a:lvl1pPr marR="0" lvl="0" rtl="0">
              <a:lnSpc>
                <a:spcPct val="100000"/>
              </a:lnSpc>
              <a:spcBef>
                <a:spcPts val="0"/>
              </a:spcBef>
              <a:spcAft>
                <a:spcPts val="0"/>
              </a:spcAft>
              <a:buClr>
                <a:schemeClr val="lt1"/>
              </a:buClr>
              <a:buSzPts val="3600"/>
              <a:buFont typeface="Arial"/>
              <a:buNone/>
              <a:defRPr sz="48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3800"/>
              <a:buFont typeface="Arial"/>
              <a:buNone/>
              <a:defRPr sz="5067" b="1"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3800"/>
              <a:buFont typeface="Arial"/>
              <a:buNone/>
              <a:defRPr sz="5067" b="1"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3800"/>
              <a:buFont typeface="Arial"/>
              <a:buNone/>
              <a:defRPr sz="5067" b="1"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3800"/>
              <a:buFont typeface="Arial"/>
              <a:buNone/>
              <a:defRPr sz="5067" b="1"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3800"/>
              <a:buFont typeface="Arial"/>
              <a:buNone/>
              <a:defRPr sz="5067" b="1"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3800"/>
              <a:buFont typeface="Arial"/>
              <a:buNone/>
              <a:defRPr sz="5067" b="1"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3800"/>
              <a:buFont typeface="Arial"/>
              <a:buNone/>
              <a:defRPr sz="5067" b="1"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3800"/>
              <a:buFont typeface="Arial"/>
              <a:buNone/>
              <a:defRPr sz="5067" b="1" i="0" u="none" strike="noStrike" cap="none">
                <a:solidFill>
                  <a:schemeClr val="lt1"/>
                </a:solidFill>
                <a:latin typeface="Arial"/>
                <a:ea typeface="Arial"/>
                <a:cs typeface="Arial"/>
                <a:sym typeface="Arial"/>
              </a:defRPr>
            </a:lvl9pPr>
          </a:lstStyle>
          <a:p>
            <a:endParaRPr/>
          </a:p>
        </p:txBody>
      </p:sp>
      <p:sp>
        <p:nvSpPr>
          <p:cNvPr id="2915" name="Google Shape;2915;p160"/>
          <p:cNvSpPr txBox="1">
            <a:spLocks noGrp="1"/>
          </p:cNvSpPr>
          <p:nvPr>
            <p:ph type="subTitle" idx="1"/>
          </p:nvPr>
        </p:nvSpPr>
        <p:spPr>
          <a:xfrm>
            <a:off x="609600" y="3560064"/>
            <a:ext cx="8400400" cy="426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Font typeface="Roboto Mono"/>
              <a:buNone/>
              <a:defRPr sz="2133">
                <a:solidFill>
                  <a:schemeClr val="lt1"/>
                </a:solidFill>
                <a:latin typeface="Roboto Mono"/>
                <a:ea typeface="Roboto Mono"/>
                <a:cs typeface="Roboto Mono"/>
                <a:sym typeface="Roboto Mono"/>
              </a:defRPr>
            </a:lvl1pPr>
            <a:lvl2pPr lvl="1" rtl="0">
              <a:spcBef>
                <a:spcPts val="0"/>
              </a:spcBef>
              <a:spcAft>
                <a:spcPts val="0"/>
              </a:spcAft>
              <a:buClr>
                <a:schemeClr val="lt1"/>
              </a:buClr>
              <a:buSzPts val="1600"/>
              <a:buFont typeface="Courier New"/>
              <a:buNone/>
              <a:defRPr sz="2133">
                <a:solidFill>
                  <a:schemeClr val="lt1"/>
                </a:solidFill>
                <a:latin typeface="Courier New"/>
                <a:ea typeface="Courier New"/>
                <a:cs typeface="Courier New"/>
                <a:sym typeface="Courier New"/>
              </a:defRPr>
            </a:lvl2pPr>
            <a:lvl3pPr lvl="2" rtl="0">
              <a:spcBef>
                <a:spcPts val="0"/>
              </a:spcBef>
              <a:spcAft>
                <a:spcPts val="0"/>
              </a:spcAft>
              <a:buClr>
                <a:schemeClr val="lt1"/>
              </a:buClr>
              <a:buSzPts val="1600"/>
              <a:buFont typeface="Courier New"/>
              <a:buNone/>
              <a:defRPr sz="2133">
                <a:solidFill>
                  <a:schemeClr val="lt1"/>
                </a:solidFill>
                <a:latin typeface="Courier New"/>
                <a:ea typeface="Courier New"/>
                <a:cs typeface="Courier New"/>
                <a:sym typeface="Courier New"/>
              </a:defRPr>
            </a:lvl3pPr>
            <a:lvl4pPr lvl="3" rtl="0">
              <a:spcBef>
                <a:spcPts val="0"/>
              </a:spcBef>
              <a:spcAft>
                <a:spcPts val="0"/>
              </a:spcAft>
              <a:buClr>
                <a:schemeClr val="lt1"/>
              </a:buClr>
              <a:buSzPts val="1600"/>
              <a:buFont typeface="Courier New"/>
              <a:buNone/>
              <a:defRPr sz="2133">
                <a:solidFill>
                  <a:schemeClr val="lt1"/>
                </a:solidFill>
                <a:latin typeface="Courier New"/>
                <a:ea typeface="Courier New"/>
                <a:cs typeface="Courier New"/>
                <a:sym typeface="Courier New"/>
              </a:defRPr>
            </a:lvl4pPr>
            <a:lvl5pPr lvl="4" rtl="0">
              <a:spcBef>
                <a:spcPts val="0"/>
              </a:spcBef>
              <a:spcAft>
                <a:spcPts val="0"/>
              </a:spcAft>
              <a:buClr>
                <a:schemeClr val="lt1"/>
              </a:buClr>
              <a:buSzPts val="1600"/>
              <a:buFont typeface="Courier New"/>
              <a:buNone/>
              <a:defRPr sz="2133">
                <a:solidFill>
                  <a:schemeClr val="lt1"/>
                </a:solidFill>
                <a:latin typeface="Courier New"/>
                <a:ea typeface="Courier New"/>
                <a:cs typeface="Courier New"/>
                <a:sym typeface="Courier New"/>
              </a:defRPr>
            </a:lvl5pPr>
            <a:lvl6pPr lvl="5" rtl="0">
              <a:spcBef>
                <a:spcPts val="0"/>
              </a:spcBef>
              <a:spcAft>
                <a:spcPts val="0"/>
              </a:spcAft>
              <a:buClr>
                <a:schemeClr val="lt1"/>
              </a:buClr>
              <a:buSzPts val="1600"/>
              <a:buFont typeface="Courier New"/>
              <a:buNone/>
              <a:defRPr sz="2133">
                <a:solidFill>
                  <a:schemeClr val="lt1"/>
                </a:solidFill>
                <a:latin typeface="Courier New"/>
                <a:ea typeface="Courier New"/>
                <a:cs typeface="Courier New"/>
                <a:sym typeface="Courier New"/>
              </a:defRPr>
            </a:lvl6pPr>
            <a:lvl7pPr lvl="6" rtl="0">
              <a:spcBef>
                <a:spcPts val="0"/>
              </a:spcBef>
              <a:spcAft>
                <a:spcPts val="0"/>
              </a:spcAft>
              <a:buClr>
                <a:schemeClr val="lt1"/>
              </a:buClr>
              <a:buSzPts val="1600"/>
              <a:buFont typeface="Courier New"/>
              <a:buNone/>
              <a:defRPr sz="2133">
                <a:solidFill>
                  <a:schemeClr val="lt1"/>
                </a:solidFill>
                <a:latin typeface="Courier New"/>
                <a:ea typeface="Courier New"/>
                <a:cs typeface="Courier New"/>
                <a:sym typeface="Courier New"/>
              </a:defRPr>
            </a:lvl7pPr>
            <a:lvl8pPr lvl="7" rtl="0">
              <a:spcBef>
                <a:spcPts val="0"/>
              </a:spcBef>
              <a:spcAft>
                <a:spcPts val="0"/>
              </a:spcAft>
              <a:buClr>
                <a:schemeClr val="lt1"/>
              </a:buClr>
              <a:buSzPts val="1600"/>
              <a:buFont typeface="Courier New"/>
              <a:buNone/>
              <a:defRPr sz="2133">
                <a:solidFill>
                  <a:schemeClr val="lt1"/>
                </a:solidFill>
                <a:latin typeface="Courier New"/>
                <a:ea typeface="Courier New"/>
                <a:cs typeface="Courier New"/>
                <a:sym typeface="Courier New"/>
              </a:defRPr>
            </a:lvl8pPr>
            <a:lvl9pPr lvl="8" rtl="0">
              <a:spcBef>
                <a:spcPts val="0"/>
              </a:spcBef>
              <a:spcAft>
                <a:spcPts val="0"/>
              </a:spcAft>
              <a:buClr>
                <a:schemeClr val="lt1"/>
              </a:buClr>
              <a:buSzPts val="1600"/>
              <a:buFont typeface="Courier New"/>
              <a:buNone/>
              <a:defRPr sz="2133">
                <a:solidFill>
                  <a:schemeClr val="lt1"/>
                </a:solidFill>
                <a:latin typeface="Courier New"/>
                <a:ea typeface="Courier New"/>
                <a:cs typeface="Courier New"/>
                <a:sym typeface="Courier New"/>
              </a:defRPr>
            </a:lvl9pPr>
          </a:lstStyle>
          <a:p>
            <a:endParaRPr/>
          </a:p>
        </p:txBody>
      </p:sp>
    </p:spTree>
    <p:extLst>
      <p:ext uri="{BB962C8B-B14F-4D97-AF65-F5344CB8AC3E}">
        <p14:creationId xmlns:p14="http://schemas.microsoft.com/office/powerpoint/2010/main" val="2576486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tx2"/>
        </a:solidFill>
        <a:effectLst/>
      </p:bgPr>
    </p:bg>
    <p:spTree>
      <p:nvGrpSpPr>
        <p:cNvPr id="1" name=""/>
        <p:cNvGrpSpPr/>
        <p:nvPr/>
      </p:nvGrpSpPr>
      <p:grpSpPr>
        <a:xfrm>
          <a:off x="0" y="0"/>
          <a:ext cx="0" cy="0"/>
          <a:chOff x="0" y="0"/>
          <a:chExt cx="0" cy="0"/>
        </a:xfrm>
      </p:grpSpPr>
      <p:pic>
        <p:nvPicPr>
          <p:cNvPr id="6" name="Picture Placeholder 3" descr="A smileing person sitting at a table in a restaurant useing a phone and laptop">
            <a:extLst>
              <a:ext uri="{FF2B5EF4-FFF2-40B4-BE49-F238E27FC236}">
                <a16:creationId xmlns:a16="http://schemas.microsoft.com/office/drawing/2014/main" id="{D83EE80F-2917-9C41-97F4-69ABF39D55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3"/>
          <a:stretch/>
        </p:blipFill>
        <p:spPr>
          <a:xfrm>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4073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matchingName="26. Section title left_6">
  <p:cSld name="26. Section title left_6">
    <p:bg>
      <p:bgPr>
        <a:gradFill>
          <a:gsLst>
            <a:gs pos="0">
              <a:schemeClr val="accent2"/>
            </a:gs>
            <a:gs pos="51000">
              <a:schemeClr val="accent6"/>
            </a:gs>
            <a:gs pos="100000">
              <a:schemeClr val="accent3"/>
            </a:gs>
          </a:gsLst>
          <a:lin ang="18900044" scaled="0"/>
        </a:gradFill>
        <a:effectLst/>
      </p:bgPr>
    </p:bg>
    <p:spTree>
      <p:nvGrpSpPr>
        <p:cNvPr id="1" name="Shape 2916"/>
        <p:cNvGrpSpPr/>
        <p:nvPr/>
      </p:nvGrpSpPr>
      <p:grpSpPr>
        <a:xfrm>
          <a:off x="0" y="0"/>
          <a:ext cx="0" cy="0"/>
          <a:chOff x="0" y="0"/>
          <a:chExt cx="0" cy="0"/>
        </a:xfrm>
      </p:grpSpPr>
      <p:sp>
        <p:nvSpPr>
          <p:cNvPr id="2917" name="Google Shape;2917;p161"/>
          <p:cNvSpPr txBox="1">
            <a:spLocks noGrp="1"/>
          </p:cNvSpPr>
          <p:nvPr>
            <p:ph type="title"/>
          </p:nvPr>
        </p:nvSpPr>
        <p:spPr>
          <a:xfrm>
            <a:off x="609600" y="2767584"/>
            <a:ext cx="8395200" cy="793600"/>
          </a:xfrm>
          <a:prstGeom prst="rect">
            <a:avLst/>
          </a:prstGeom>
          <a:noFill/>
          <a:ln>
            <a:noFill/>
          </a:ln>
        </p:spPr>
        <p:txBody>
          <a:bodyPr spcFirstLastPara="1" wrap="square" lIns="34275" tIns="17150" rIns="34275" bIns="17150" anchor="b" anchorCtr="0">
            <a:noAutofit/>
          </a:bodyPr>
          <a:lstStyle>
            <a:lvl1pPr marR="0" lvl="0"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9pPr>
          </a:lstStyle>
          <a:p>
            <a:endParaRPr/>
          </a:p>
        </p:txBody>
      </p:sp>
      <p:sp>
        <p:nvSpPr>
          <p:cNvPr id="2918" name="Google Shape;2918;p161"/>
          <p:cNvSpPr txBox="1">
            <a:spLocks noGrp="1"/>
          </p:cNvSpPr>
          <p:nvPr>
            <p:ph type="subTitle" idx="1"/>
          </p:nvPr>
        </p:nvSpPr>
        <p:spPr>
          <a:xfrm>
            <a:off x="609600" y="3560064"/>
            <a:ext cx="8400400" cy="426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2"/>
              </a:buClr>
              <a:buSzPts val="1600"/>
              <a:buFont typeface="Roboto Mono"/>
              <a:buNone/>
              <a:defRPr sz="2133">
                <a:solidFill>
                  <a:schemeClr val="lt2"/>
                </a:solidFill>
                <a:latin typeface="Roboto Mono"/>
                <a:ea typeface="Roboto Mono"/>
                <a:cs typeface="Roboto Mono"/>
                <a:sym typeface="Roboto Mono"/>
              </a:defRPr>
            </a:lvl1pPr>
            <a:lvl2pPr lvl="1"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2pPr>
            <a:lvl3pPr lvl="2"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3pPr>
            <a:lvl4pPr lvl="3"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4pPr>
            <a:lvl5pPr lvl="4"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5pPr>
            <a:lvl6pPr lvl="5"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6pPr>
            <a:lvl7pPr lvl="6"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7pPr>
            <a:lvl8pPr lvl="7"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8pPr>
            <a:lvl9pPr lvl="8"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9pPr>
          </a:lstStyle>
          <a:p>
            <a:endParaRPr/>
          </a:p>
        </p:txBody>
      </p:sp>
    </p:spTree>
    <p:extLst>
      <p:ext uri="{BB962C8B-B14F-4D97-AF65-F5344CB8AC3E}">
        <p14:creationId xmlns:p14="http://schemas.microsoft.com/office/powerpoint/2010/main" val="159288590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matchingName="27. Where the world builds software (DO NOT EDIT)">
  <p:cSld name="27. Where the world builds software (DO NOT EDIT)">
    <p:spTree>
      <p:nvGrpSpPr>
        <p:cNvPr id="1" name="Shape 2919"/>
        <p:cNvGrpSpPr/>
        <p:nvPr/>
      </p:nvGrpSpPr>
      <p:grpSpPr>
        <a:xfrm>
          <a:off x="0" y="0"/>
          <a:ext cx="0" cy="0"/>
          <a:chOff x="0" y="0"/>
          <a:chExt cx="0" cy="0"/>
        </a:xfrm>
      </p:grpSpPr>
      <p:sp>
        <p:nvSpPr>
          <p:cNvPr id="2920" name="Google Shape;2920;p162"/>
          <p:cNvSpPr/>
          <p:nvPr/>
        </p:nvSpPr>
        <p:spPr>
          <a:xfrm>
            <a:off x="4191000" y="5943600"/>
            <a:ext cx="4241600" cy="800000"/>
          </a:xfrm>
          <a:prstGeom prst="rect">
            <a:avLst/>
          </a:prstGeom>
          <a:solidFill>
            <a:srgbClr val="090C0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2921" name="Google Shape;2921;p162"/>
          <p:cNvGrpSpPr/>
          <p:nvPr/>
        </p:nvGrpSpPr>
        <p:grpSpPr>
          <a:xfrm>
            <a:off x="12253600" y="1"/>
            <a:ext cx="3438989" cy="3424452"/>
            <a:chOff x="22170399" y="777240"/>
            <a:chExt cx="6877978" cy="6848903"/>
          </a:xfrm>
        </p:grpSpPr>
        <p:grpSp>
          <p:nvGrpSpPr>
            <p:cNvPr id="2922" name="Google Shape;2922;p162"/>
            <p:cNvGrpSpPr/>
            <p:nvPr/>
          </p:nvGrpSpPr>
          <p:grpSpPr>
            <a:xfrm>
              <a:off x="22170399" y="777240"/>
              <a:ext cx="6877978" cy="6848903"/>
              <a:chOff x="22155159" y="0"/>
              <a:chExt cx="6877978" cy="6848903"/>
            </a:xfrm>
          </p:grpSpPr>
          <p:sp>
            <p:nvSpPr>
              <p:cNvPr id="2923" name="Google Shape;2923;p162"/>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924" name="Google Shape;2924;p162"/>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925" name="Google Shape;2925;p162"/>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926" name="Google Shape;2926;p162"/>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927" name="Google Shape;2927;p162"/>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928" name="Google Shape;2928;p162"/>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929" name="Google Shape;2929;p162"/>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930" name="Google Shape;2930;p162"/>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931" name="Google Shape;2931;p162"/>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932" name="Google Shape;2932;p162"/>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933" name="Google Shape;2933;p162"/>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934" name="Google Shape;2934;p162"/>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935" name="Google Shape;2935;p162"/>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936" name="Google Shape;2936;p162"/>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pic>
        <p:nvPicPr>
          <p:cNvPr id="2937" name="Google Shape;2937;p162"/>
          <p:cNvPicPr preferRelativeResize="0"/>
          <p:nvPr/>
        </p:nvPicPr>
        <p:blipFill>
          <a:blip r:embed="rId2">
            <a:alphaModFix/>
          </a:blip>
          <a:stretch>
            <a:fillRect/>
          </a:stretch>
        </p:blipFill>
        <p:spPr>
          <a:xfrm rot="2037362">
            <a:off x="-3174833" y="-640499"/>
            <a:ext cx="18541663" cy="14214068"/>
          </a:xfrm>
          <a:prstGeom prst="rect">
            <a:avLst/>
          </a:prstGeom>
          <a:noFill/>
          <a:ln>
            <a:noFill/>
          </a:ln>
        </p:spPr>
      </p:pic>
      <p:sp>
        <p:nvSpPr>
          <p:cNvPr id="2938" name="Google Shape;2938;p162"/>
          <p:cNvSpPr txBox="1"/>
          <p:nvPr/>
        </p:nvSpPr>
        <p:spPr>
          <a:xfrm>
            <a:off x="0" y="381000"/>
            <a:ext cx="12192000" cy="1149057"/>
          </a:xfrm>
          <a:prstGeom prst="rect">
            <a:avLst/>
          </a:prstGeom>
          <a:noFill/>
          <a:ln>
            <a:noFill/>
          </a:ln>
        </p:spPr>
        <p:txBody>
          <a:bodyPr spcFirstLastPara="1" wrap="square" lIns="121900" tIns="121900" rIns="121900" bIns="121900" anchor="t" anchorCtr="0">
            <a:spAutoFit/>
          </a:bodyPr>
          <a:lstStyle/>
          <a:p>
            <a:pPr marL="0" lvl="0" indent="0" algn="ctr" rtl="0">
              <a:spcBef>
                <a:spcPts val="0"/>
              </a:spcBef>
              <a:spcAft>
                <a:spcPts val="0"/>
              </a:spcAft>
              <a:buNone/>
            </a:pPr>
            <a:r>
              <a:rPr lang="en" sz="5867" b="1">
                <a:solidFill>
                  <a:schemeClr val="accent1"/>
                </a:solidFill>
              </a:rPr>
              <a:t>Where the world builds software</a:t>
            </a:r>
            <a:endParaRPr sz="5867" b="1">
              <a:solidFill>
                <a:schemeClr val="accent1"/>
              </a:solidFill>
            </a:endParaRPr>
          </a:p>
        </p:txBody>
      </p:sp>
      <p:grpSp>
        <p:nvGrpSpPr>
          <p:cNvPr id="2939" name="Google Shape;2939;p162"/>
          <p:cNvGrpSpPr/>
          <p:nvPr/>
        </p:nvGrpSpPr>
        <p:grpSpPr>
          <a:xfrm>
            <a:off x="477000" y="1414285"/>
            <a:ext cx="11238000" cy="1325909"/>
            <a:chOff x="333925" y="1138125"/>
            <a:chExt cx="8428500" cy="994432"/>
          </a:xfrm>
        </p:grpSpPr>
        <p:sp>
          <p:nvSpPr>
            <p:cNvPr id="2940" name="Google Shape;2940;p162"/>
            <p:cNvSpPr txBox="1"/>
            <p:nvPr/>
          </p:nvSpPr>
          <p:spPr>
            <a:xfrm>
              <a:off x="333925" y="1138125"/>
              <a:ext cx="1485900" cy="692474"/>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4800" b="1">
                  <a:solidFill>
                    <a:schemeClr val="lt2"/>
                  </a:solidFill>
                </a:rPr>
                <a:t>83M+</a:t>
              </a:r>
              <a:endParaRPr sz="4800" b="1">
                <a:solidFill>
                  <a:schemeClr val="lt2"/>
                </a:solidFill>
              </a:endParaRPr>
            </a:p>
          </p:txBody>
        </p:sp>
        <p:sp>
          <p:nvSpPr>
            <p:cNvPr id="2941" name="Google Shape;2941;p162"/>
            <p:cNvSpPr txBox="1"/>
            <p:nvPr/>
          </p:nvSpPr>
          <p:spPr>
            <a:xfrm>
              <a:off x="1979125" y="1138125"/>
              <a:ext cx="1485900" cy="692474"/>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4800" b="1">
                  <a:solidFill>
                    <a:schemeClr val="lt2"/>
                  </a:solidFill>
                </a:rPr>
                <a:t>4M+</a:t>
              </a:r>
              <a:endParaRPr sz="4800" b="1">
                <a:solidFill>
                  <a:schemeClr val="lt2"/>
                </a:solidFill>
              </a:endParaRPr>
            </a:p>
          </p:txBody>
        </p:sp>
        <p:sp>
          <p:nvSpPr>
            <p:cNvPr id="2942" name="Google Shape;2942;p162"/>
            <p:cNvSpPr txBox="1"/>
            <p:nvPr/>
          </p:nvSpPr>
          <p:spPr>
            <a:xfrm>
              <a:off x="3624325" y="1138125"/>
              <a:ext cx="1485900" cy="692474"/>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4800" b="1">
                  <a:solidFill>
                    <a:schemeClr val="lt2"/>
                  </a:solidFill>
                </a:rPr>
                <a:t>2.6B+</a:t>
              </a:r>
              <a:endParaRPr sz="4800" b="1">
                <a:solidFill>
                  <a:schemeClr val="lt2"/>
                </a:solidFill>
              </a:endParaRPr>
            </a:p>
          </p:txBody>
        </p:sp>
        <p:sp>
          <p:nvSpPr>
            <p:cNvPr id="2943" name="Google Shape;2943;p162"/>
            <p:cNvSpPr txBox="1"/>
            <p:nvPr/>
          </p:nvSpPr>
          <p:spPr>
            <a:xfrm>
              <a:off x="5269525" y="1138125"/>
              <a:ext cx="1666800" cy="692474"/>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4800" b="1">
                  <a:solidFill>
                    <a:schemeClr val="lt2"/>
                  </a:solidFill>
                </a:rPr>
                <a:t>1,000+</a:t>
              </a:r>
              <a:endParaRPr sz="4800" b="1">
                <a:solidFill>
                  <a:schemeClr val="lt2"/>
                </a:solidFill>
              </a:endParaRPr>
            </a:p>
          </p:txBody>
        </p:sp>
        <p:sp>
          <p:nvSpPr>
            <p:cNvPr id="2944" name="Google Shape;2944;p162"/>
            <p:cNvSpPr txBox="1"/>
            <p:nvPr/>
          </p:nvSpPr>
          <p:spPr>
            <a:xfrm>
              <a:off x="7095625" y="1138125"/>
              <a:ext cx="1666800" cy="692474"/>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4800" b="1">
                  <a:solidFill>
                    <a:schemeClr val="lt2"/>
                  </a:solidFill>
                </a:rPr>
                <a:t>200M+</a:t>
              </a:r>
              <a:endParaRPr sz="4800" b="1">
                <a:solidFill>
                  <a:schemeClr val="lt2"/>
                </a:solidFill>
              </a:endParaRPr>
            </a:p>
          </p:txBody>
        </p:sp>
        <p:sp>
          <p:nvSpPr>
            <p:cNvPr id="2945" name="Google Shape;2945;p162"/>
            <p:cNvSpPr txBox="1"/>
            <p:nvPr/>
          </p:nvSpPr>
          <p:spPr>
            <a:xfrm>
              <a:off x="401275" y="1686400"/>
              <a:ext cx="1351200" cy="29231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333">
                  <a:solidFill>
                    <a:schemeClr val="dk2"/>
                  </a:solidFill>
                  <a:latin typeface="Roboto Mono"/>
                  <a:ea typeface="Roboto Mono"/>
                  <a:cs typeface="Roboto Mono"/>
                  <a:sym typeface="Roboto Mono"/>
                </a:rPr>
                <a:t>Developers</a:t>
              </a:r>
              <a:endParaRPr sz="1333">
                <a:solidFill>
                  <a:schemeClr val="dk2"/>
                </a:solidFill>
                <a:latin typeface="Roboto Mono"/>
                <a:ea typeface="Roboto Mono"/>
                <a:cs typeface="Roboto Mono"/>
                <a:sym typeface="Roboto Mono"/>
              </a:endParaRPr>
            </a:p>
          </p:txBody>
        </p:sp>
        <p:sp>
          <p:nvSpPr>
            <p:cNvPr id="2946" name="Google Shape;2946;p162"/>
            <p:cNvSpPr txBox="1"/>
            <p:nvPr/>
          </p:nvSpPr>
          <p:spPr>
            <a:xfrm>
              <a:off x="2046475" y="1686400"/>
              <a:ext cx="1351200" cy="29231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333">
                  <a:solidFill>
                    <a:schemeClr val="dk2"/>
                  </a:solidFill>
                  <a:latin typeface="Roboto Mono"/>
                  <a:ea typeface="Roboto Mono"/>
                  <a:cs typeface="Roboto Mono"/>
                  <a:sym typeface="Roboto Mono"/>
                </a:rPr>
                <a:t>Organizations</a:t>
              </a:r>
              <a:endParaRPr sz="1333">
                <a:solidFill>
                  <a:schemeClr val="dk2"/>
                </a:solidFill>
                <a:latin typeface="Roboto Mono"/>
                <a:ea typeface="Roboto Mono"/>
                <a:cs typeface="Roboto Mono"/>
                <a:sym typeface="Roboto Mono"/>
              </a:endParaRPr>
            </a:p>
          </p:txBody>
        </p:sp>
        <p:sp>
          <p:nvSpPr>
            <p:cNvPr id="2947" name="Google Shape;2947;p162"/>
            <p:cNvSpPr txBox="1"/>
            <p:nvPr/>
          </p:nvSpPr>
          <p:spPr>
            <a:xfrm>
              <a:off x="3691675" y="1686400"/>
              <a:ext cx="1351200" cy="44615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333">
                  <a:solidFill>
                    <a:schemeClr val="dk2"/>
                  </a:solidFill>
                  <a:latin typeface="Roboto Mono"/>
                  <a:ea typeface="Roboto Mono"/>
                  <a:cs typeface="Roboto Mono"/>
                  <a:sym typeface="Roboto Mono"/>
                </a:rPr>
                <a:t>Contributions per year</a:t>
              </a:r>
              <a:endParaRPr sz="1333">
                <a:solidFill>
                  <a:schemeClr val="dk2"/>
                </a:solidFill>
                <a:latin typeface="Roboto Mono"/>
                <a:ea typeface="Roboto Mono"/>
                <a:cs typeface="Roboto Mono"/>
                <a:sym typeface="Roboto Mono"/>
              </a:endParaRPr>
            </a:p>
          </p:txBody>
        </p:sp>
        <p:sp>
          <p:nvSpPr>
            <p:cNvPr id="2948" name="Google Shape;2948;p162"/>
            <p:cNvSpPr txBox="1"/>
            <p:nvPr/>
          </p:nvSpPr>
          <p:spPr>
            <a:xfrm>
              <a:off x="5427325" y="1686400"/>
              <a:ext cx="1351200" cy="44615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333">
                  <a:solidFill>
                    <a:schemeClr val="dk2"/>
                  </a:solidFill>
                  <a:latin typeface="Roboto Mono"/>
                  <a:ea typeface="Roboto Mono"/>
                  <a:cs typeface="Roboto Mono"/>
                  <a:sym typeface="Roboto Mono"/>
                </a:rPr>
                <a:t>Top open source communities</a:t>
              </a:r>
              <a:endParaRPr sz="1333">
                <a:solidFill>
                  <a:schemeClr val="dk2"/>
                </a:solidFill>
                <a:latin typeface="Roboto Mono"/>
                <a:ea typeface="Roboto Mono"/>
                <a:cs typeface="Roboto Mono"/>
                <a:sym typeface="Roboto Mono"/>
              </a:endParaRPr>
            </a:p>
          </p:txBody>
        </p:sp>
        <p:sp>
          <p:nvSpPr>
            <p:cNvPr id="2949" name="Google Shape;2949;p162"/>
            <p:cNvSpPr txBox="1"/>
            <p:nvPr/>
          </p:nvSpPr>
          <p:spPr>
            <a:xfrm>
              <a:off x="7148725" y="1686400"/>
              <a:ext cx="1560600" cy="44615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333">
                  <a:solidFill>
                    <a:schemeClr val="dk2"/>
                  </a:solidFill>
                  <a:latin typeface="Roboto Mono"/>
                  <a:ea typeface="Roboto Mono"/>
                  <a:cs typeface="Roboto Mono"/>
                  <a:sym typeface="Roboto Mono"/>
                </a:rPr>
                <a:t>Private + public repositories</a:t>
              </a:r>
              <a:endParaRPr sz="1333">
                <a:solidFill>
                  <a:schemeClr val="dk2"/>
                </a:solidFill>
                <a:latin typeface="Roboto Mono"/>
                <a:ea typeface="Roboto Mono"/>
                <a:cs typeface="Roboto Mono"/>
                <a:sym typeface="Roboto Mono"/>
              </a:endParaRPr>
            </a:p>
          </p:txBody>
        </p:sp>
      </p:grpSp>
    </p:spTree>
    <p:extLst>
      <p:ext uri="{BB962C8B-B14F-4D97-AF65-F5344CB8AC3E}">
        <p14:creationId xmlns:p14="http://schemas.microsoft.com/office/powerpoint/2010/main" val="278783624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matchingName="28. Two points">
  <p:cSld name="28. Two points">
    <p:spTree>
      <p:nvGrpSpPr>
        <p:cNvPr id="1" name="Shape 2950"/>
        <p:cNvGrpSpPr/>
        <p:nvPr/>
      </p:nvGrpSpPr>
      <p:grpSpPr>
        <a:xfrm>
          <a:off x="0" y="0"/>
          <a:ext cx="0" cy="0"/>
          <a:chOff x="0" y="0"/>
          <a:chExt cx="0" cy="0"/>
        </a:xfrm>
      </p:grpSpPr>
      <p:sp>
        <p:nvSpPr>
          <p:cNvPr id="2951" name="Google Shape;2951;p163"/>
          <p:cNvSpPr/>
          <p:nvPr/>
        </p:nvSpPr>
        <p:spPr>
          <a:xfrm>
            <a:off x="6101715" y="3550013"/>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952" name="Google Shape;2952;p163"/>
          <p:cNvSpPr/>
          <p:nvPr/>
        </p:nvSpPr>
        <p:spPr>
          <a:xfrm>
            <a:off x="6101715" y="2190385"/>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2953" name="Google Shape;2953;p163"/>
          <p:cNvSpPr txBox="1">
            <a:spLocks noGrp="1"/>
          </p:cNvSpPr>
          <p:nvPr>
            <p:ph type="title"/>
          </p:nvPr>
        </p:nvSpPr>
        <p:spPr>
          <a:xfrm>
            <a:off x="608395" y="2266951"/>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grpSp>
        <p:nvGrpSpPr>
          <p:cNvPr id="2954" name="Google Shape;2954;p163"/>
          <p:cNvGrpSpPr/>
          <p:nvPr/>
        </p:nvGrpSpPr>
        <p:grpSpPr>
          <a:xfrm>
            <a:off x="12253600" y="1"/>
            <a:ext cx="3438989" cy="3424452"/>
            <a:chOff x="22170399" y="777240"/>
            <a:chExt cx="6877978" cy="6848903"/>
          </a:xfrm>
        </p:grpSpPr>
        <p:grpSp>
          <p:nvGrpSpPr>
            <p:cNvPr id="2955" name="Google Shape;2955;p163"/>
            <p:cNvGrpSpPr/>
            <p:nvPr/>
          </p:nvGrpSpPr>
          <p:grpSpPr>
            <a:xfrm>
              <a:off x="22170399" y="777240"/>
              <a:ext cx="6877978" cy="6848903"/>
              <a:chOff x="22155159" y="0"/>
              <a:chExt cx="6877978" cy="6848903"/>
            </a:xfrm>
          </p:grpSpPr>
          <p:sp>
            <p:nvSpPr>
              <p:cNvPr id="2956" name="Google Shape;2956;p163"/>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2957" name="Google Shape;2957;p163"/>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2958" name="Google Shape;2958;p163"/>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2959" name="Google Shape;2959;p163"/>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2960" name="Google Shape;2960;p163"/>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2961" name="Google Shape;2961;p163"/>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2962" name="Google Shape;2962;p163"/>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2963" name="Google Shape;2963;p163"/>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2964" name="Google Shape;2964;p163"/>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2965" name="Google Shape;2965;p163"/>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2966" name="Google Shape;2966;p163"/>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2967" name="Google Shape;2967;p163"/>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2968" name="Google Shape;2968;p163"/>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2969" name="Google Shape;2969;p163"/>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2970" name="Google Shape;2970;p163"/>
          <p:cNvSpPr txBox="1">
            <a:spLocks noGrp="1"/>
          </p:cNvSpPr>
          <p:nvPr>
            <p:ph type="subTitle" idx="1"/>
          </p:nvPr>
        </p:nvSpPr>
        <p:spPr>
          <a:xfrm>
            <a:off x="7071360" y="2088896"/>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2971" name="Google Shape;2971;p163"/>
          <p:cNvSpPr txBox="1">
            <a:spLocks noGrp="1"/>
          </p:cNvSpPr>
          <p:nvPr>
            <p:ph type="subTitle" idx="2"/>
          </p:nvPr>
        </p:nvSpPr>
        <p:spPr>
          <a:xfrm>
            <a:off x="7071360" y="2503424"/>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2972" name="Google Shape;2972;p163"/>
          <p:cNvSpPr txBox="1">
            <a:spLocks noGrp="1"/>
          </p:cNvSpPr>
          <p:nvPr>
            <p:ph type="subTitle" idx="3"/>
          </p:nvPr>
        </p:nvSpPr>
        <p:spPr>
          <a:xfrm>
            <a:off x="7071360" y="3466592"/>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2973" name="Google Shape;2973;p163"/>
          <p:cNvSpPr txBox="1">
            <a:spLocks noGrp="1"/>
          </p:cNvSpPr>
          <p:nvPr>
            <p:ph type="subTitle" idx="4"/>
          </p:nvPr>
        </p:nvSpPr>
        <p:spPr>
          <a:xfrm>
            <a:off x="7071360" y="3881120"/>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5506240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matchingName="30. Four points">
  <p:cSld name="30. Four points">
    <p:spTree>
      <p:nvGrpSpPr>
        <p:cNvPr id="1" name="Shape 3001"/>
        <p:cNvGrpSpPr/>
        <p:nvPr/>
      </p:nvGrpSpPr>
      <p:grpSpPr>
        <a:xfrm>
          <a:off x="0" y="0"/>
          <a:ext cx="0" cy="0"/>
          <a:chOff x="0" y="0"/>
          <a:chExt cx="0" cy="0"/>
        </a:xfrm>
      </p:grpSpPr>
      <p:sp>
        <p:nvSpPr>
          <p:cNvPr id="3002" name="Google Shape;3002;p165"/>
          <p:cNvSpPr/>
          <p:nvPr/>
        </p:nvSpPr>
        <p:spPr>
          <a:xfrm>
            <a:off x="6107431" y="964743"/>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003" name="Google Shape;3003;p165"/>
          <p:cNvSpPr/>
          <p:nvPr/>
        </p:nvSpPr>
        <p:spPr>
          <a:xfrm>
            <a:off x="6107431" y="2344721"/>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004" name="Google Shape;3004;p165"/>
          <p:cNvSpPr/>
          <p:nvPr/>
        </p:nvSpPr>
        <p:spPr>
          <a:xfrm>
            <a:off x="6107431" y="3677095"/>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005" name="Google Shape;3005;p165"/>
          <p:cNvSpPr/>
          <p:nvPr/>
        </p:nvSpPr>
        <p:spPr>
          <a:xfrm>
            <a:off x="6107431" y="5095629"/>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3006" name="Google Shape;3006;p165"/>
          <p:cNvGrpSpPr/>
          <p:nvPr/>
        </p:nvGrpSpPr>
        <p:grpSpPr>
          <a:xfrm>
            <a:off x="12253600" y="1"/>
            <a:ext cx="3438989" cy="3424452"/>
            <a:chOff x="22170399" y="777240"/>
            <a:chExt cx="6877978" cy="6848903"/>
          </a:xfrm>
        </p:grpSpPr>
        <p:grpSp>
          <p:nvGrpSpPr>
            <p:cNvPr id="3007" name="Google Shape;3007;p165"/>
            <p:cNvGrpSpPr/>
            <p:nvPr/>
          </p:nvGrpSpPr>
          <p:grpSpPr>
            <a:xfrm>
              <a:off x="22170399" y="777240"/>
              <a:ext cx="6877978" cy="6848903"/>
              <a:chOff x="22155159" y="0"/>
              <a:chExt cx="6877978" cy="6848903"/>
            </a:xfrm>
          </p:grpSpPr>
          <p:sp>
            <p:nvSpPr>
              <p:cNvPr id="3008" name="Google Shape;3008;p165"/>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009" name="Google Shape;3009;p165"/>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010" name="Google Shape;3010;p165"/>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011" name="Google Shape;3011;p165"/>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012" name="Google Shape;3012;p165"/>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013" name="Google Shape;3013;p165"/>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014" name="Google Shape;3014;p165"/>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015" name="Google Shape;3015;p165"/>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016" name="Google Shape;3016;p165"/>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017" name="Google Shape;3017;p165"/>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018" name="Google Shape;3018;p165"/>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019" name="Google Shape;3019;p165"/>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020" name="Google Shape;3020;p165"/>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021" name="Google Shape;3021;p165"/>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022" name="Google Shape;3022;p165"/>
          <p:cNvSpPr txBox="1">
            <a:spLocks noGrp="1"/>
          </p:cNvSpPr>
          <p:nvPr>
            <p:ph type="title"/>
          </p:nvPr>
        </p:nvSpPr>
        <p:spPr>
          <a:xfrm>
            <a:off x="608395" y="2266951"/>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3023" name="Google Shape;3023;p165"/>
          <p:cNvSpPr txBox="1">
            <a:spLocks noGrp="1"/>
          </p:cNvSpPr>
          <p:nvPr>
            <p:ph type="subTitle" idx="1"/>
          </p:nvPr>
        </p:nvSpPr>
        <p:spPr>
          <a:xfrm>
            <a:off x="7071360" y="865632"/>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024" name="Google Shape;3024;p165"/>
          <p:cNvSpPr txBox="1">
            <a:spLocks noGrp="1"/>
          </p:cNvSpPr>
          <p:nvPr>
            <p:ph type="subTitle" idx="2"/>
          </p:nvPr>
        </p:nvSpPr>
        <p:spPr>
          <a:xfrm>
            <a:off x="7071360" y="1280160"/>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025" name="Google Shape;3025;p165"/>
          <p:cNvSpPr txBox="1">
            <a:spLocks noGrp="1"/>
          </p:cNvSpPr>
          <p:nvPr>
            <p:ph type="subTitle" idx="3"/>
          </p:nvPr>
        </p:nvSpPr>
        <p:spPr>
          <a:xfrm>
            <a:off x="7071360" y="2243328"/>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026" name="Google Shape;3026;p165"/>
          <p:cNvSpPr txBox="1">
            <a:spLocks noGrp="1"/>
          </p:cNvSpPr>
          <p:nvPr>
            <p:ph type="subTitle" idx="4"/>
          </p:nvPr>
        </p:nvSpPr>
        <p:spPr>
          <a:xfrm>
            <a:off x="7071360" y="2657856"/>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027" name="Google Shape;3027;p165"/>
          <p:cNvSpPr txBox="1">
            <a:spLocks noGrp="1"/>
          </p:cNvSpPr>
          <p:nvPr>
            <p:ph type="subTitle" idx="5"/>
          </p:nvPr>
        </p:nvSpPr>
        <p:spPr>
          <a:xfrm>
            <a:off x="7071360" y="3621024"/>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028" name="Google Shape;3028;p165"/>
          <p:cNvSpPr txBox="1">
            <a:spLocks noGrp="1"/>
          </p:cNvSpPr>
          <p:nvPr>
            <p:ph type="subTitle" idx="6"/>
          </p:nvPr>
        </p:nvSpPr>
        <p:spPr>
          <a:xfrm>
            <a:off x="7071360" y="4035552"/>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029" name="Google Shape;3029;p165"/>
          <p:cNvSpPr txBox="1">
            <a:spLocks noGrp="1"/>
          </p:cNvSpPr>
          <p:nvPr>
            <p:ph type="subTitle" idx="7"/>
          </p:nvPr>
        </p:nvSpPr>
        <p:spPr>
          <a:xfrm>
            <a:off x="7071360" y="4998720"/>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030" name="Google Shape;3030;p165"/>
          <p:cNvSpPr txBox="1">
            <a:spLocks noGrp="1"/>
          </p:cNvSpPr>
          <p:nvPr>
            <p:ph type="subTitle" idx="8"/>
          </p:nvPr>
        </p:nvSpPr>
        <p:spPr>
          <a:xfrm>
            <a:off x="7071360" y="5413248"/>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39886586"/>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matchingName="31. Two points with large icon">
  <p:cSld name="31. Two points with large icon">
    <p:spTree>
      <p:nvGrpSpPr>
        <p:cNvPr id="1" name="Shape 3031"/>
        <p:cNvGrpSpPr/>
        <p:nvPr/>
      </p:nvGrpSpPr>
      <p:grpSpPr>
        <a:xfrm>
          <a:off x="0" y="0"/>
          <a:ext cx="0" cy="0"/>
          <a:chOff x="0" y="0"/>
          <a:chExt cx="0" cy="0"/>
        </a:xfrm>
      </p:grpSpPr>
      <p:sp>
        <p:nvSpPr>
          <p:cNvPr id="3032" name="Google Shape;3032;p166"/>
          <p:cNvSpPr/>
          <p:nvPr/>
        </p:nvSpPr>
        <p:spPr>
          <a:xfrm>
            <a:off x="6101715" y="3550013"/>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033" name="Google Shape;3033;p166"/>
          <p:cNvSpPr/>
          <p:nvPr/>
        </p:nvSpPr>
        <p:spPr>
          <a:xfrm>
            <a:off x="6101715" y="2190385"/>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3034" name="Google Shape;3034;p166"/>
          <p:cNvGrpSpPr/>
          <p:nvPr/>
        </p:nvGrpSpPr>
        <p:grpSpPr>
          <a:xfrm>
            <a:off x="12253600" y="1"/>
            <a:ext cx="3438989" cy="3424452"/>
            <a:chOff x="22170399" y="777240"/>
            <a:chExt cx="6877978" cy="6848903"/>
          </a:xfrm>
        </p:grpSpPr>
        <p:grpSp>
          <p:nvGrpSpPr>
            <p:cNvPr id="3035" name="Google Shape;3035;p166"/>
            <p:cNvGrpSpPr/>
            <p:nvPr/>
          </p:nvGrpSpPr>
          <p:grpSpPr>
            <a:xfrm>
              <a:off x="22170399" y="777240"/>
              <a:ext cx="6877978" cy="6848903"/>
              <a:chOff x="22155159" y="0"/>
              <a:chExt cx="6877978" cy="6848903"/>
            </a:xfrm>
          </p:grpSpPr>
          <p:sp>
            <p:nvSpPr>
              <p:cNvPr id="3036" name="Google Shape;3036;p166"/>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037" name="Google Shape;3037;p166"/>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038" name="Google Shape;3038;p166"/>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039" name="Google Shape;3039;p166"/>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040" name="Google Shape;3040;p166"/>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041" name="Google Shape;3041;p166"/>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042" name="Google Shape;3042;p166"/>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043" name="Google Shape;3043;p166"/>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044" name="Google Shape;3044;p166"/>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045" name="Google Shape;3045;p166"/>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046" name="Google Shape;3046;p166"/>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047" name="Google Shape;3047;p166"/>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048" name="Google Shape;3048;p166"/>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049" name="Google Shape;3049;p166"/>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050" name="Google Shape;3050;p166"/>
          <p:cNvSpPr txBox="1">
            <a:spLocks noGrp="1"/>
          </p:cNvSpPr>
          <p:nvPr>
            <p:ph type="subTitle" idx="1"/>
          </p:nvPr>
        </p:nvSpPr>
        <p:spPr>
          <a:xfrm>
            <a:off x="7071360" y="2088896"/>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051" name="Google Shape;3051;p166"/>
          <p:cNvSpPr txBox="1">
            <a:spLocks noGrp="1"/>
          </p:cNvSpPr>
          <p:nvPr>
            <p:ph type="subTitle" idx="2"/>
          </p:nvPr>
        </p:nvSpPr>
        <p:spPr>
          <a:xfrm>
            <a:off x="7071360" y="2503424"/>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052" name="Google Shape;3052;p166"/>
          <p:cNvSpPr txBox="1">
            <a:spLocks noGrp="1"/>
          </p:cNvSpPr>
          <p:nvPr>
            <p:ph type="subTitle" idx="3"/>
          </p:nvPr>
        </p:nvSpPr>
        <p:spPr>
          <a:xfrm>
            <a:off x="7071360" y="3466592"/>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053" name="Google Shape;3053;p166"/>
          <p:cNvSpPr txBox="1">
            <a:spLocks noGrp="1"/>
          </p:cNvSpPr>
          <p:nvPr>
            <p:ph type="subTitle" idx="4"/>
          </p:nvPr>
        </p:nvSpPr>
        <p:spPr>
          <a:xfrm>
            <a:off x="7071360" y="3881120"/>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054" name="Google Shape;3054;p166"/>
          <p:cNvSpPr txBox="1">
            <a:spLocks noGrp="1"/>
          </p:cNvSpPr>
          <p:nvPr>
            <p:ph type="title"/>
          </p:nvPr>
        </p:nvSpPr>
        <p:spPr>
          <a:xfrm>
            <a:off x="608395" y="3157500"/>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3055" name="Google Shape;3055;p166"/>
          <p:cNvSpPr/>
          <p:nvPr/>
        </p:nvSpPr>
        <p:spPr>
          <a:xfrm>
            <a:off x="682925" y="1376484"/>
            <a:ext cx="1828800" cy="18288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Tree>
    <p:extLst>
      <p:ext uri="{BB962C8B-B14F-4D97-AF65-F5344CB8AC3E}">
        <p14:creationId xmlns:p14="http://schemas.microsoft.com/office/powerpoint/2010/main" val="159372561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matchingName="32. Three points with large icon">
  <p:cSld name="32. Three points with large icon">
    <p:spTree>
      <p:nvGrpSpPr>
        <p:cNvPr id="1" name="Shape 3056"/>
        <p:cNvGrpSpPr/>
        <p:nvPr/>
      </p:nvGrpSpPr>
      <p:grpSpPr>
        <a:xfrm>
          <a:off x="0" y="0"/>
          <a:ext cx="0" cy="0"/>
          <a:chOff x="0" y="0"/>
          <a:chExt cx="0" cy="0"/>
        </a:xfrm>
      </p:grpSpPr>
      <p:sp>
        <p:nvSpPr>
          <p:cNvPr id="3057" name="Google Shape;3057;p167"/>
          <p:cNvSpPr/>
          <p:nvPr/>
        </p:nvSpPr>
        <p:spPr>
          <a:xfrm>
            <a:off x="6101715" y="2966817"/>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058" name="Google Shape;3058;p167"/>
          <p:cNvSpPr/>
          <p:nvPr/>
        </p:nvSpPr>
        <p:spPr>
          <a:xfrm>
            <a:off x="6101715" y="1601231"/>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3059" name="Google Shape;3059;p167"/>
          <p:cNvGrpSpPr/>
          <p:nvPr/>
        </p:nvGrpSpPr>
        <p:grpSpPr>
          <a:xfrm>
            <a:off x="12253600" y="1"/>
            <a:ext cx="3438989" cy="3424452"/>
            <a:chOff x="22170399" y="777240"/>
            <a:chExt cx="6877978" cy="6848903"/>
          </a:xfrm>
        </p:grpSpPr>
        <p:grpSp>
          <p:nvGrpSpPr>
            <p:cNvPr id="3060" name="Google Shape;3060;p167"/>
            <p:cNvGrpSpPr/>
            <p:nvPr/>
          </p:nvGrpSpPr>
          <p:grpSpPr>
            <a:xfrm>
              <a:off x="22170399" y="777240"/>
              <a:ext cx="6877978" cy="6848903"/>
              <a:chOff x="22155159" y="0"/>
              <a:chExt cx="6877978" cy="6848903"/>
            </a:xfrm>
          </p:grpSpPr>
          <p:sp>
            <p:nvSpPr>
              <p:cNvPr id="3061" name="Google Shape;3061;p167"/>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062" name="Google Shape;3062;p167"/>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063" name="Google Shape;3063;p167"/>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064" name="Google Shape;3064;p167"/>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065" name="Google Shape;3065;p167"/>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066" name="Google Shape;3066;p167"/>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067" name="Google Shape;3067;p167"/>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068" name="Google Shape;3068;p167"/>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069" name="Google Shape;3069;p167"/>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070" name="Google Shape;3070;p167"/>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071" name="Google Shape;3071;p167"/>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072" name="Google Shape;3072;p167"/>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073" name="Google Shape;3073;p167"/>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074" name="Google Shape;3074;p167"/>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075" name="Google Shape;3075;p167"/>
          <p:cNvSpPr txBox="1">
            <a:spLocks noGrp="1"/>
          </p:cNvSpPr>
          <p:nvPr>
            <p:ph type="subTitle" idx="1"/>
          </p:nvPr>
        </p:nvSpPr>
        <p:spPr>
          <a:xfrm>
            <a:off x="7071360" y="1524341"/>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076" name="Google Shape;3076;p167"/>
          <p:cNvSpPr txBox="1">
            <a:spLocks noGrp="1"/>
          </p:cNvSpPr>
          <p:nvPr>
            <p:ph type="subTitle" idx="2"/>
          </p:nvPr>
        </p:nvSpPr>
        <p:spPr>
          <a:xfrm>
            <a:off x="7071360" y="1938869"/>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077" name="Google Shape;3077;p167"/>
          <p:cNvSpPr txBox="1">
            <a:spLocks noGrp="1"/>
          </p:cNvSpPr>
          <p:nvPr>
            <p:ph type="subTitle" idx="3"/>
          </p:nvPr>
        </p:nvSpPr>
        <p:spPr>
          <a:xfrm>
            <a:off x="7071360" y="2902037"/>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078" name="Google Shape;3078;p167"/>
          <p:cNvSpPr txBox="1">
            <a:spLocks noGrp="1"/>
          </p:cNvSpPr>
          <p:nvPr>
            <p:ph type="subTitle" idx="4"/>
          </p:nvPr>
        </p:nvSpPr>
        <p:spPr>
          <a:xfrm>
            <a:off x="7071360" y="3316565"/>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079" name="Google Shape;3079;p167"/>
          <p:cNvSpPr/>
          <p:nvPr/>
        </p:nvSpPr>
        <p:spPr>
          <a:xfrm>
            <a:off x="6101715" y="4332417"/>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080" name="Google Shape;3080;p167"/>
          <p:cNvSpPr txBox="1">
            <a:spLocks noGrp="1"/>
          </p:cNvSpPr>
          <p:nvPr>
            <p:ph type="subTitle" idx="5"/>
          </p:nvPr>
        </p:nvSpPr>
        <p:spPr>
          <a:xfrm>
            <a:off x="7071360" y="4248741"/>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081" name="Google Shape;3081;p167"/>
          <p:cNvSpPr txBox="1">
            <a:spLocks noGrp="1"/>
          </p:cNvSpPr>
          <p:nvPr>
            <p:ph type="subTitle" idx="6"/>
          </p:nvPr>
        </p:nvSpPr>
        <p:spPr>
          <a:xfrm>
            <a:off x="7071360" y="4663269"/>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082" name="Google Shape;3082;p167"/>
          <p:cNvSpPr txBox="1">
            <a:spLocks noGrp="1"/>
          </p:cNvSpPr>
          <p:nvPr>
            <p:ph type="title"/>
          </p:nvPr>
        </p:nvSpPr>
        <p:spPr>
          <a:xfrm>
            <a:off x="608395" y="3157500"/>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3083" name="Google Shape;3083;p167"/>
          <p:cNvSpPr/>
          <p:nvPr/>
        </p:nvSpPr>
        <p:spPr>
          <a:xfrm>
            <a:off x="682925" y="1376484"/>
            <a:ext cx="1828800" cy="18288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Tree>
    <p:extLst>
      <p:ext uri="{BB962C8B-B14F-4D97-AF65-F5344CB8AC3E}">
        <p14:creationId xmlns:p14="http://schemas.microsoft.com/office/powerpoint/2010/main" val="2229233663"/>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33. Four points with large icon">
  <p:cSld name="33. Four points with large icon">
    <p:spTree>
      <p:nvGrpSpPr>
        <p:cNvPr id="1" name="Shape 3084"/>
        <p:cNvGrpSpPr/>
        <p:nvPr/>
      </p:nvGrpSpPr>
      <p:grpSpPr>
        <a:xfrm>
          <a:off x="0" y="0"/>
          <a:ext cx="0" cy="0"/>
          <a:chOff x="0" y="0"/>
          <a:chExt cx="0" cy="0"/>
        </a:xfrm>
      </p:grpSpPr>
      <p:sp>
        <p:nvSpPr>
          <p:cNvPr id="3085" name="Google Shape;3085;p168"/>
          <p:cNvSpPr/>
          <p:nvPr/>
        </p:nvSpPr>
        <p:spPr>
          <a:xfrm>
            <a:off x="6107431" y="964743"/>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086" name="Google Shape;3086;p168"/>
          <p:cNvSpPr/>
          <p:nvPr/>
        </p:nvSpPr>
        <p:spPr>
          <a:xfrm>
            <a:off x="6107431" y="2344721"/>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087" name="Google Shape;3087;p168"/>
          <p:cNvSpPr/>
          <p:nvPr/>
        </p:nvSpPr>
        <p:spPr>
          <a:xfrm>
            <a:off x="6107431" y="3677095"/>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088" name="Google Shape;3088;p168"/>
          <p:cNvSpPr/>
          <p:nvPr/>
        </p:nvSpPr>
        <p:spPr>
          <a:xfrm>
            <a:off x="6107431" y="5095629"/>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3089" name="Google Shape;3089;p168"/>
          <p:cNvGrpSpPr/>
          <p:nvPr/>
        </p:nvGrpSpPr>
        <p:grpSpPr>
          <a:xfrm>
            <a:off x="12253600" y="1"/>
            <a:ext cx="3438989" cy="3424452"/>
            <a:chOff x="22170399" y="777240"/>
            <a:chExt cx="6877978" cy="6848903"/>
          </a:xfrm>
        </p:grpSpPr>
        <p:grpSp>
          <p:nvGrpSpPr>
            <p:cNvPr id="3090" name="Google Shape;3090;p168"/>
            <p:cNvGrpSpPr/>
            <p:nvPr/>
          </p:nvGrpSpPr>
          <p:grpSpPr>
            <a:xfrm>
              <a:off x="22170399" y="777240"/>
              <a:ext cx="6877978" cy="6848903"/>
              <a:chOff x="22155159" y="0"/>
              <a:chExt cx="6877978" cy="6848903"/>
            </a:xfrm>
          </p:grpSpPr>
          <p:sp>
            <p:nvSpPr>
              <p:cNvPr id="3091" name="Google Shape;3091;p168"/>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092" name="Google Shape;3092;p168"/>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093" name="Google Shape;3093;p168"/>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094" name="Google Shape;3094;p168"/>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095" name="Google Shape;3095;p168"/>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096" name="Google Shape;3096;p168"/>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097" name="Google Shape;3097;p168"/>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098" name="Google Shape;3098;p168"/>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099" name="Google Shape;3099;p168"/>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100" name="Google Shape;3100;p168"/>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101" name="Google Shape;3101;p168"/>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102" name="Google Shape;3102;p168"/>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103" name="Google Shape;3103;p168"/>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104" name="Google Shape;3104;p168"/>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105" name="Google Shape;3105;p168"/>
          <p:cNvSpPr txBox="1">
            <a:spLocks noGrp="1"/>
          </p:cNvSpPr>
          <p:nvPr>
            <p:ph type="title"/>
          </p:nvPr>
        </p:nvSpPr>
        <p:spPr>
          <a:xfrm>
            <a:off x="608395" y="3157500"/>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3106" name="Google Shape;3106;p168"/>
          <p:cNvSpPr txBox="1">
            <a:spLocks noGrp="1"/>
          </p:cNvSpPr>
          <p:nvPr>
            <p:ph type="subTitle" idx="1"/>
          </p:nvPr>
        </p:nvSpPr>
        <p:spPr>
          <a:xfrm>
            <a:off x="7071360" y="865632"/>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107" name="Google Shape;3107;p168"/>
          <p:cNvSpPr txBox="1">
            <a:spLocks noGrp="1"/>
          </p:cNvSpPr>
          <p:nvPr>
            <p:ph type="subTitle" idx="2"/>
          </p:nvPr>
        </p:nvSpPr>
        <p:spPr>
          <a:xfrm>
            <a:off x="7071360" y="1280160"/>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108" name="Google Shape;3108;p168"/>
          <p:cNvSpPr txBox="1">
            <a:spLocks noGrp="1"/>
          </p:cNvSpPr>
          <p:nvPr>
            <p:ph type="subTitle" idx="3"/>
          </p:nvPr>
        </p:nvSpPr>
        <p:spPr>
          <a:xfrm>
            <a:off x="7071360" y="2243328"/>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109" name="Google Shape;3109;p168"/>
          <p:cNvSpPr txBox="1">
            <a:spLocks noGrp="1"/>
          </p:cNvSpPr>
          <p:nvPr>
            <p:ph type="subTitle" idx="4"/>
          </p:nvPr>
        </p:nvSpPr>
        <p:spPr>
          <a:xfrm>
            <a:off x="7071360" y="2657856"/>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110" name="Google Shape;3110;p168"/>
          <p:cNvSpPr txBox="1">
            <a:spLocks noGrp="1"/>
          </p:cNvSpPr>
          <p:nvPr>
            <p:ph type="subTitle" idx="5"/>
          </p:nvPr>
        </p:nvSpPr>
        <p:spPr>
          <a:xfrm>
            <a:off x="7071360" y="3621024"/>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111" name="Google Shape;3111;p168"/>
          <p:cNvSpPr txBox="1">
            <a:spLocks noGrp="1"/>
          </p:cNvSpPr>
          <p:nvPr>
            <p:ph type="subTitle" idx="6"/>
          </p:nvPr>
        </p:nvSpPr>
        <p:spPr>
          <a:xfrm>
            <a:off x="7071360" y="4035552"/>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112" name="Google Shape;3112;p168"/>
          <p:cNvSpPr txBox="1">
            <a:spLocks noGrp="1"/>
          </p:cNvSpPr>
          <p:nvPr>
            <p:ph type="subTitle" idx="7"/>
          </p:nvPr>
        </p:nvSpPr>
        <p:spPr>
          <a:xfrm>
            <a:off x="7071360" y="4998720"/>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113" name="Google Shape;3113;p168"/>
          <p:cNvSpPr txBox="1">
            <a:spLocks noGrp="1"/>
          </p:cNvSpPr>
          <p:nvPr>
            <p:ph type="subTitle" idx="8"/>
          </p:nvPr>
        </p:nvSpPr>
        <p:spPr>
          <a:xfrm>
            <a:off x="7071360" y="5413248"/>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114" name="Google Shape;3114;p168"/>
          <p:cNvSpPr/>
          <p:nvPr/>
        </p:nvSpPr>
        <p:spPr>
          <a:xfrm>
            <a:off x="682925" y="1376484"/>
            <a:ext cx="1828800" cy="18288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Tree>
    <p:extLst>
      <p:ext uri="{BB962C8B-B14F-4D97-AF65-F5344CB8AC3E}">
        <p14:creationId xmlns:p14="http://schemas.microsoft.com/office/powerpoint/2010/main" val="26087458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matchingName="34. Three points with title">
  <p:cSld name="34. Three points with title">
    <p:spTree>
      <p:nvGrpSpPr>
        <p:cNvPr id="1" name="Shape 3115"/>
        <p:cNvGrpSpPr/>
        <p:nvPr/>
      </p:nvGrpSpPr>
      <p:grpSpPr>
        <a:xfrm>
          <a:off x="0" y="0"/>
          <a:ext cx="0" cy="0"/>
          <a:chOff x="0" y="0"/>
          <a:chExt cx="0" cy="0"/>
        </a:xfrm>
      </p:grpSpPr>
      <p:sp>
        <p:nvSpPr>
          <p:cNvPr id="3116" name="Google Shape;3116;p169"/>
          <p:cNvSpPr/>
          <p:nvPr/>
        </p:nvSpPr>
        <p:spPr>
          <a:xfrm>
            <a:off x="597884" y="2632711"/>
            <a:ext cx="727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117" name="Google Shape;3117;p169"/>
          <p:cNvSpPr/>
          <p:nvPr/>
        </p:nvSpPr>
        <p:spPr>
          <a:xfrm>
            <a:off x="4499856" y="2632711"/>
            <a:ext cx="727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118" name="Google Shape;3118;p169"/>
          <p:cNvSpPr/>
          <p:nvPr/>
        </p:nvSpPr>
        <p:spPr>
          <a:xfrm>
            <a:off x="8376728" y="2632711"/>
            <a:ext cx="727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119" name="Google Shape;3119;p169"/>
          <p:cNvSpPr txBox="1">
            <a:spLocks noGrp="1"/>
          </p:cNvSpPr>
          <p:nvPr>
            <p:ph type="title"/>
          </p:nvPr>
        </p:nvSpPr>
        <p:spPr>
          <a:xfrm>
            <a:off x="482972" y="369535"/>
            <a:ext cx="10414000" cy="1162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grpSp>
        <p:nvGrpSpPr>
          <p:cNvPr id="3120" name="Google Shape;3120;p169"/>
          <p:cNvGrpSpPr/>
          <p:nvPr/>
        </p:nvGrpSpPr>
        <p:grpSpPr>
          <a:xfrm>
            <a:off x="12253600" y="1"/>
            <a:ext cx="3438989" cy="3424452"/>
            <a:chOff x="22170399" y="777240"/>
            <a:chExt cx="6877978" cy="6848903"/>
          </a:xfrm>
        </p:grpSpPr>
        <p:grpSp>
          <p:nvGrpSpPr>
            <p:cNvPr id="3121" name="Google Shape;3121;p169"/>
            <p:cNvGrpSpPr/>
            <p:nvPr/>
          </p:nvGrpSpPr>
          <p:grpSpPr>
            <a:xfrm>
              <a:off x="22170399" y="777240"/>
              <a:ext cx="6877978" cy="6848903"/>
              <a:chOff x="22155159" y="0"/>
              <a:chExt cx="6877978" cy="6848903"/>
            </a:xfrm>
          </p:grpSpPr>
          <p:sp>
            <p:nvSpPr>
              <p:cNvPr id="3122" name="Google Shape;3122;p169"/>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123" name="Google Shape;3123;p169"/>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124" name="Google Shape;3124;p169"/>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125" name="Google Shape;3125;p169"/>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126" name="Google Shape;3126;p169"/>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127" name="Google Shape;3127;p169"/>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128" name="Google Shape;3128;p169"/>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129" name="Google Shape;3129;p169"/>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130" name="Google Shape;3130;p169"/>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131" name="Google Shape;3131;p169"/>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132" name="Google Shape;3132;p169"/>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133" name="Google Shape;3133;p169"/>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134" name="Google Shape;3134;p169"/>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135" name="Google Shape;3135;p169"/>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136" name="Google Shape;3136;p169"/>
          <p:cNvSpPr txBox="1">
            <a:spLocks noGrp="1"/>
          </p:cNvSpPr>
          <p:nvPr>
            <p:ph type="subTitle" idx="1"/>
          </p:nvPr>
        </p:nvSpPr>
        <p:spPr>
          <a:xfrm>
            <a:off x="475488" y="3621024"/>
            <a:ext cx="34992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137" name="Google Shape;3137;p169"/>
          <p:cNvSpPr txBox="1">
            <a:spLocks noGrp="1"/>
          </p:cNvSpPr>
          <p:nvPr>
            <p:ph type="subTitle" idx="2"/>
          </p:nvPr>
        </p:nvSpPr>
        <p:spPr>
          <a:xfrm>
            <a:off x="475488" y="4035552"/>
            <a:ext cx="3499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138" name="Google Shape;3138;p169"/>
          <p:cNvSpPr txBox="1">
            <a:spLocks noGrp="1"/>
          </p:cNvSpPr>
          <p:nvPr>
            <p:ph type="subTitle" idx="3"/>
          </p:nvPr>
        </p:nvSpPr>
        <p:spPr>
          <a:xfrm>
            <a:off x="4340352" y="3621024"/>
            <a:ext cx="34992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139" name="Google Shape;3139;p169"/>
          <p:cNvSpPr txBox="1">
            <a:spLocks noGrp="1"/>
          </p:cNvSpPr>
          <p:nvPr>
            <p:ph type="subTitle" idx="4"/>
          </p:nvPr>
        </p:nvSpPr>
        <p:spPr>
          <a:xfrm>
            <a:off x="4340352" y="4035552"/>
            <a:ext cx="3499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140" name="Google Shape;3140;p169"/>
          <p:cNvSpPr txBox="1">
            <a:spLocks noGrp="1"/>
          </p:cNvSpPr>
          <p:nvPr>
            <p:ph type="subTitle" idx="5"/>
          </p:nvPr>
        </p:nvSpPr>
        <p:spPr>
          <a:xfrm>
            <a:off x="8205219" y="3621024"/>
            <a:ext cx="34992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141" name="Google Shape;3141;p169"/>
          <p:cNvSpPr txBox="1">
            <a:spLocks noGrp="1"/>
          </p:cNvSpPr>
          <p:nvPr>
            <p:ph type="subTitle" idx="6"/>
          </p:nvPr>
        </p:nvSpPr>
        <p:spPr>
          <a:xfrm>
            <a:off x="8205219" y="4035552"/>
            <a:ext cx="3499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299079099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matchingName="35. Four points with title">
  <p:cSld name="35. Four points with title">
    <p:spTree>
      <p:nvGrpSpPr>
        <p:cNvPr id="1" name="Shape 3142"/>
        <p:cNvGrpSpPr/>
        <p:nvPr/>
      </p:nvGrpSpPr>
      <p:grpSpPr>
        <a:xfrm>
          <a:off x="0" y="0"/>
          <a:ext cx="0" cy="0"/>
          <a:chOff x="0" y="0"/>
          <a:chExt cx="0" cy="0"/>
        </a:xfrm>
      </p:grpSpPr>
      <p:sp>
        <p:nvSpPr>
          <p:cNvPr id="3143" name="Google Shape;3143;p170"/>
          <p:cNvSpPr/>
          <p:nvPr/>
        </p:nvSpPr>
        <p:spPr>
          <a:xfrm>
            <a:off x="4495792" y="1016655"/>
            <a:ext cx="7272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144" name="Google Shape;3144;p170"/>
          <p:cNvSpPr/>
          <p:nvPr/>
        </p:nvSpPr>
        <p:spPr>
          <a:xfrm>
            <a:off x="8374688" y="1016655"/>
            <a:ext cx="7272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145" name="Google Shape;3145;p170"/>
          <p:cNvSpPr/>
          <p:nvPr/>
        </p:nvSpPr>
        <p:spPr>
          <a:xfrm>
            <a:off x="4495792" y="3730797"/>
            <a:ext cx="7272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146" name="Google Shape;3146;p170"/>
          <p:cNvSpPr/>
          <p:nvPr/>
        </p:nvSpPr>
        <p:spPr>
          <a:xfrm>
            <a:off x="8425321" y="3730797"/>
            <a:ext cx="7272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147" name="Google Shape;3147;p170"/>
          <p:cNvSpPr txBox="1">
            <a:spLocks noGrp="1"/>
          </p:cNvSpPr>
          <p:nvPr>
            <p:ph type="title"/>
          </p:nvPr>
        </p:nvSpPr>
        <p:spPr>
          <a:xfrm>
            <a:off x="501959" y="2266951"/>
            <a:ext cx="3402800" cy="2324000"/>
          </a:xfrm>
          <a:prstGeom prst="rect">
            <a:avLst/>
          </a:prstGeom>
          <a:noFill/>
          <a:ln>
            <a:noFill/>
          </a:ln>
        </p:spPr>
        <p:txBody>
          <a:bodyPr spcFirstLastPara="1" wrap="square" lIns="34275" tIns="17150" rIns="34275" bIns="17150" anchor="ctr" anchorCtr="0">
            <a:noAutofit/>
          </a:bodyPr>
          <a:lstStyle>
            <a:lvl1pPr marL="0" marR="0" lvl="0" indent="0" algn="l" rtl="0">
              <a:lnSpc>
                <a:spcPct val="100000"/>
              </a:lnSpc>
              <a:spcBef>
                <a:spcPts val="0"/>
              </a:spcBef>
              <a:spcAft>
                <a:spcPts val="0"/>
              </a:spcAft>
              <a:buClr>
                <a:srgbClr val="F0F6FC"/>
              </a:buClr>
              <a:buSzPts val="3600"/>
              <a:buFont typeface="Arial"/>
              <a:buNone/>
              <a:defRPr sz="4800" b="1">
                <a:solidFill>
                  <a:srgbClr val="F0F6FC"/>
                </a:solidFill>
              </a:defRPr>
            </a:lvl1pPr>
            <a:lvl2pPr marR="0" lvl="1"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800"/>
              <a:buFont typeface="Arial"/>
              <a:buNone/>
              <a:defRPr sz="5067" b="1" i="0" u="none" strike="noStrike" cap="none">
                <a:solidFill>
                  <a:srgbClr val="F0F6FC"/>
                </a:solidFill>
                <a:latin typeface="Arial"/>
                <a:ea typeface="Arial"/>
                <a:cs typeface="Arial"/>
                <a:sym typeface="Arial"/>
              </a:defRPr>
            </a:lvl9pPr>
          </a:lstStyle>
          <a:p>
            <a:endParaRPr/>
          </a:p>
        </p:txBody>
      </p:sp>
      <p:grpSp>
        <p:nvGrpSpPr>
          <p:cNvPr id="3148" name="Google Shape;3148;p170"/>
          <p:cNvGrpSpPr/>
          <p:nvPr/>
        </p:nvGrpSpPr>
        <p:grpSpPr>
          <a:xfrm>
            <a:off x="12253600" y="1"/>
            <a:ext cx="3438989" cy="3424452"/>
            <a:chOff x="22170399" y="777240"/>
            <a:chExt cx="6877978" cy="6848903"/>
          </a:xfrm>
        </p:grpSpPr>
        <p:grpSp>
          <p:nvGrpSpPr>
            <p:cNvPr id="3149" name="Google Shape;3149;p170"/>
            <p:cNvGrpSpPr/>
            <p:nvPr/>
          </p:nvGrpSpPr>
          <p:grpSpPr>
            <a:xfrm>
              <a:off x="22170399" y="777240"/>
              <a:ext cx="6877978" cy="6848903"/>
              <a:chOff x="22155159" y="0"/>
              <a:chExt cx="6877978" cy="6848903"/>
            </a:xfrm>
          </p:grpSpPr>
          <p:sp>
            <p:nvSpPr>
              <p:cNvPr id="3150" name="Google Shape;3150;p170"/>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151" name="Google Shape;3151;p170"/>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152" name="Google Shape;3152;p170"/>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153" name="Google Shape;3153;p170"/>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154" name="Google Shape;3154;p170"/>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155" name="Google Shape;3155;p170"/>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156" name="Google Shape;3156;p170"/>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157" name="Google Shape;3157;p170"/>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158" name="Google Shape;3158;p170"/>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159" name="Google Shape;3159;p170"/>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160" name="Google Shape;3160;p170"/>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161" name="Google Shape;3161;p170"/>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162" name="Google Shape;3162;p170"/>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163" name="Google Shape;3163;p170"/>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164" name="Google Shape;3164;p170"/>
          <p:cNvSpPr txBox="1">
            <a:spLocks noGrp="1"/>
          </p:cNvSpPr>
          <p:nvPr>
            <p:ph type="subTitle" idx="1"/>
          </p:nvPr>
        </p:nvSpPr>
        <p:spPr>
          <a:xfrm>
            <a:off x="4352544" y="2072640"/>
            <a:ext cx="34992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165" name="Google Shape;3165;p170"/>
          <p:cNvSpPr txBox="1">
            <a:spLocks noGrp="1"/>
          </p:cNvSpPr>
          <p:nvPr>
            <p:ph type="subTitle" idx="2"/>
          </p:nvPr>
        </p:nvSpPr>
        <p:spPr>
          <a:xfrm>
            <a:off x="4352544" y="2487168"/>
            <a:ext cx="3499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166" name="Google Shape;3166;p170"/>
          <p:cNvSpPr txBox="1">
            <a:spLocks noGrp="1"/>
          </p:cNvSpPr>
          <p:nvPr>
            <p:ph type="subTitle" idx="3"/>
          </p:nvPr>
        </p:nvSpPr>
        <p:spPr>
          <a:xfrm>
            <a:off x="4352544" y="4693920"/>
            <a:ext cx="34992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167" name="Google Shape;3167;p170"/>
          <p:cNvSpPr txBox="1">
            <a:spLocks noGrp="1"/>
          </p:cNvSpPr>
          <p:nvPr>
            <p:ph type="subTitle" idx="4"/>
          </p:nvPr>
        </p:nvSpPr>
        <p:spPr>
          <a:xfrm>
            <a:off x="4352544" y="5108448"/>
            <a:ext cx="3499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168" name="Google Shape;3168;p170"/>
          <p:cNvSpPr txBox="1">
            <a:spLocks noGrp="1"/>
          </p:cNvSpPr>
          <p:nvPr>
            <p:ph type="subTitle" idx="5"/>
          </p:nvPr>
        </p:nvSpPr>
        <p:spPr>
          <a:xfrm>
            <a:off x="8302752" y="2072640"/>
            <a:ext cx="34992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169" name="Google Shape;3169;p170"/>
          <p:cNvSpPr txBox="1">
            <a:spLocks noGrp="1"/>
          </p:cNvSpPr>
          <p:nvPr>
            <p:ph type="subTitle" idx="6"/>
          </p:nvPr>
        </p:nvSpPr>
        <p:spPr>
          <a:xfrm>
            <a:off x="8302752" y="2487168"/>
            <a:ext cx="3499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170" name="Google Shape;3170;p170"/>
          <p:cNvSpPr txBox="1">
            <a:spLocks noGrp="1"/>
          </p:cNvSpPr>
          <p:nvPr>
            <p:ph type="subTitle" idx="7"/>
          </p:nvPr>
        </p:nvSpPr>
        <p:spPr>
          <a:xfrm>
            <a:off x="8302752" y="4693920"/>
            <a:ext cx="34992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171" name="Google Shape;3171;p170"/>
          <p:cNvSpPr txBox="1">
            <a:spLocks noGrp="1"/>
          </p:cNvSpPr>
          <p:nvPr>
            <p:ph type="subTitle" idx="8"/>
          </p:nvPr>
        </p:nvSpPr>
        <p:spPr>
          <a:xfrm>
            <a:off x="8302752" y="5108448"/>
            <a:ext cx="3499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284590122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matchingName="36. Linear process (4 steps)">
  <p:cSld name="36. Linear process (4 steps)">
    <p:spTree>
      <p:nvGrpSpPr>
        <p:cNvPr id="1" name="Shape 3172"/>
        <p:cNvGrpSpPr/>
        <p:nvPr/>
      </p:nvGrpSpPr>
      <p:grpSpPr>
        <a:xfrm>
          <a:off x="0" y="0"/>
          <a:ext cx="0" cy="0"/>
          <a:chOff x="0" y="0"/>
          <a:chExt cx="0" cy="0"/>
        </a:xfrm>
      </p:grpSpPr>
      <p:cxnSp>
        <p:nvCxnSpPr>
          <p:cNvPr id="3173" name="Google Shape;3173;p171"/>
          <p:cNvCxnSpPr>
            <a:endCxn id="3174" idx="4"/>
          </p:cNvCxnSpPr>
          <p:nvPr/>
        </p:nvCxnSpPr>
        <p:spPr>
          <a:xfrm>
            <a:off x="6262763" y="2313499"/>
            <a:ext cx="0" cy="2539600"/>
          </a:xfrm>
          <a:prstGeom prst="straightConnector1">
            <a:avLst/>
          </a:prstGeom>
          <a:noFill/>
          <a:ln w="19050" cap="flat" cmpd="sng">
            <a:solidFill>
              <a:schemeClr val="accent1"/>
            </a:solidFill>
            <a:prstDash val="solid"/>
            <a:round/>
            <a:headEnd type="none" w="sm" len="sm"/>
            <a:tailEnd type="none" w="sm" len="sm"/>
          </a:ln>
        </p:spPr>
      </p:cxnSp>
      <p:sp>
        <p:nvSpPr>
          <p:cNvPr id="3175" name="Google Shape;3175;p171"/>
          <p:cNvSpPr/>
          <p:nvPr/>
        </p:nvSpPr>
        <p:spPr>
          <a:xfrm>
            <a:off x="5975604" y="2103120"/>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1</a:t>
            </a:r>
            <a:endParaRPr sz="1867" b="1" i="0" u="none" strike="noStrike" cap="none">
              <a:solidFill>
                <a:schemeClr val="lt1"/>
              </a:solidFill>
              <a:latin typeface="Roboto Mono"/>
              <a:ea typeface="Roboto Mono"/>
              <a:cs typeface="Roboto Mono"/>
              <a:sym typeface="Roboto Mono"/>
            </a:endParaRPr>
          </a:p>
        </p:txBody>
      </p:sp>
      <p:sp>
        <p:nvSpPr>
          <p:cNvPr id="3176" name="Google Shape;3176;p171"/>
          <p:cNvSpPr/>
          <p:nvPr/>
        </p:nvSpPr>
        <p:spPr>
          <a:xfrm>
            <a:off x="5976963" y="2829899"/>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2</a:t>
            </a:r>
            <a:endParaRPr sz="1867" b="1" i="0" u="none" strike="noStrike" cap="none">
              <a:solidFill>
                <a:schemeClr val="lt1"/>
              </a:solidFill>
              <a:latin typeface="Roboto Mono"/>
              <a:ea typeface="Roboto Mono"/>
              <a:cs typeface="Roboto Mono"/>
              <a:sym typeface="Roboto Mono"/>
            </a:endParaRPr>
          </a:p>
        </p:txBody>
      </p:sp>
      <p:sp>
        <p:nvSpPr>
          <p:cNvPr id="3177" name="Google Shape;3177;p171"/>
          <p:cNvSpPr/>
          <p:nvPr/>
        </p:nvSpPr>
        <p:spPr>
          <a:xfrm>
            <a:off x="5976963" y="3555699"/>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3</a:t>
            </a:r>
            <a:endParaRPr sz="1867" b="1" i="0" u="none" strike="noStrike" cap="none">
              <a:solidFill>
                <a:schemeClr val="lt1"/>
              </a:solidFill>
              <a:latin typeface="Roboto Mono"/>
              <a:ea typeface="Roboto Mono"/>
              <a:cs typeface="Roboto Mono"/>
              <a:sym typeface="Roboto Mono"/>
            </a:endParaRPr>
          </a:p>
        </p:txBody>
      </p:sp>
      <p:sp>
        <p:nvSpPr>
          <p:cNvPr id="3174" name="Google Shape;3174;p171"/>
          <p:cNvSpPr/>
          <p:nvPr/>
        </p:nvSpPr>
        <p:spPr>
          <a:xfrm>
            <a:off x="5976963" y="4281499"/>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4</a:t>
            </a:r>
            <a:endParaRPr sz="1867" b="1" i="0" u="none" strike="noStrike" cap="none">
              <a:solidFill>
                <a:schemeClr val="lt1"/>
              </a:solidFill>
              <a:latin typeface="Roboto Mono"/>
              <a:ea typeface="Roboto Mono"/>
              <a:cs typeface="Roboto Mono"/>
              <a:sym typeface="Roboto Mono"/>
            </a:endParaRPr>
          </a:p>
        </p:txBody>
      </p:sp>
      <p:sp>
        <p:nvSpPr>
          <p:cNvPr id="3178" name="Google Shape;3178;p171"/>
          <p:cNvSpPr txBox="1">
            <a:spLocks noGrp="1"/>
          </p:cNvSpPr>
          <p:nvPr>
            <p:ph type="title"/>
          </p:nvPr>
        </p:nvSpPr>
        <p:spPr>
          <a:xfrm>
            <a:off x="608395" y="2266951"/>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grpSp>
        <p:nvGrpSpPr>
          <p:cNvPr id="3179" name="Google Shape;3179;p171"/>
          <p:cNvGrpSpPr/>
          <p:nvPr/>
        </p:nvGrpSpPr>
        <p:grpSpPr>
          <a:xfrm>
            <a:off x="12253600" y="1"/>
            <a:ext cx="3438989" cy="3424452"/>
            <a:chOff x="22170399" y="777240"/>
            <a:chExt cx="6877978" cy="6848903"/>
          </a:xfrm>
        </p:grpSpPr>
        <p:grpSp>
          <p:nvGrpSpPr>
            <p:cNvPr id="3180" name="Google Shape;3180;p171"/>
            <p:cNvGrpSpPr/>
            <p:nvPr/>
          </p:nvGrpSpPr>
          <p:grpSpPr>
            <a:xfrm>
              <a:off x="22170399" y="777240"/>
              <a:ext cx="6877978" cy="6848903"/>
              <a:chOff x="22155159" y="0"/>
              <a:chExt cx="6877978" cy="6848903"/>
            </a:xfrm>
          </p:grpSpPr>
          <p:sp>
            <p:nvSpPr>
              <p:cNvPr id="3181" name="Google Shape;3181;p171"/>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182" name="Google Shape;3182;p171"/>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183" name="Google Shape;3183;p171"/>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184" name="Google Shape;3184;p171"/>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185" name="Google Shape;3185;p171"/>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186" name="Google Shape;3186;p171"/>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187" name="Google Shape;3187;p171"/>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188" name="Google Shape;3188;p171"/>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189" name="Google Shape;3189;p171"/>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190" name="Google Shape;3190;p171"/>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191" name="Google Shape;3191;p171"/>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192" name="Google Shape;3192;p171"/>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193" name="Google Shape;3193;p171"/>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194" name="Google Shape;3194;p171"/>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195" name="Google Shape;3195;p171"/>
          <p:cNvSpPr txBox="1">
            <a:spLocks noGrp="1"/>
          </p:cNvSpPr>
          <p:nvPr>
            <p:ph type="subTitle" idx="1"/>
          </p:nvPr>
        </p:nvSpPr>
        <p:spPr>
          <a:xfrm>
            <a:off x="6803136" y="2194560"/>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196" name="Google Shape;3196;p171"/>
          <p:cNvSpPr txBox="1">
            <a:spLocks noGrp="1"/>
          </p:cNvSpPr>
          <p:nvPr>
            <p:ph type="subTitle" idx="2"/>
          </p:nvPr>
        </p:nvSpPr>
        <p:spPr>
          <a:xfrm>
            <a:off x="6803136" y="2926080"/>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197" name="Google Shape;3197;p171"/>
          <p:cNvSpPr txBox="1">
            <a:spLocks noGrp="1"/>
          </p:cNvSpPr>
          <p:nvPr>
            <p:ph type="subTitle" idx="3"/>
          </p:nvPr>
        </p:nvSpPr>
        <p:spPr>
          <a:xfrm>
            <a:off x="6803136" y="3645408"/>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198" name="Google Shape;3198;p171"/>
          <p:cNvSpPr txBox="1">
            <a:spLocks noGrp="1"/>
          </p:cNvSpPr>
          <p:nvPr>
            <p:ph type="subTitle" idx="4"/>
          </p:nvPr>
        </p:nvSpPr>
        <p:spPr>
          <a:xfrm>
            <a:off x="6803136" y="4376928"/>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Tree>
    <p:extLst>
      <p:ext uri="{BB962C8B-B14F-4D97-AF65-F5344CB8AC3E}">
        <p14:creationId xmlns:p14="http://schemas.microsoft.com/office/powerpoint/2010/main" val="614620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slid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5" name="Footer Placeholder 1">
            <a:extLst>
              <a:ext uri="{FF2B5EF4-FFF2-40B4-BE49-F238E27FC236}">
                <a16:creationId xmlns:a16="http://schemas.microsoft.com/office/drawing/2014/main" id="{7744196A-122B-4882-AC59-654F494CE272}"/>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014318997"/>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matchingName="37. Linear process (5 steps)">
  <p:cSld name="37. Linear process (5 steps)">
    <p:spTree>
      <p:nvGrpSpPr>
        <p:cNvPr id="1" name="Shape 3199"/>
        <p:cNvGrpSpPr/>
        <p:nvPr/>
      </p:nvGrpSpPr>
      <p:grpSpPr>
        <a:xfrm>
          <a:off x="0" y="0"/>
          <a:ext cx="0" cy="0"/>
          <a:chOff x="0" y="0"/>
          <a:chExt cx="0" cy="0"/>
        </a:xfrm>
      </p:grpSpPr>
      <p:cxnSp>
        <p:nvCxnSpPr>
          <p:cNvPr id="3200" name="Google Shape;3200;p172"/>
          <p:cNvCxnSpPr>
            <a:endCxn id="3201" idx="4"/>
          </p:cNvCxnSpPr>
          <p:nvPr/>
        </p:nvCxnSpPr>
        <p:spPr>
          <a:xfrm>
            <a:off x="6262763" y="1928979"/>
            <a:ext cx="0" cy="3265200"/>
          </a:xfrm>
          <a:prstGeom prst="straightConnector1">
            <a:avLst/>
          </a:prstGeom>
          <a:noFill/>
          <a:ln w="19050" cap="flat" cmpd="sng">
            <a:solidFill>
              <a:schemeClr val="accent1"/>
            </a:solidFill>
            <a:prstDash val="solid"/>
            <a:round/>
            <a:headEnd type="none" w="sm" len="sm"/>
            <a:tailEnd type="none" w="sm" len="sm"/>
          </a:ln>
        </p:spPr>
      </p:cxnSp>
      <p:sp>
        <p:nvSpPr>
          <p:cNvPr id="3202" name="Google Shape;3202;p172"/>
          <p:cNvSpPr/>
          <p:nvPr/>
        </p:nvSpPr>
        <p:spPr>
          <a:xfrm>
            <a:off x="5976963" y="1719379"/>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1</a:t>
            </a:r>
            <a:endParaRPr sz="1867" b="1" i="0" u="none" strike="noStrike" cap="none">
              <a:solidFill>
                <a:schemeClr val="lt1"/>
              </a:solidFill>
              <a:latin typeface="Roboto Mono"/>
              <a:ea typeface="Roboto Mono"/>
              <a:cs typeface="Roboto Mono"/>
              <a:sym typeface="Roboto Mono"/>
            </a:endParaRPr>
          </a:p>
        </p:txBody>
      </p:sp>
      <p:sp>
        <p:nvSpPr>
          <p:cNvPr id="3203" name="Google Shape;3203;p172"/>
          <p:cNvSpPr/>
          <p:nvPr/>
        </p:nvSpPr>
        <p:spPr>
          <a:xfrm>
            <a:off x="5976963" y="2445179"/>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2</a:t>
            </a:r>
            <a:endParaRPr sz="1867" b="1" i="0" u="none" strike="noStrike" cap="none">
              <a:solidFill>
                <a:schemeClr val="lt1"/>
              </a:solidFill>
              <a:latin typeface="Roboto Mono"/>
              <a:ea typeface="Roboto Mono"/>
              <a:cs typeface="Roboto Mono"/>
              <a:sym typeface="Roboto Mono"/>
            </a:endParaRPr>
          </a:p>
        </p:txBody>
      </p:sp>
      <p:sp>
        <p:nvSpPr>
          <p:cNvPr id="3204" name="Google Shape;3204;p172"/>
          <p:cNvSpPr/>
          <p:nvPr/>
        </p:nvSpPr>
        <p:spPr>
          <a:xfrm>
            <a:off x="5976963" y="3170979"/>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3</a:t>
            </a:r>
            <a:endParaRPr sz="1867" b="1" i="0" u="none" strike="noStrike" cap="none">
              <a:solidFill>
                <a:schemeClr val="lt1"/>
              </a:solidFill>
              <a:latin typeface="Roboto Mono"/>
              <a:ea typeface="Roboto Mono"/>
              <a:cs typeface="Roboto Mono"/>
              <a:sym typeface="Roboto Mono"/>
            </a:endParaRPr>
          </a:p>
        </p:txBody>
      </p:sp>
      <p:sp>
        <p:nvSpPr>
          <p:cNvPr id="3205" name="Google Shape;3205;p172"/>
          <p:cNvSpPr/>
          <p:nvPr/>
        </p:nvSpPr>
        <p:spPr>
          <a:xfrm>
            <a:off x="5976963" y="3896779"/>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4</a:t>
            </a:r>
            <a:endParaRPr sz="1867" b="1" i="0" u="none" strike="noStrike" cap="none">
              <a:solidFill>
                <a:schemeClr val="lt1"/>
              </a:solidFill>
              <a:latin typeface="Roboto Mono"/>
              <a:ea typeface="Roboto Mono"/>
              <a:cs typeface="Roboto Mono"/>
              <a:sym typeface="Roboto Mono"/>
            </a:endParaRPr>
          </a:p>
        </p:txBody>
      </p:sp>
      <p:sp>
        <p:nvSpPr>
          <p:cNvPr id="3201" name="Google Shape;3201;p172"/>
          <p:cNvSpPr/>
          <p:nvPr/>
        </p:nvSpPr>
        <p:spPr>
          <a:xfrm>
            <a:off x="5976963" y="4622579"/>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5</a:t>
            </a:r>
            <a:endParaRPr sz="1867" b="1" i="0" u="none" strike="noStrike" cap="none">
              <a:solidFill>
                <a:schemeClr val="lt1"/>
              </a:solidFill>
              <a:latin typeface="Roboto Mono"/>
              <a:ea typeface="Roboto Mono"/>
              <a:cs typeface="Roboto Mono"/>
              <a:sym typeface="Roboto Mono"/>
            </a:endParaRPr>
          </a:p>
        </p:txBody>
      </p:sp>
      <p:sp>
        <p:nvSpPr>
          <p:cNvPr id="3206" name="Google Shape;3206;p172"/>
          <p:cNvSpPr txBox="1">
            <a:spLocks noGrp="1"/>
          </p:cNvSpPr>
          <p:nvPr>
            <p:ph type="title"/>
          </p:nvPr>
        </p:nvSpPr>
        <p:spPr>
          <a:xfrm>
            <a:off x="608395" y="2266951"/>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grpSp>
        <p:nvGrpSpPr>
          <p:cNvPr id="3207" name="Google Shape;3207;p172"/>
          <p:cNvGrpSpPr/>
          <p:nvPr/>
        </p:nvGrpSpPr>
        <p:grpSpPr>
          <a:xfrm>
            <a:off x="12253600" y="1"/>
            <a:ext cx="3438989" cy="3424452"/>
            <a:chOff x="22170399" y="777240"/>
            <a:chExt cx="6877978" cy="6848903"/>
          </a:xfrm>
        </p:grpSpPr>
        <p:grpSp>
          <p:nvGrpSpPr>
            <p:cNvPr id="3208" name="Google Shape;3208;p172"/>
            <p:cNvGrpSpPr/>
            <p:nvPr/>
          </p:nvGrpSpPr>
          <p:grpSpPr>
            <a:xfrm>
              <a:off x="22170399" y="777240"/>
              <a:ext cx="6877978" cy="6848903"/>
              <a:chOff x="22155159" y="0"/>
              <a:chExt cx="6877978" cy="6848903"/>
            </a:xfrm>
          </p:grpSpPr>
          <p:sp>
            <p:nvSpPr>
              <p:cNvPr id="3209" name="Google Shape;3209;p172"/>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210" name="Google Shape;3210;p172"/>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211" name="Google Shape;3211;p172"/>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212" name="Google Shape;3212;p172"/>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213" name="Google Shape;3213;p172"/>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214" name="Google Shape;3214;p172"/>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215" name="Google Shape;3215;p172"/>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216" name="Google Shape;3216;p172"/>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217" name="Google Shape;3217;p172"/>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218" name="Google Shape;3218;p172"/>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219" name="Google Shape;3219;p172"/>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220" name="Google Shape;3220;p172"/>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221" name="Google Shape;3221;p172"/>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222" name="Google Shape;3222;p172"/>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223" name="Google Shape;3223;p172"/>
          <p:cNvSpPr txBox="1">
            <a:spLocks noGrp="1"/>
          </p:cNvSpPr>
          <p:nvPr>
            <p:ph type="subTitle" idx="1"/>
          </p:nvPr>
        </p:nvSpPr>
        <p:spPr>
          <a:xfrm>
            <a:off x="6803136" y="1792224"/>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24" name="Google Shape;3224;p172"/>
          <p:cNvSpPr txBox="1">
            <a:spLocks noGrp="1"/>
          </p:cNvSpPr>
          <p:nvPr>
            <p:ph type="subTitle" idx="2"/>
          </p:nvPr>
        </p:nvSpPr>
        <p:spPr>
          <a:xfrm>
            <a:off x="6803136" y="2520700"/>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25" name="Google Shape;3225;p172"/>
          <p:cNvSpPr txBox="1">
            <a:spLocks noGrp="1"/>
          </p:cNvSpPr>
          <p:nvPr>
            <p:ph type="subTitle" idx="3"/>
          </p:nvPr>
        </p:nvSpPr>
        <p:spPr>
          <a:xfrm>
            <a:off x="6803136" y="3249175"/>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26" name="Google Shape;3226;p172"/>
          <p:cNvSpPr txBox="1">
            <a:spLocks noGrp="1"/>
          </p:cNvSpPr>
          <p:nvPr>
            <p:ph type="subTitle" idx="4"/>
          </p:nvPr>
        </p:nvSpPr>
        <p:spPr>
          <a:xfrm>
            <a:off x="6803136" y="3977651"/>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27" name="Google Shape;3227;p172"/>
          <p:cNvSpPr txBox="1">
            <a:spLocks noGrp="1"/>
          </p:cNvSpPr>
          <p:nvPr>
            <p:ph type="subTitle" idx="5"/>
          </p:nvPr>
        </p:nvSpPr>
        <p:spPr>
          <a:xfrm>
            <a:off x="6803136" y="4706125"/>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Tree>
    <p:extLst>
      <p:ext uri="{BB962C8B-B14F-4D97-AF65-F5344CB8AC3E}">
        <p14:creationId xmlns:p14="http://schemas.microsoft.com/office/powerpoint/2010/main" val="217558531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matchingName="38. Linear process (6 steps)">
  <p:cSld name="38. Linear process (6 steps)">
    <p:spTree>
      <p:nvGrpSpPr>
        <p:cNvPr id="1" name="Shape 3228"/>
        <p:cNvGrpSpPr/>
        <p:nvPr/>
      </p:nvGrpSpPr>
      <p:grpSpPr>
        <a:xfrm>
          <a:off x="0" y="0"/>
          <a:ext cx="0" cy="0"/>
          <a:chOff x="0" y="0"/>
          <a:chExt cx="0" cy="0"/>
        </a:xfrm>
      </p:grpSpPr>
      <p:sp>
        <p:nvSpPr>
          <p:cNvPr id="3229" name="Google Shape;3229;p173"/>
          <p:cNvSpPr txBox="1">
            <a:spLocks noGrp="1"/>
          </p:cNvSpPr>
          <p:nvPr>
            <p:ph type="title"/>
          </p:nvPr>
        </p:nvSpPr>
        <p:spPr>
          <a:xfrm>
            <a:off x="608395" y="2266951"/>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cxnSp>
        <p:nvCxnSpPr>
          <p:cNvPr id="3230" name="Google Shape;3230;p173"/>
          <p:cNvCxnSpPr/>
          <p:nvPr/>
        </p:nvCxnSpPr>
        <p:spPr>
          <a:xfrm>
            <a:off x="6288787" y="1471305"/>
            <a:ext cx="0" cy="3705200"/>
          </a:xfrm>
          <a:prstGeom prst="straightConnector1">
            <a:avLst/>
          </a:prstGeom>
          <a:noFill/>
          <a:ln w="19050" cap="flat" cmpd="sng">
            <a:solidFill>
              <a:schemeClr val="accent1"/>
            </a:solidFill>
            <a:prstDash val="solid"/>
            <a:round/>
            <a:headEnd type="none" w="sm" len="sm"/>
            <a:tailEnd type="none" w="sm" len="sm"/>
          </a:ln>
        </p:spPr>
      </p:cxnSp>
      <p:sp>
        <p:nvSpPr>
          <p:cNvPr id="3231" name="Google Shape;3231;p173"/>
          <p:cNvSpPr/>
          <p:nvPr/>
        </p:nvSpPr>
        <p:spPr>
          <a:xfrm>
            <a:off x="6003036" y="1261872"/>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1</a:t>
            </a:r>
            <a:endParaRPr sz="1867" b="1" i="0" u="none" strike="noStrike" cap="none">
              <a:solidFill>
                <a:schemeClr val="lt1"/>
              </a:solidFill>
              <a:latin typeface="Roboto Mono"/>
              <a:ea typeface="Roboto Mono"/>
              <a:cs typeface="Roboto Mono"/>
              <a:sym typeface="Roboto Mono"/>
            </a:endParaRPr>
          </a:p>
        </p:txBody>
      </p:sp>
      <p:sp>
        <p:nvSpPr>
          <p:cNvPr id="3232" name="Google Shape;3232;p173"/>
          <p:cNvSpPr/>
          <p:nvPr/>
        </p:nvSpPr>
        <p:spPr>
          <a:xfrm>
            <a:off x="6003036" y="1987672"/>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2</a:t>
            </a:r>
            <a:endParaRPr sz="1867" b="1" i="0" u="none" strike="noStrike" cap="none">
              <a:solidFill>
                <a:schemeClr val="lt1"/>
              </a:solidFill>
              <a:latin typeface="Roboto Mono"/>
              <a:ea typeface="Roboto Mono"/>
              <a:cs typeface="Roboto Mono"/>
              <a:sym typeface="Roboto Mono"/>
            </a:endParaRPr>
          </a:p>
        </p:txBody>
      </p:sp>
      <p:sp>
        <p:nvSpPr>
          <p:cNvPr id="3233" name="Google Shape;3233;p173"/>
          <p:cNvSpPr/>
          <p:nvPr/>
        </p:nvSpPr>
        <p:spPr>
          <a:xfrm>
            <a:off x="6003036" y="2713472"/>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3</a:t>
            </a:r>
            <a:endParaRPr sz="1867" b="1" i="0" u="none" strike="noStrike" cap="none">
              <a:solidFill>
                <a:schemeClr val="lt1"/>
              </a:solidFill>
              <a:latin typeface="Roboto Mono"/>
              <a:ea typeface="Roboto Mono"/>
              <a:cs typeface="Roboto Mono"/>
              <a:sym typeface="Roboto Mono"/>
            </a:endParaRPr>
          </a:p>
        </p:txBody>
      </p:sp>
      <p:sp>
        <p:nvSpPr>
          <p:cNvPr id="3234" name="Google Shape;3234;p173"/>
          <p:cNvSpPr/>
          <p:nvPr/>
        </p:nvSpPr>
        <p:spPr>
          <a:xfrm>
            <a:off x="6003036" y="3439272"/>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4</a:t>
            </a:r>
            <a:endParaRPr sz="1867" b="1" i="0" u="none" strike="noStrike" cap="none">
              <a:solidFill>
                <a:schemeClr val="lt1"/>
              </a:solidFill>
              <a:latin typeface="Roboto Mono"/>
              <a:ea typeface="Roboto Mono"/>
              <a:cs typeface="Roboto Mono"/>
              <a:sym typeface="Roboto Mono"/>
            </a:endParaRPr>
          </a:p>
        </p:txBody>
      </p:sp>
      <p:sp>
        <p:nvSpPr>
          <p:cNvPr id="3235" name="Google Shape;3235;p173"/>
          <p:cNvSpPr/>
          <p:nvPr/>
        </p:nvSpPr>
        <p:spPr>
          <a:xfrm>
            <a:off x="6003036" y="4165072"/>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5</a:t>
            </a:r>
            <a:endParaRPr sz="1867" b="1" i="0" u="none" strike="noStrike" cap="none">
              <a:solidFill>
                <a:schemeClr val="lt1"/>
              </a:solidFill>
              <a:latin typeface="Roboto Mono"/>
              <a:ea typeface="Roboto Mono"/>
              <a:cs typeface="Roboto Mono"/>
              <a:sym typeface="Roboto Mono"/>
            </a:endParaRPr>
          </a:p>
        </p:txBody>
      </p:sp>
      <p:sp>
        <p:nvSpPr>
          <p:cNvPr id="3236" name="Google Shape;3236;p173"/>
          <p:cNvSpPr/>
          <p:nvPr/>
        </p:nvSpPr>
        <p:spPr>
          <a:xfrm>
            <a:off x="6003036" y="4890872"/>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b="1" i="0" u="none" strike="noStrike" cap="none">
                <a:solidFill>
                  <a:schemeClr val="lt1"/>
                </a:solidFill>
                <a:latin typeface="Roboto Mono"/>
                <a:ea typeface="Roboto Mono"/>
                <a:cs typeface="Roboto Mono"/>
                <a:sym typeface="Roboto Mono"/>
              </a:rPr>
              <a:t>6</a:t>
            </a:r>
            <a:endParaRPr sz="1867" b="1" i="0" u="none" strike="noStrike" cap="none">
              <a:solidFill>
                <a:schemeClr val="lt1"/>
              </a:solidFill>
              <a:latin typeface="Roboto Mono"/>
              <a:ea typeface="Roboto Mono"/>
              <a:cs typeface="Roboto Mono"/>
              <a:sym typeface="Roboto Mono"/>
            </a:endParaRPr>
          </a:p>
        </p:txBody>
      </p:sp>
      <p:grpSp>
        <p:nvGrpSpPr>
          <p:cNvPr id="3237" name="Google Shape;3237;p173"/>
          <p:cNvGrpSpPr/>
          <p:nvPr/>
        </p:nvGrpSpPr>
        <p:grpSpPr>
          <a:xfrm>
            <a:off x="12253600" y="1"/>
            <a:ext cx="3438989" cy="3424452"/>
            <a:chOff x="22170399" y="777240"/>
            <a:chExt cx="6877978" cy="6848903"/>
          </a:xfrm>
        </p:grpSpPr>
        <p:grpSp>
          <p:nvGrpSpPr>
            <p:cNvPr id="3238" name="Google Shape;3238;p173"/>
            <p:cNvGrpSpPr/>
            <p:nvPr/>
          </p:nvGrpSpPr>
          <p:grpSpPr>
            <a:xfrm>
              <a:off x="22170399" y="777240"/>
              <a:ext cx="6877978" cy="6848903"/>
              <a:chOff x="22155159" y="0"/>
              <a:chExt cx="6877978" cy="6848903"/>
            </a:xfrm>
          </p:grpSpPr>
          <p:sp>
            <p:nvSpPr>
              <p:cNvPr id="3239" name="Google Shape;3239;p173"/>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240" name="Google Shape;3240;p173"/>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241" name="Google Shape;3241;p173"/>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242" name="Google Shape;3242;p173"/>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243" name="Google Shape;3243;p173"/>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244" name="Google Shape;3244;p173"/>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245" name="Google Shape;3245;p173"/>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246" name="Google Shape;3246;p173"/>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247" name="Google Shape;3247;p173"/>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248" name="Google Shape;3248;p173"/>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249" name="Google Shape;3249;p173"/>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250" name="Google Shape;3250;p173"/>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251" name="Google Shape;3251;p173"/>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252" name="Google Shape;3252;p173"/>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253" name="Google Shape;3253;p173"/>
          <p:cNvSpPr txBox="1">
            <a:spLocks noGrp="1"/>
          </p:cNvSpPr>
          <p:nvPr>
            <p:ph type="subTitle" idx="1"/>
          </p:nvPr>
        </p:nvSpPr>
        <p:spPr>
          <a:xfrm>
            <a:off x="6803136" y="1341120"/>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54" name="Google Shape;3254;p173"/>
          <p:cNvSpPr txBox="1">
            <a:spLocks noGrp="1"/>
          </p:cNvSpPr>
          <p:nvPr>
            <p:ph type="subTitle" idx="2"/>
          </p:nvPr>
        </p:nvSpPr>
        <p:spPr>
          <a:xfrm>
            <a:off x="6803136" y="2069596"/>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55" name="Google Shape;3255;p173"/>
          <p:cNvSpPr txBox="1">
            <a:spLocks noGrp="1"/>
          </p:cNvSpPr>
          <p:nvPr>
            <p:ph type="subTitle" idx="3"/>
          </p:nvPr>
        </p:nvSpPr>
        <p:spPr>
          <a:xfrm>
            <a:off x="6803136" y="2798071"/>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56" name="Google Shape;3256;p173"/>
          <p:cNvSpPr txBox="1">
            <a:spLocks noGrp="1"/>
          </p:cNvSpPr>
          <p:nvPr>
            <p:ph type="subTitle" idx="4"/>
          </p:nvPr>
        </p:nvSpPr>
        <p:spPr>
          <a:xfrm>
            <a:off x="6803136" y="3526547"/>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57" name="Google Shape;3257;p173"/>
          <p:cNvSpPr txBox="1">
            <a:spLocks noGrp="1"/>
          </p:cNvSpPr>
          <p:nvPr>
            <p:ph type="subTitle" idx="5"/>
          </p:nvPr>
        </p:nvSpPr>
        <p:spPr>
          <a:xfrm>
            <a:off x="6803136" y="4255021"/>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58" name="Google Shape;3258;p173"/>
          <p:cNvSpPr txBox="1">
            <a:spLocks noGrp="1"/>
          </p:cNvSpPr>
          <p:nvPr>
            <p:ph type="subTitle" idx="6"/>
          </p:nvPr>
        </p:nvSpPr>
        <p:spPr>
          <a:xfrm>
            <a:off x="6803136" y="4983488"/>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Tree>
    <p:extLst>
      <p:ext uri="{BB962C8B-B14F-4D97-AF65-F5344CB8AC3E}">
        <p14:creationId xmlns:p14="http://schemas.microsoft.com/office/powerpoint/2010/main" val="274319909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matchingName="39. Linear checklist (4 marks)">
  <p:cSld name="39. Linear checklist (4 marks)">
    <p:spTree>
      <p:nvGrpSpPr>
        <p:cNvPr id="1" name="Shape 3259"/>
        <p:cNvGrpSpPr/>
        <p:nvPr/>
      </p:nvGrpSpPr>
      <p:grpSpPr>
        <a:xfrm>
          <a:off x="0" y="0"/>
          <a:ext cx="0" cy="0"/>
          <a:chOff x="0" y="0"/>
          <a:chExt cx="0" cy="0"/>
        </a:xfrm>
      </p:grpSpPr>
      <p:cxnSp>
        <p:nvCxnSpPr>
          <p:cNvPr id="3260" name="Google Shape;3260;p174"/>
          <p:cNvCxnSpPr/>
          <p:nvPr/>
        </p:nvCxnSpPr>
        <p:spPr>
          <a:xfrm>
            <a:off x="6288787" y="2325304"/>
            <a:ext cx="0" cy="2332400"/>
          </a:xfrm>
          <a:prstGeom prst="straightConnector1">
            <a:avLst/>
          </a:prstGeom>
          <a:noFill/>
          <a:ln w="19050" cap="flat" cmpd="sng">
            <a:solidFill>
              <a:schemeClr val="accent3"/>
            </a:solidFill>
            <a:prstDash val="solid"/>
            <a:round/>
            <a:headEnd type="none" w="sm" len="sm"/>
            <a:tailEnd type="none" w="sm" len="sm"/>
          </a:ln>
        </p:spPr>
      </p:cxnSp>
      <p:grpSp>
        <p:nvGrpSpPr>
          <p:cNvPr id="3261" name="Google Shape;3261;p174"/>
          <p:cNvGrpSpPr/>
          <p:nvPr/>
        </p:nvGrpSpPr>
        <p:grpSpPr>
          <a:xfrm>
            <a:off x="6003036" y="2103120"/>
            <a:ext cx="571600" cy="2749000"/>
            <a:chOff x="4502277" y="1577340"/>
            <a:chExt cx="428700" cy="2061750"/>
          </a:xfrm>
        </p:grpSpPr>
        <p:sp>
          <p:nvSpPr>
            <p:cNvPr id="3262" name="Google Shape;3262;p174"/>
            <p:cNvSpPr/>
            <p:nvPr/>
          </p:nvSpPr>
          <p:spPr>
            <a:xfrm>
              <a:off x="4502277" y="3210390"/>
              <a:ext cx="428700" cy="428700"/>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7" b="1" i="0" u="none" strike="noStrike" cap="none">
                <a:solidFill>
                  <a:schemeClr val="dk1"/>
                </a:solidFill>
                <a:latin typeface="Arial"/>
                <a:ea typeface="Arial"/>
                <a:cs typeface="Arial"/>
                <a:sym typeface="Arial"/>
              </a:endParaRPr>
            </a:p>
          </p:txBody>
        </p:sp>
        <p:sp>
          <p:nvSpPr>
            <p:cNvPr id="3263" name="Google Shape;3263;p174"/>
            <p:cNvSpPr/>
            <p:nvPr/>
          </p:nvSpPr>
          <p:spPr>
            <a:xfrm>
              <a:off x="4502277" y="2666040"/>
              <a:ext cx="428700" cy="428700"/>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7" b="1" i="0" u="none" strike="noStrike" cap="none">
                <a:solidFill>
                  <a:schemeClr val="dk1"/>
                </a:solidFill>
                <a:latin typeface="Arial"/>
                <a:ea typeface="Arial"/>
                <a:cs typeface="Arial"/>
                <a:sym typeface="Arial"/>
              </a:endParaRPr>
            </a:p>
          </p:txBody>
        </p:sp>
        <p:sp>
          <p:nvSpPr>
            <p:cNvPr id="3264" name="Google Shape;3264;p174"/>
            <p:cNvSpPr/>
            <p:nvPr/>
          </p:nvSpPr>
          <p:spPr>
            <a:xfrm>
              <a:off x="4502277" y="2121690"/>
              <a:ext cx="428700" cy="428700"/>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7" b="1" i="0" u="none" strike="noStrike" cap="none">
                <a:solidFill>
                  <a:schemeClr val="dk1"/>
                </a:solidFill>
                <a:latin typeface="Arial"/>
                <a:ea typeface="Arial"/>
                <a:cs typeface="Arial"/>
                <a:sym typeface="Arial"/>
              </a:endParaRPr>
            </a:p>
          </p:txBody>
        </p:sp>
        <p:sp>
          <p:nvSpPr>
            <p:cNvPr id="3265" name="Google Shape;3265;p174"/>
            <p:cNvSpPr/>
            <p:nvPr/>
          </p:nvSpPr>
          <p:spPr>
            <a:xfrm>
              <a:off x="4502277" y="1577340"/>
              <a:ext cx="428700" cy="428700"/>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7" b="1" i="0" u="none" strike="noStrike" cap="none">
                <a:solidFill>
                  <a:schemeClr val="dk1"/>
                </a:solidFill>
                <a:latin typeface="Arial"/>
                <a:ea typeface="Arial"/>
                <a:cs typeface="Arial"/>
                <a:sym typeface="Arial"/>
              </a:endParaRPr>
            </a:p>
          </p:txBody>
        </p:sp>
        <p:pic>
          <p:nvPicPr>
            <p:cNvPr id="3266" name="Google Shape;3266;p174"/>
            <p:cNvPicPr preferRelativeResize="0"/>
            <p:nvPr/>
          </p:nvPicPr>
          <p:blipFill rotWithShape="1">
            <a:blip r:embed="rId2">
              <a:alphaModFix/>
            </a:blip>
            <a:srcRect/>
            <a:stretch/>
          </p:blipFill>
          <p:spPr>
            <a:xfrm>
              <a:off x="4630865" y="1729086"/>
              <a:ext cx="171450" cy="125131"/>
            </a:xfrm>
            <a:prstGeom prst="rect">
              <a:avLst/>
            </a:prstGeom>
            <a:noFill/>
            <a:ln>
              <a:noFill/>
            </a:ln>
          </p:spPr>
        </p:pic>
        <p:pic>
          <p:nvPicPr>
            <p:cNvPr id="3267" name="Google Shape;3267;p174"/>
            <p:cNvPicPr preferRelativeResize="0"/>
            <p:nvPr/>
          </p:nvPicPr>
          <p:blipFill rotWithShape="1">
            <a:blip r:embed="rId2">
              <a:alphaModFix/>
            </a:blip>
            <a:srcRect/>
            <a:stretch/>
          </p:blipFill>
          <p:spPr>
            <a:xfrm>
              <a:off x="4630865" y="2273436"/>
              <a:ext cx="171450" cy="125131"/>
            </a:xfrm>
            <a:prstGeom prst="rect">
              <a:avLst/>
            </a:prstGeom>
            <a:noFill/>
            <a:ln>
              <a:noFill/>
            </a:ln>
          </p:spPr>
        </p:pic>
        <p:pic>
          <p:nvPicPr>
            <p:cNvPr id="3268" name="Google Shape;3268;p174"/>
            <p:cNvPicPr preferRelativeResize="0"/>
            <p:nvPr/>
          </p:nvPicPr>
          <p:blipFill rotWithShape="1">
            <a:blip r:embed="rId2">
              <a:alphaModFix/>
            </a:blip>
            <a:srcRect/>
            <a:stretch/>
          </p:blipFill>
          <p:spPr>
            <a:xfrm>
              <a:off x="4630865" y="2817786"/>
              <a:ext cx="171450" cy="125131"/>
            </a:xfrm>
            <a:prstGeom prst="rect">
              <a:avLst/>
            </a:prstGeom>
            <a:noFill/>
            <a:ln>
              <a:noFill/>
            </a:ln>
          </p:spPr>
        </p:pic>
        <p:pic>
          <p:nvPicPr>
            <p:cNvPr id="3269" name="Google Shape;3269;p174"/>
            <p:cNvPicPr preferRelativeResize="0"/>
            <p:nvPr/>
          </p:nvPicPr>
          <p:blipFill rotWithShape="1">
            <a:blip r:embed="rId2">
              <a:alphaModFix/>
            </a:blip>
            <a:srcRect/>
            <a:stretch/>
          </p:blipFill>
          <p:spPr>
            <a:xfrm>
              <a:off x="4630865" y="3362136"/>
              <a:ext cx="171450" cy="125131"/>
            </a:xfrm>
            <a:prstGeom prst="rect">
              <a:avLst/>
            </a:prstGeom>
            <a:noFill/>
            <a:ln>
              <a:noFill/>
            </a:ln>
          </p:spPr>
        </p:pic>
      </p:grpSp>
      <p:sp>
        <p:nvSpPr>
          <p:cNvPr id="3270" name="Google Shape;3270;p174"/>
          <p:cNvSpPr txBox="1">
            <a:spLocks noGrp="1"/>
          </p:cNvSpPr>
          <p:nvPr>
            <p:ph type="title"/>
          </p:nvPr>
        </p:nvSpPr>
        <p:spPr>
          <a:xfrm>
            <a:off x="608395" y="2266951"/>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3271" name="Google Shape;3271;p174"/>
          <p:cNvSpPr txBox="1">
            <a:spLocks noGrp="1"/>
          </p:cNvSpPr>
          <p:nvPr>
            <p:ph type="subTitle" idx="1"/>
          </p:nvPr>
        </p:nvSpPr>
        <p:spPr>
          <a:xfrm>
            <a:off x="6803136" y="2194560"/>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72" name="Google Shape;3272;p174"/>
          <p:cNvSpPr txBox="1">
            <a:spLocks noGrp="1"/>
          </p:cNvSpPr>
          <p:nvPr>
            <p:ph type="subTitle" idx="2"/>
          </p:nvPr>
        </p:nvSpPr>
        <p:spPr>
          <a:xfrm>
            <a:off x="6803136" y="2926080"/>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73" name="Google Shape;3273;p174"/>
          <p:cNvSpPr txBox="1">
            <a:spLocks noGrp="1"/>
          </p:cNvSpPr>
          <p:nvPr>
            <p:ph type="subTitle" idx="3"/>
          </p:nvPr>
        </p:nvSpPr>
        <p:spPr>
          <a:xfrm>
            <a:off x="6803136" y="3645408"/>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74" name="Google Shape;3274;p174"/>
          <p:cNvSpPr txBox="1">
            <a:spLocks noGrp="1"/>
          </p:cNvSpPr>
          <p:nvPr>
            <p:ph type="subTitle" idx="4"/>
          </p:nvPr>
        </p:nvSpPr>
        <p:spPr>
          <a:xfrm>
            <a:off x="6803136" y="4376928"/>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Tree>
    <p:extLst>
      <p:ext uri="{BB962C8B-B14F-4D97-AF65-F5344CB8AC3E}">
        <p14:creationId xmlns:p14="http://schemas.microsoft.com/office/powerpoint/2010/main" val="252104232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matchingName="40. Linear checklist (5 marks)">
  <p:cSld name="40. Linear checklist (5 marks)">
    <p:spTree>
      <p:nvGrpSpPr>
        <p:cNvPr id="1" name="Shape 3275"/>
        <p:cNvGrpSpPr/>
        <p:nvPr/>
      </p:nvGrpSpPr>
      <p:grpSpPr>
        <a:xfrm>
          <a:off x="0" y="0"/>
          <a:ext cx="0" cy="0"/>
          <a:chOff x="0" y="0"/>
          <a:chExt cx="0" cy="0"/>
        </a:xfrm>
      </p:grpSpPr>
      <p:grpSp>
        <p:nvGrpSpPr>
          <p:cNvPr id="3276" name="Google Shape;3276;p175"/>
          <p:cNvGrpSpPr/>
          <p:nvPr/>
        </p:nvGrpSpPr>
        <p:grpSpPr>
          <a:xfrm>
            <a:off x="6003036" y="1695829"/>
            <a:ext cx="571600" cy="3474800"/>
            <a:chOff x="4502277" y="1271873"/>
            <a:chExt cx="428700" cy="2606100"/>
          </a:xfrm>
        </p:grpSpPr>
        <p:cxnSp>
          <p:nvCxnSpPr>
            <p:cNvPr id="3277" name="Google Shape;3277;p175"/>
            <p:cNvCxnSpPr>
              <a:endCxn id="3278" idx="0"/>
            </p:cNvCxnSpPr>
            <p:nvPr/>
          </p:nvCxnSpPr>
          <p:spPr>
            <a:xfrm>
              <a:off x="4716627" y="1438672"/>
              <a:ext cx="0" cy="2010600"/>
            </a:xfrm>
            <a:prstGeom prst="straightConnector1">
              <a:avLst/>
            </a:prstGeom>
            <a:noFill/>
            <a:ln w="19050" cap="flat" cmpd="sng">
              <a:solidFill>
                <a:schemeClr val="accent3"/>
              </a:solidFill>
              <a:prstDash val="solid"/>
              <a:round/>
              <a:headEnd type="none" w="sm" len="sm"/>
              <a:tailEnd type="none" w="sm" len="sm"/>
            </a:ln>
          </p:spPr>
        </p:cxnSp>
        <p:sp>
          <p:nvSpPr>
            <p:cNvPr id="3279" name="Google Shape;3279;p175"/>
            <p:cNvSpPr/>
            <p:nvPr/>
          </p:nvSpPr>
          <p:spPr>
            <a:xfrm>
              <a:off x="4502277" y="2904923"/>
              <a:ext cx="428700" cy="428700"/>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7" b="1" i="0" u="none" strike="noStrike" cap="none">
                <a:solidFill>
                  <a:schemeClr val="dk1"/>
                </a:solidFill>
                <a:latin typeface="Arial"/>
                <a:ea typeface="Arial"/>
                <a:cs typeface="Arial"/>
                <a:sym typeface="Arial"/>
              </a:endParaRPr>
            </a:p>
          </p:txBody>
        </p:sp>
        <p:sp>
          <p:nvSpPr>
            <p:cNvPr id="3280" name="Google Shape;3280;p175"/>
            <p:cNvSpPr/>
            <p:nvPr/>
          </p:nvSpPr>
          <p:spPr>
            <a:xfrm>
              <a:off x="4502277" y="2360573"/>
              <a:ext cx="428700" cy="428700"/>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7" b="1" i="0" u="none" strike="noStrike" cap="none">
                <a:solidFill>
                  <a:schemeClr val="dk1"/>
                </a:solidFill>
                <a:latin typeface="Arial"/>
                <a:ea typeface="Arial"/>
                <a:cs typeface="Arial"/>
                <a:sym typeface="Arial"/>
              </a:endParaRPr>
            </a:p>
          </p:txBody>
        </p:sp>
        <p:sp>
          <p:nvSpPr>
            <p:cNvPr id="3281" name="Google Shape;3281;p175"/>
            <p:cNvSpPr/>
            <p:nvPr/>
          </p:nvSpPr>
          <p:spPr>
            <a:xfrm>
              <a:off x="4502277" y="1816222"/>
              <a:ext cx="428700" cy="428700"/>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7" b="1" i="0" u="none" strike="noStrike" cap="none">
                <a:solidFill>
                  <a:schemeClr val="dk1"/>
                </a:solidFill>
                <a:latin typeface="Arial"/>
                <a:ea typeface="Arial"/>
                <a:cs typeface="Arial"/>
                <a:sym typeface="Arial"/>
              </a:endParaRPr>
            </a:p>
          </p:txBody>
        </p:sp>
        <p:sp>
          <p:nvSpPr>
            <p:cNvPr id="3282" name="Google Shape;3282;p175"/>
            <p:cNvSpPr/>
            <p:nvPr/>
          </p:nvSpPr>
          <p:spPr>
            <a:xfrm>
              <a:off x="4502277" y="1271873"/>
              <a:ext cx="428700" cy="428700"/>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7" b="1" i="0" u="none" strike="noStrike" cap="none">
                <a:solidFill>
                  <a:schemeClr val="dk1"/>
                </a:solidFill>
                <a:latin typeface="Arial"/>
                <a:ea typeface="Arial"/>
                <a:cs typeface="Arial"/>
                <a:sym typeface="Arial"/>
              </a:endParaRPr>
            </a:p>
          </p:txBody>
        </p:sp>
        <p:sp>
          <p:nvSpPr>
            <p:cNvPr id="3278" name="Google Shape;3278;p175"/>
            <p:cNvSpPr/>
            <p:nvPr/>
          </p:nvSpPr>
          <p:spPr>
            <a:xfrm>
              <a:off x="4502277" y="3449273"/>
              <a:ext cx="428700" cy="428700"/>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7" b="1" i="0" u="none" strike="noStrike" cap="none">
                <a:solidFill>
                  <a:schemeClr val="dk1"/>
                </a:solidFill>
                <a:latin typeface="Arial"/>
                <a:ea typeface="Arial"/>
                <a:cs typeface="Arial"/>
                <a:sym typeface="Arial"/>
              </a:endParaRPr>
            </a:p>
          </p:txBody>
        </p:sp>
        <p:pic>
          <p:nvPicPr>
            <p:cNvPr id="3283" name="Google Shape;3283;p175"/>
            <p:cNvPicPr preferRelativeResize="0"/>
            <p:nvPr/>
          </p:nvPicPr>
          <p:blipFill rotWithShape="1">
            <a:blip r:embed="rId2">
              <a:alphaModFix/>
            </a:blip>
            <a:srcRect/>
            <a:stretch/>
          </p:blipFill>
          <p:spPr>
            <a:xfrm>
              <a:off x="4630865" y="1423619"/>
              <a:ext cx="171450" cy="125131"/>
            </a:xfrm>
            <a:prstGeom prst="rect">
              <a:avLst/>
            </a:prstGeom>
            <a:noFill/>
            <a:ln>
              <a:noFill/>
            </a:ln>
          </p:spPr>
        </p:pic>
        <p:pic>
          <p:nvPicPr>
            <p:cNvPr id="3284" name="Google Shape;3284;p175"/>
            <p:cNvPicPr preferRelativeResize="0"/>
            <p:nvPr/>
          </p:nvPicPr>
          <p:blipFill rotWithShape="1">
            <a:blip r:embed="rId2">
              <a:alphaModFix/>
            </a:blip>
            <a:srcRect/>
            <a:stretch/>
          </p:blipFill>
          <p:spPr>
            <a:xfrm>
              <a:off x="4630865" y="1967969"/>
              <a:ext cx="171450" cy="125131"/>
            </a:xfrm>
            <a:prstGeom prst="rect">
              <a:avLst/>
            </a:prstGeom>
            <a:noFill/>
            <a:ln>
              <a:noFill/>
            </a:ln>
          </p:spPr>
        </p:pic>
        <p:pic>
          <p:nvPicPr>
            <p:cNvPr id="3285" name="Google Shape;3285;p175"/>
            <p:cNvPicPr preferRelativeResize="0"/>
            <p:nvPr/>
          </p:nvPicPr>
          <p:blipFill rotWithShape="1">
            <a:blip r:embed="rId2">
              <a:alphaModFix/>
            </a:blip>
            <a:srcRect/>
            <a:stretch/>
          </p:blipFill>
          <p:spPr>
            <a:xfrm>
              <a:off x="4630865" y="2512319"/>
              <a:ext cx="171450" cy="125131"/>
            </a:xfrm>
            <a:prstGeom prst="rect">
              <a:avLst/>
            </a:prstGeom>
            <a:noFill/>
            <a:ln>
              <a:noFill/>
            </a:ln>
          </p:spPr>
        </p:pic>
        <p:pic>
          <p:nvPicPr>
            <p:cNvPr id="3286" name="Google Shape;3286;p175"/>
            <p:cNvPicPr preferRelativeResize="0"/>
            <p:nvPr/>
          </p:nvPicPr>
          <p:blipFill rotWithShape="1">
            <a:blip r:embed="rId2">
              <a:alphaModFix/>
            </a:blip>
            <a:srcRect/>
            <a:stretch/>
          </p:blipFill>
          <p:spPr>
            <a:xfrm>
              <a:off x="4630865" y="3056669"/>
              <a:ext cx="171450" cy="125131"/>
            </a:xfrm>
            <a:prstGeom prst="rect">
              <a:avLst/>
            </a:prstGeom>
            <a:noFill/>
            <a:ln>
              <a:noFill/>
            </a:ln>
          </p:spPr>
        </p:pic>
        <p:pic>
          <p:nvPicPr>
            <p:cNvPr id="3287" name="Google Shape;3287;p175"/>
            <p:cNvPicPr preferRelativeResize="0"/>
            <p:nvPr/>
          </p:nvPicPr>
          <p:blipFill rotWithShape="1">
            <a:blip r:embed="rId2">
              <a:alphaModFix/>
            </a:blip>
            <a:srcRect/>
            <a:stretch/>
          </p:blipFill>
          <p:spPr>
            <a:xfrm>
              <a:off x="4630865" y="3601018"/>
              <a:ext cx="171450" cy="125131"/>
            </a:xfrm>
            <a:prstGeom prst="rect">
              <a:avLst/>
            </a:prstGeom>
            <a:noFill/>
            <a:ln>
              <a:noFill/>
            </a:ln>
          </p:spPr>
        </p:pic>
      </p:grpSp>
      <p:sp>
        <p:nvSpPr>
          <p:cNvPr id="3288" name="Google Shape;3288;p175"/>
          <p:cNvSpPr txBox="1">
            <a:spLocks noGrp="1"/>
          </p:cNvSpPr>
          <p:nvPr>
            <p:ph type="title"/>
          </p:nvPr>
        </p:nvSpPr>
        <p:spPr>
          <a:xfrm>
            <a:off x="608395" y="2266951"/>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3289" name="Google Shape;3289;p175"/>
          <p:cNvSpPr txBox="1">
            <a:spLocks noGrp="1"/>
          </p:cNvSpPr>
          <p:nvPr>
            <p:ph type="subTitle" idx="1"/>
          </p:nvPr>
        </p:nvSpPr>
        <p:spPr>
          <a:xfrm>
            <a:off x="6803136" y="1792224"/>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90" name="Google Shape;3290;p175"/>
          <p:cNvSpPr txBox="1">
            <a:spLocks noGrp="1"/>
          </p:cNvSpPr>
          <p:nvPr>
            <p:ph type="subTitle" idx="2"/>
          </p:nvPr>
        </p:nvSpPr>
        <p:spPr>
          <a:xfrm>
            <a:off x="6803136" y="2520700"/>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91" name="Google Shape;3291;p175"/>
          <p:cNvSpPr txBox="1">
            <a:spLocks noGrp="1"/>
          </p:cNvSpPr>
          <p:nvPr>
            <p:ph type="subTitle" idx="3"/>
          </p:nvPr>
        </p:nvSpPr>
        <p:spPr>
          <a:xfrm>
            <a:off x="6803136" y="3249175"/>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92" name="Google Shape;3292;p175"/>
          <p:cNvSpPr txBox="1">
            <a:spLocks noGrp="1"/>
          </p:cNvSpPr>
          <p:nvPr>
            <p:ph type="subTitle" idx="4"/>
          </p:nvPr>
        </p:nvSpPr>
        <p:spPr>
          <a:xfrm>
            <a:off x="6803136" y="3977651"/>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
        <p:nvSpPr>
          <p:cNvPr id="3293" name="Google Shape;3293;p175"/>
          <p:cNvSpPr txBox="1">
            <a:spLocks noGrp="1"/>
          </p:cNvSpPr>
          <p:nvPr>
            <p:ph type="subTitle" idx="5"/>
          </p:nvPr>
        </p:nvSpPr>
        <p:spPr>
          <a:xfrm>
            <a:off x="6803136" y="4706125"/>
            <a:ext cx="4572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Clr>
                <a:schemeClr val="lt1"/>
              </a:buClr>
              <a:buSzPts val="1600"/>
              <a:buNone/>
              <a:defRPr sz="2133">
                <a:solidFill>
                  <a:schemeClr val="lt1"/>
                </a:solidFill>
              </a:defRPr>
            </a:lvl2pPr>
            <a:lvl3pPr lvl="2" rtl="0">
              <a:spcBef>
                <a:spcPts val="0"/>
              </a:spcBef>
              <a:spcAft>
                <a:spcPts val="0"/>
              </a:spcAft>
              <a:buClr>
                <a:schemeClr val="lt1"/>
              </a:buClr>
              <a:buSzPts val="1600"/>
              <a:buNone/>
              <a:defRPr sz="2133">
                <a:solidFill>
                  <a:schemeClr val="lt1"/>
                </a:solidFill>
              </a:defRPr>
            </a:lvl3pPr>
            <a:lvl4pPr lvl="3" rtl="0">
              <a:spcBef>
                <a:spcPts val="0"/>
              </a:spcBef>
              <a:spcAft>
                <a:spcPts val="0"/>
              </a:spcAft>
              <a:buClr>
                <a:schemeClr val="lt1"/>
              </a:buClr>
              <a:buSzPts val="1600"/>
              <a:buNone/>
              <a:defRPr sz="2133">
                <a:solidFill>
                  <a:schemeClr val="lt1"/>
                </a:solidFill>
              </a:defRPr>
            </a:lvl4pPr>
            <a:lvl5pPr lvl="4" rtl="0">
              <a:spcBef>
                <a:spcPts val="0"/>
              </a:spcBef>
              <a:spcAft>
                <a:spcPts val="0"/>
              </a:spcAft>
              <a:buClr>
                <a:schemeClr val="lt1"/>
              </a:buClr>
              <a:buSzPts val="1600"/>
              <a:buNone/>
              <a:defRPr sz="2133">
                <a:solidFill>
                  <a:schemeClr val="lt1"/>
                </a:solidFill>
              </a:defRPr>
            </a:lvl5pPr>
            <a:lvl6pPr lvl="5" rtl="0">
              <a:spcBef>
                <a:spcPts val="0"/>
              </a:spcBef>
              <a:spcAft>
                <a:spcPts val="0"/>
              </a:spcAft>
              <a:buClr>
                <a:schemeClr val="lt1"/>
              </a:buClr>
              <a:buSzPts val="1600"/>
              <a:buNone/>
              <a:defRPr sz="2133">
                <a:solidFill>
                  <a:schemeClr val="lt1"/>
                </a:solidFill>
              </a:defRPr>
            </a:lvl6pPr>
            <a:lvl7pPr lvl="6" rtl="0">
              <a:spcBef>
                <a:spcPts val="0"/>
              </a:spcBef>
              <a:spcAft>
                <a:spcPts val="0"/>
              </a:spcAft>
              <a:buClr>
                <a:schemeClr val="lt1"/>
              </a:buClr>
              <a:buSzPts val="1600"/>
              <a:buNone/>
              <a:defRPr sz="2133">
                <a:solidFill>
                  <a:schemeClr val="lt1"/>
                </a:solidFill>
              </a:defRPr>
            </a:lvl7pPr>
            <a:lvl8pPr lvl="7" rtl="0">
              <a:spcBef>
                <a:spcPts val="0"/>
              </a:spcBef>
              <a:spcAft>
                <a:spcPts val="0"/>
              </a:spcAft>
              <a:buClr>
                <a:schemeClr val="lt1"/>
              </a:buClr>
              <a:buSzPts val="1600"/>
              <a:buNone/>
              <a:defRPr sz="2133">
                <a:solidFill>
                  <a:schemeClr val="lt1"/>
                </a:solidFill>
              </a:defRPr>
            </a:lvl8pPr>
            <a:lvl9pPr lvl="8" rtl="0">
              <a:spcBef>
                <a:spcPts val="0"/>
              </a:spcBef>
              <a:spcAft>
                <a:spcPts val="0"/>
              </a:spcAft>
              <a:buClr>
                <a:schemeClr val="lt1"/>
              </a:buClr>
              <a:buSzPts val="1600"/>
              <a:buNone/>
              <a:defRPr sz="2133">
                <a:solidFill>
                  <a:schemeClr val="lt1"/>
                </a:solidFill>
              </a:defRPr>
            </a:lvl9pPr>
          </a:lstStyle>
          <a:p>
            <a:endParaRPr/>
          </a:p>
        </p:txBody>
      </p:sp>
    </p:spTree>
    <p:extLst>
      <p:ext uri="{BB962C8B-B14F-4D97-AF65-F5344CB8AC3E}">
        <p14:creationId xmlns:p14="http://schemas.microsoft.com/office/powerpoint/2010/main" val="45703748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matchingName="41. Title with three statements">
  <p:cSld name="41. Title with three statements">
    <p:spTree>
      <p:nvGrpSpPr>
        <p:cNvPr id="1" name="Shape 3294"/>
        <p:cNvGrpSpPr/>
        <p:nvPr/>
      </p:nvGrpSpPr>
      <p:grpSpPr>
        <a:xfrm>
          <a:off x="0" y="0"/>
          <a:ext cx="0" cy="0"/>
          <a:chOff x="0" y="0"/>
          <a:chExt cx="0" cy="0"/>
        </a:xfrm>
      </p:grpSpPr>
      <p:sp>
        <p:nvSpPr>
          <p:cNvPr id="3295" name="Google Shape;3295;p176"/>
          <p:cNvSpPr txBox="1">
            <a:spLocks noGrp="1"/>
          </p:cNvSpPr>
          <p:nvPr>
            <p:ph type="title"/>
          </p:nvPr>
        </p:nvSpPr>
        <p:spPr>
          <a:xfrm>
            <a:off x="1068343" y="634023"/>
            <a:ext cx="9486800" cy="1162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3296" name="Google Shape;3296;p176"/>
          <p:cNvSpPr/>
          <p:nvPr/>
        </p:nvSpPr>
        <p:spPr>
          <a:xfrm>
            <a:off x="1068343" y="2263337"/>
            <a:ext cx="2972000" cy="2972000"/>
          </a:xfrm>
          <a:prstGeom prst="roundRect">
            <a:avLst>
              <a:gd name="adj" fmla="val 4602"/>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i="0" u="none" strike="noStrike" cap="none">
              <a:solidFill>
                <a:schemeClr val="dk1"/>
              </a:solidFill>
            </a:endParaRPr>
          </a:p>
        </p:txBody>
      </p:sp>
      <p:sp>
        <p:nvSpPr>
          <p:cNvPr id="3297" name="Google Shape;3297;p176"/>
          <p:cNvSpPr/>
          <p:nvPr/>
        </p:nvSpPr>
        <p:spPr>
          <a:xfrm>
            <a:off x="4616451" y="2263337"/>
            <a:ext cx="2972000" cy="2972000"/>
          </a:xfrm>
          <a:prstGeom prst="roundRect">
            <a:avLst>
              <a:gd name="adj" fmla="val 4602"/>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i="0" u="none" strike="noStrike" cap="none">
              <a:solidFill>
                <a:schemeClr val="dk1"/>
              </a:solidFill>
            </a:endParaRPr>
          </a:p>
        </p:txBody>
      </p:sp>
      <p:sp>
        <p:nvSpPr>
          <p:cNvPr id="3298" name="Google Shape;3298;p176"/>
          <p:cNvSpPr/>
          <p:nvPr/>
        </p:nvSpPr>
        <p:spPr>
          <a:xfrm>
            <a:off x="8167496" y="2263337"/>
            <a:ext cx="2972000" cy="2972000"/>
          </a:xfrm>
          <a:prstGeom prst="roundRect">
            <a:avLst>
              <a:gd name="adj" fmla="val 4602"/>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i="0" u="none" strike="noStrike" cap="none">
              <a:solidFill>
                <a:schemeClr val="dk1"/>
              </a:solidFill>
            </a:endParaRPr>
          </a:p>
        </p:txBody>
      </p:sp>
      <p:grpSp>
        <p:nvGrpSpPr>
          <p:cNvPr id="3299" name="Google Shape;3299;p176"/>
          <p:cNvGrpSpPr/>
          <p:nvPr/>
        </p:nvGrpSpPr>
        <p:grpSpPr>
          <a:xfrm>
            <a:off x="12253600" y="1"/>
            <a:ext cx="3438989" cy="3424452"/>
            <a:chOff x="22170399" y="777240"/>
            <a:chExt cx="6877978" cy="6848903"/>
          </a:xfrm>
        </p:grpSpPr>
        <p:grpSp>
          <p:nvGrpSpPr>
            <p:cNvPr id="3300" name="Google Shape;3300;p176"/>
            <p:cNvGrpSpPr/>
            <p:nvPr/>
          </p:nvGrpSpPr>
          <p:grpSpPr>
            <a:xfrm>
              <a:off x="22170399" y="777240"/>
              <a:ext cx="6877978" cy="6848903"/>
              <a:chOff x="22155159" y="0"/>
              <a:chExt cx="6877978" cy="6848903"/>
            </a:xfrm>
          </p:grpSpPr>
          <p:sp>
            <p:nvSpPr>
              <p:cNvPr id="3301" name="Google Shape;3301;p176"/>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302" name="Google Shape;3302;p176"/>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303" name="Google Shape;3303;p176"/>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304" name="Google Shape;3304;p176"/>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305" name="Google Shape;3305;p176"/>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306" name="Google Shape;3306;p176"/>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307" name="Google Shape;3307;p176"/>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308" name="Google Shape;3308;p176"/>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309" name="Google Shape;3309;p176"/>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310" name="Google Shape;3310;p176"/>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311" name="Google Shape;3311;p176"/>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312" name="Google Shape;3312;p176"/>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313" name="Google Shape;3313;p176"/>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314" name="Google Shape;3314;p176"/>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315" name="Google Shape;3315;p176"/>
          <p:cNvSpPr txBox="1">
            <a:spLocks noGrp="1"/>
          </p:cNvSpPr>
          <p:nvPr>
            <p:ph type="subTitle" idx="1"/>
          </p:nvPr>
        </p:nvSpPr>
        <p:spPr>
          <a:xfrm>
            <a:off x="1377700" y="2686524"/>
            <a:ext cx="2340800" cy="11620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316" name="Google Shape;3316;p176"/>
          <p:cNvSpPr txBox="1">
            <a:spLocks noGrp="1"/>
          </p:cNvSpPr>
          <p:nvPr>
            <p:ph type="subTitle" idx="2"/>
          </p:nvPr>
        </p:nvSpPr>
        <p:spPr>
          <a:xfrm>
            <a:off x="1377696" y="3820160"/>
            <a:ext cx="23408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317" name="Google Shape;3317;p176"/>
          <p:cNvSpPr txBox="1">
            <a:spLocks noGrp="1"/>
          </p:cNvSpPr>
          <p:nvPr>
            <p:ph type="subTitle" idx="3"/>
          </p:nvPr>
        </p:nvSpPr>
        <p:spPr>
          <a:xfrm>
            <a:off x="4933400" y="2686524"/>
            <a:ext cx="2340800" cy="11620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318" name="Google Shape;3318;p176"/>
          <p:cNvSpPr txBox="1">
            <a:spLocks noGrp="1"/>
          </p:cNvSpPr>
          <p:nvPr>
            <p:ph type="subTitle" idx="4"/>
          </p:nvPr>
        </p:nvSpPr>
        <p:spPr>
          <a:xfrm>
            <a:off x="4933413" y="3820160"/>
            <a:ext cx="23408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319" name="Google Shape;3319;p176"/>
          <p:cNvSpPr txBox="1">
            <a:spLocks noGrp="1"/>
          </p:cNvSpPr>
          <p:nvPr>
            <p:ph type="subTitle" idx="5"/>
          </p:nvPr>
        </p:nvSpPr>
        <p:spPr>
          <a:xfrm>
            <a:off x="8486233" y="2686524"/>
            <a:ext cx="2340800" cy="11620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320" name="Google Shape;3320;p176"/>
          <p:cNvSpPr txBox="1">
            <a:spLocks noGrp="1"/>
          </p:cNvSpPr>
          <p:nvPr>
            <p:ph type="subTitle" idx="6"/>
          </p:nvPr>
        </p:nvSpPr>
        <p:spPr>
          <a:xfrm>
            <a:off x="8486229" y="3820160"/>
            <a:ext cx="23408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708249754"/>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matchingName="42. Two photos, two statements 1">
  <p:cSld name="42. Two photos, two statements 1">
    <p:spTree>
      <p:nvGrpSpPr>
        <p:cNvPr id="1" name="Shape 3321"/>
        <p:cNvGrpSpPr/>
        <p:nvPr/>
      </p:nvGrpSpPr>
      <p:grpSpPr>
        <a:xfrm>
          <a:off x="0" y="0"/>
          <a:ext cx="0" cy="0"/>
          <a:chOff x="0" y="0"/>
          <a:chExt cx="0" cy="0"/>
        </a:xfrm>
      </p:grpSpPr>
      <p:sp>
        <p:nvSpPr>
          <p:cNvPr id="3322" name="Google Shape;3322;p177"/>
          <p:cNvSpPr/>
          <p:nvPr/>
        </p:nvSpPr>
        <p:spPr>
          <a:xfrm>
            <a:off x="8607612" y="642937"/>
            <a:ext cx="2972000" cy="2514400"/>
          </a:xfrm>
          <a:prstGeom prst="roundRect">
            <a:avLst>
              <a:gd name="adj" fmla="val 4602"/>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i="0" u="none" strike="noStrike" cap="none">
              <a:solidFill>
                <a:schemeClr val="dk1"/>
              </a:solidFill>
            </a:endParaRPr>
          </a:p>
        </p:txBody>
      </p:sp>
      <p:sp>
        <p:nvSpPr>
          <p:cNvPr id="3323" name="Google Shape;3323;p177"/>
          <p:cNvSpPr/>
          <p:nvPr/>
        </p:nvSpPr>
        <p:spPr>
          <a:xfrm>
            <a:off x="8607612" y="3461791"/>
            <a:ext cx="2972000" cy="2514400"/>
          </a:xfrm>
          <a:prstGeom prst="roundRect">
            <a:avLst>
              <a:gd name="adj" fmla="val 4602"/>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i="0" u="none" strike="noStrike" cap="none">
              <a:solidFill>
                <a:schemeClr val="dk1"/>
              </a:solidFill>
            </a:endParaRPr>
          </a:p>
        </p:txBody>
      </p:sp>
      <p:grpSp>
        <p:nvGrpSpPr>
          <p:cNvPr id="3324" name="Google Shape;3324;p177"/>
          <p:cNvGrpSpPr/>
          <p:nvPr/>
        </p:nvGrpSpPr>
        <p:grpSpPr>
          <a:xfrm>
            <a:off x="12253600" y="1"/>
            <a:ext cx="3438989" cy="3424452"/>
            <a:chOff x="22170399" y="777240"/>
            <a:chExt cx="6877978" cy="6848903"/>
          </a:xfrm>
        </p:grpSpPr>
        <p:grpSp>
          <p:nvGrpSpPr>
            <p:cNvPr id="3325" name="Google Shape;3325;p177"/>
            <p:cNvGrpSpPr/>
            <p:nvPr/>
          </p:nvGrpSpPr>
          <p:grpSpPr>
            <a:xfrm>
              <a:off x="22170399" y="777240"/>
              <a:ext cx="6877978" cy="6848903"/>
              <a:chOff x="22155159" y="0"/>
              <a:chExt cx="6877978" cy="6848903"/>
            </a:xfrm>
          </p:grpSpPr>
          <p:sp>
            <p:nvSpPr>
              <p:cNvPr id="3326" name="Google Shape;3326;p177"/>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327" name="Google Shape;3327;p177"/>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328" name="Google Shape;3328;p177"/>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329" name="Google Shape;3329;p177"/>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330" name="Google Shape;3330;p177"/>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331" name="Google Shape;3331;p177"/>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332" name="Google Shape;3332;p177"/>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333" name="Google Shape;3333;p177"/>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334" name="Google Shape;3334;p177"/>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335" name="Google Shape;3335;p177"/>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336" name="Google Shape;3336;p177"/>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337" name="Google Shape;3337;p177"/>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338" name="Google Shape;3338;p177"/>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339" name="Google Shape;3339;p177"/>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340" name="Google Shape;3340;p177"/>
          <p:cNvSpPr txBox="1">
            <a:spLocks noGrp="1"/>
          </p:cNvSpPr>
          <p:nvPr>
            <p:ph type="subTitle" idx="1"/>
          </p:nvPr>
        </p:nvSpPr>
        <p:spPr>
          <a:xfrm>
            <a:off x="8923100" y="1083467"/>
            <a:ext cx="2340800" cy="10580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341" name="Google Shape;3341;p177"/>
          <p:cNvSpPr txBox="1">
            <a:spLocks noGrp="1"/>
          </p:cNvSpPr>
          <p:nvPr>
            <p:ph type="subTitle" idx="2"/>
          </p:nvPr>
        </p:nvSpPr>
        <p:spPr>
          <a:xfrm>
            <a:off x="8923096" y="2141060"/>
            <a:ext cx="23408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342" name="Google Shape;3342;p177"/>
          <p:cNvSpPr txBox="1">
            <a:spLocks noGrp="1"/>
          </p:cNvSpPr>
          <p:nvPr>
            <p:ph type="subTitle" idx="3"/>
          </p:nvPr>
        </p:nvSpPr>
        <p:spPr>
          <a:xfrm>
            <a:off x="8923100" y="3923523"/>
            <a:ext cx="2340800" cy="1127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343" name="Google Shape;3343;p177"/>
          <p:cNvSpPr txBox="1">
            <a:spLocks noGrp="1"/>
          </p:cNvSpPr>
          <p:nvPr>
            <p:ph type="subTitle" idx="4"/>
          </p:nvPr>
        </p:nvSpPr>
        <p:spPr>
          <a:xfrm>
            <a:off x="8923096" y="5022360"/>
            <a:ext cx="23408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344" name="Google Shape;3344;p177"/>
          <p:cNvSpPr/>
          <p:nvPr/>
        </p:nvSpPr>
        <p:spPr>
          <a:xfrm>
            <a:off x="5337979" y="642937"/>
            <a:ext cx="2972000" cy="2514400"/>
          </a:xfrm>
          <a:prstGeom prst="roundRect">
            <a:avLst>
              <a:gd name="adj" fmla="val 4602"/>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i="0" u="none" strike="noStrike" cap="none">
              <a:solidFill>
                <a:schemeClr val="dk1"/>
              </a:solidFill>
            </a:endParaRPr>
          </a:p>
        </p:txBody>
      </p:sp>
      <p:sp>
        <p:nvSpPr>
          <p:cNvPr id="3345" name="Google Shape;3345;p177"/>
          <p:cNvSpPr/>
          <p:nvPr/>
        </p:nvSpPr>
        <p:spPr>
          <a:xfrm>
            <a:off x="5337979" y="3461791"/>
            <a:ext cx="2972000" cy="2514400"/>
          </a:xfrm>
          <a:prstGeom prst="roundRect">
            <a:avLst>
              <a:gd name="adj" fmla="val 4602"/>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i="0" u="none" strike="noStrike" cap="none">
              <a:solidFill>
                <a:schemeClr val="dk1"/>
              </a:solidFill>
            </a:endParaRPr>
          </a:p>
        </p:txBody>
      </p:sp>
      <p:sp>
        <p:nvSpPr>
          <p:cNvPr id="3346" name="Google Shape;3346;p177"/>
          <p:cNvSpPr txBox="1">
            <a:spLocks noGrp="1"/>
          </p:cNvSpPr>
          <p:nvPr>
            <p:ph type="subTitle" idx="5"/>
          </p:nvPr>
        </p:nvSpPr>
        <p:spPr>
          <a:xfrm>
            <a:off x="5653467" y="1083467"/>
            <a:ext cx="2340800" cy="10580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347" name="Google Shape;3347;p177"/>
          <p:cNvSpPr txBox="1">
            <a:spLocks noGrp="1"/>
          </p:cNvSpPr>
          <p:nvPr>
            <p:ph type="subTitle" idx="6"/>
          </p:nvPr>
        </p:nvSpPr>
        <p:spPr>
          <a:xfrm>
            <a:off x="5653463" y="2141060"/>
            <a:ext cx="23408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348" name="Google Shape;3348;p177"/>
          <p:cNvSpPr txBox="1">
            <a:spLocks noGrp="1"/>
          </p:cNvSpPr>
          <p:nvPr>
            <p:ph type="subTitle" idx="7"/>
          </p:nvPr>
        </p:nvSpPr>
        <p:spPr>
          <a:xfrm>
            <a:off x="5653467" y="3923523"/>
            <a:ext cx="2340800" cy="1127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349" name="Google Shape;3349;p177"/>
          <p:cNvSpPr txBox="1">
            <a:spLocks noGrp="1"/>
          </p:cNvSpPr>
          <p:nvPr>
            <p:ph type="subTitle" idx="8"/>
          </p:nvPr>
        </p:nvSpPr>
        <p:spPr>
          <a:xfrm>
            <a:off x="5653463" y="5022360"/>
            <a:ext cx="23408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350" name="Google Shape;3350;p177"/>
          <p:cNvSpPr txBox="1">
            <a:spLocks noGrp="1"/>
          </p:cNvSpPr>
          <p:nvPr>
            <p:ph type="title"/>
          </p:nvPr>
        </p:nvSpPr>
        <p:spPr>
          <a:xfrm>
            <a:off x="663772" y="2848000"/>
            <a:ext cx="3930800" cy="1162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Tree>
    <p:extLst>
      <p:ext uri="{BB962C8B-B14F-4D97-AF65-F5344CB8AC3E}">
        <p14:creationId xmlns:p14="http://schemas.microsoft.com/office/powerpoint/2010/main" val="80051993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matchingName="43. Two photos, two statements">
  <p:cSld name="43. Two photos, two statements">
    <p:spTree>
      <p:nvGrpSpPr>
        <p:cNvPr id="1" name="Shape 3351"/>
        <p:cNvGrpSpPr/>
        <p:nvPr/>
      </p:nvGrpSpPr>
      <p:grpSpPr>
        <a:xfrm>
          <a:off x="0" y="0"/>
          <a:ext cx="0" cy="0"/>
          <a:chOff x="0" y="0"/>
          <a:chExt cx="0" cy="0"/>
        </a:xfrm>
      </p:grpSpPr>
      <p:pic>
        <p:nvPicPr>
          <p:cNvPr id="3352" name="Google Shape;3352;p178"/>
          <p:cNvPicPr preferRelativeResize="0"/>
          <p:nvPr/>
        </p:nvPicPr>
        <p:blipFill rotWithShape="1">
          <a:blip r:embed="rId2">
            <a:alphaModFix/>
          </a:blip>
          <a:srcRect/>
          <a:stretch/>
        </p:blipFill>
        <p:spPr>
          <a:xfrm>
            <a:off x="-274593" y="-1734700"/>
            <a:ext cx="6858000" cy="6858000"/>
          </a:xfrm>
          <a:prstGeom prst="rect">
            <a:avLst/>
          </a:prstGeom>
          <a:noFill/>
          <a:ln>
            <a:noFill/>
          </a:ln>
        </p:spPr>
      </p:pic>
      <p:sp>
        <p:nvSpPr>
          <p:cNvPr id="3353" name="Google Shape;3353;p178"/>
          <p:cNvSpPr>
            <a:spLocks noGrp="1"/>
          </p:cNvSpPr>
          <p:nvPr>
            <p:ph type="pic" idx="2"/>
          </p:nvPr>
        </p:nvSpPr>
        <p:spPr>
          <a:xfrm>
            <a:off x="2956112" y="3442657"/>
            <a:ext cx="2972000" cy="2514400"/>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fadeDir="5400012" sy="-100000" algn="bl" rotWithShape="0"/>
          </a:effectLst>
        </p:spPr>
      </p:sp>
      <p:sp>
        <p:nvSpPr>
          <p:cNvPr id="3354" name="Google Shape;3354;p178"/>
          <p:cNvSpPr>
            <a:spLocks noGrp="1"/>
          </p:cNvSpPr>
          <p:nvPr>
            <p:ph type="pic" idx="3"/>
          </p:nvPr>
        </p:nvSpPr>
        <p:spPr>
          <a:xfrm>
            <a:off x="2956112" y="642937"/>
            <a:ext cx="2972000" cy="2514400"/>
          </a:xfrm>
          <a:prstGeom prst="roundRect">
            <a:avLst>
              <a:gd name="adj" fmla="val 4636"/>
            </a:avLst>
          </a:prstGeom>
          <a:solidFill>
            <a:srgbClr val="0A0C10"/>
          </a:solidFill>
          <a:ln w="9525" cap="flat" cmpd="sng">
            <a:solidFill>
              <a:srgbClr val="21262D"/>
            </a:solidFill>
            <a:prstDash val="solid"/>
            <a:round/>
            <a:headEnd type="none" w="sm" len="sm"/>
            <a:tailEnd type="none" w="sm" len="sm"/>
          </a:ln>
        </p:spPr>
      </p:sp>
      <p:sp>
        <p:nvSpPr>
          <p:cNvPr id="3355" name="Google Shape;3355;p178"/>
          <p:cNvSpPr/>
          <p:nvPr/>
        </p:nvSpPr>
        <p:spPr>
          <a:xfrm>
            <a:off x="6270812" y="642937"/>
            <a:ext cx="2972000" cy="2514400"/>
          </a:xfrm>
          <a:prstGeom prst="roundRect">
            <a:avLst>
              <a:gd name="adj" fmla="val 4602"/>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i="0" u="none" strike="noStrike" cap="none">
              <a:solidFill>
                <a:schemeClr val="dk1"/>
              </a:solidFill>
            </a:endParaRPr>
          </a:p>
        </p:txBody>
      </p:sp>
      <p:sp>
        <p:nvSpPr>
          <p:cNvPr id="3356" name="Google Shape;3356;p178"/>
          <p:cNvSpPr/>
          <p:nvPr/>
        </p:nvSpPr>
        <p:spPr>
          <a:xfrm>
            <a:off x="6270812" y="3461791"/>
            <a:ext cx="2972000" cy="2514400"/>
          </a:xfrm>
          <a:prstGeom prst="roundRect">
            <a:avLst>
              <a:gd name="adj" fmla="val 4602"/>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i="0" u="none" strike="noStrike" cap="none">
              <a:solidFill>
                <a:schemeClr val="dk1"/>
              </a:solidFill>
            </a:endParaRPr>
          </a:p>
        </p:txBody>
      </p:sp>
      <p:grpSp>
        <p:nvGrpSpPr>
          <p:cNvPr id="3357" name="Google Shape;3357;p178"/>
          <p:cNvGrpSpPr/>
          <p:nvPr/>
        </p:nvGrpSpPr>
        <p:grpSpPr>
          <a:xfrm>
            <a:off x="12253600" y="1"/>
            <a:ext cx="3438989" cy="3424452"/>
            <a:chOff x="22170399" y="777240"/>
            <a:chExt cx="6877978" cy="6848903"/>
          </a:xfrm>
        </p:grpSpPr>
        <p:grpSp>
          <p:nvGrpSpPr>
            <p:cNvPr id="3358" name="Google Shape;3358;p178"/>
            <p:cNvGrpSpPr/>
            <p:nvPr/>
          </p:nvGrpSpPr>
          <p:grpSpPr>
            <a:xfrm>
              <a:off x="22170399" y="777240"/>
              <a:ext cx="6877978" cy="6848903"/>
              <a:chOff x="22155159" y="0"/>
              <a:chExt cx="6877978" cy="6848903"/>
            </a:xfrm>
          </p:grpSpPr>
          <p:sp>
            <p:nvSpPr>
              <p:cNvPr id="3359" name="Google Shape;3359;p178"/>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360" name="Google Shape;3360;p178"/>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361" name="Google Shape;3361;p178"/>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362" name="Google Shape;3362;p178"/>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363" name="Google Shape;3363;p178"/>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364" name="Google Shape;3364;p178"/>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365" name="Google Shape;3365;p178"/>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366" name="Google Shape;3366;p178"/>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367" name="Google Shape;3367;p178"/>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368" name="Google Shape;3368;p178"/>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369" name="Google Shape;3369;p178"/>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370" name="Google Shape;3370;p178"/>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371" name="Google Shape;3371;p178"/>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372" name="Google Shape;3372;p178"/>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373" name="Google Shape;3373;p178"/>
          <p:cNvSpPr txBox="1">
            <a:spLocks noGrp="1"/>
          </p:cNvSpPr>
          <p:nvPr>
            <p:ph type="subTitle" idx="1"/>
          </p:nvPr>
        </p:nvSpPr>
        <p:spPr>
          <a:xfrm>
            <a:off x="6586300" y="1083467"/>
            <a:ext cx="2340800" cy="10580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374" name="Google Shape;3374;p178"/>
          <p:cNvSpPr txBox="1">
            <a:spLocks noGrp="1"/>
          </p:cNvSpPr>
          <p:nvPr>
            <p:ph type="subTitle" idx="4"/>
          </p:nvPr>
        </p:nvSpPr>
        <p:spPr>
          <a:xfrm>
            <a:off x="6586296" y="2141060"/>
            <a:ext cx="23408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375" name="Google Shape;3375;p178"/>
          <p:cNvSpPr txBox="1">
            <a:spLocks noGrp="1"/>
          </p:cNvSpPr>
          <p:nvPr>
            <p:ph type="subTitle" idx="5"/>
          </p:nvPr>
        </p:nvSpPr>
        <p:spPr>
          <a:xfrm>
            <a:off x="6586300" y="3923523"/>
            <a:ext cx="2340800" cy="1127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376" name="Google Shape;3376;p178"/>
          <p:cNvSpPr txBox="1">
            <a:spLocks noGrp="1"/>
          </p:cNvSpPr>
          <p:nvPr>
            <p:ph type="subTitle" idx="6"/>
          </p:nvPr>
        </p:nvSpPr>
        <p:spPr>
          <a:xfrm>
            <a:off x="6586296" y="5022360"/>
            <a:ext cx="23408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3655808134"/>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matchingName="44. One photo, one statement with title">
  <p:cSld name="44. One photo, one statement with title">
    <p:spTree>
      <p:nvGrpSpPr>
        <p:cNvPr id="1" name="Shape 3377"/>
        <p:cNvGrpSpPr/>
        <p:nvPr/>
      </p:nvGrpSpPr>
      <p:grpSpPr>
        <a:xfrm>
          <a:off x="0" y="0"/>
          <a:ext cx="0" cy="0"/>
          <a:chOff x="0" y="0"/>
          <a:chExt cx="0" cy="0"/>
        </a:xfrm>
      </p:grpSpPr>
      <p:pic>
        <p:nvPicPr>
          <p:cNvPr id="3378" name="Google Shape;3378;p179"/>
          <p:cNvPicPr preferRelativeResize="0"/>
          <p:nvPr/>
        </p:nvPicPr>
        <p:blipFill rotWithShape="1">
          <a:blip r:embed="rId2">
            <a:alphaModFix/>
          </a:blip>
          <a:srcRect/>
          <a:stretch/>
        </p:blipFill>
        <p:spPr>
          <a:xfrm>
            <a:off x="2523951" y="-1318540"/>
            <a:ext cx="6858000" cy="6858000"/>
          </a:xfrm>
          <a:prstGeom prst="rect">
            <a:avLst/>
          </a:prstGeom>
          <a:noFill/>
          <a:ln>
            <a:noFill/>
          </a:ln>
        </p:spPr>
      </p:pic>
      <p:sp>
        <p:nvSpPr>
          <p:cNvPr id="3379" name="Google Shape;3379;p179"/>
          <p:cNvSpPr>
            <a:spLocks noGrp="1"/>
          </p:cNvSpPr>
          <p:nvPr>
            <p:ph type="pic" idx="2"/>
          </p:nvPr>
        </p:nvSpPr>
        <p:spPr>
          <a:xfrm>
            <a:off x="684860" y="914400"/>
            <a:ext cx="5943600" cy="5029200"/>
          </a:xfrm>
          <a:prstGeom prst="roundRect">
            <a:avLst>
              <a:gd name="adj" fmla="val 2522"/>
            </a:avLst>
          </a:prstGeom>
          <a:solidFill>
            <a:srgbClr val="090C0F"/>
          </a:solidFill>
          <a:ln w="9525" cap="flat" cmpd="sng">
            <a:solidFill>
              <a:srgbClr val="21262D"/>
            </a:solidFill>
            <a:prstDash val="solid"/>
            <a:round/>
            <a:headEnd type="none" w="sm" len="sm"/>
            <a:tailEnd type="none" w="sm" len="sm"/>
          </a:ln>
          <a:effectLst>
            <a:reflection stA="20000" endPos="25000" dist="50800" dir="5400000" fadeDir="5400012" sy="-100000" algn="bl" rotWithShape="0"/>
          </a:effectLst>
        </p:spPr>
      </p:sp>
      <p:grpSp>
        <p:nvGrpSpPr>
          <p:cNvPr id="3380" name="Google Shape;3380;p179"/>
          <p:cNvGrpSpPr/>
          <p:nvPr/>
        </p:nvGrpSpPr>
        <p:grpSpPr>
          <a:xfrm>
            <a:off x="12253600" y="1"/>
            <a:ext cx="3438989" cy="3424452"/>
            <a:chOff x="22170399" y="777240"/>
            <a:chExt cx="6877978" cy="6848903"/>
          </a:xfrm>
        </p:grpSpPr>
        <p:grpSp>
          <p:nvGrpSpPr>
            <p:cNvPr id="3381" name="Google Shape;3381;p179"/>
            <p:cNvGrpSpPr/>
            <p:nvPr/>
          </p:nvGrpSpPr>
          <p:grpSpPr>
            <a:xfrm>
              <a:off x="22170399" y="777240"/>
              <a:ext cx="6877978" cy="6848903"/>
              <a:chOff x="22155159" y="0"/>
              <a:chExt cx="6877978" cy="6848903"/>
            </a:xfrm>
          </p:grpSpPr>
          <p:sp>
            <p:nvSpPr>
              <p:cNvPr id="3382" name="Google Shape;3382;p179"/>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383" name="Google Shape;3383;p179"/>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384" name="Google Shape;3384;p179"/>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385" name="Google Shape;3385;p179"/>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386" name="Google Shape;3386;p179"/>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387" name="Google Shape;3387;p179"/>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388" name="Google Shape;3388;p179"/>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389" name="Google Shape;3389;p179"/>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390" name="Google Shape;3390;p179"/>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391" name="Google Shape;3391;p179"/>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392" name="Google Shape;3392;p179"/>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393" name="Google Shape;3393;p179"/>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394" name="Google Shape;3394;p179"/>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395" name="Google Shape;3395;p179"/>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396" name="Google Shape;3396;p179"/>
          <p:cNvSpPr txBox="1">
            <a:spLocks noGrp="1"/>
          </p:cNvSpPr>
          <p:nvPr>
            <p:ph type="subTitle" idx="1"/>
          </p:nvPr>
        </p:nvSpPr>
        <p:spPr>
          <a:xfrm>
            <a:off x="7124201" y="3190233"/>
            <a:ext cx="4511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397" name="Google Shape;3397;p179"/>
          <p:cNvSpPr txBox="1">
            <a:spLocks noGrp="1"/>
          </p:cNvSpPr>
          <p:nvPr>
            <p:ph type="subTitle" idx="3"/>
          </p:nvPr>
        </p:nvSpPr>
        <p:spPr>
          <a:xfrm>
            <a:off x="7124201" y="3352795"/>
            <a:ext cx="45112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398" name="Google Shape;3398;p179"/>
          <p:cNvSpPr txBox="1">
            <a:spLocks noGrp="1"/>
          </p:cNvSpPr>
          <p:nvPr>
            <p:ph type="title"/>
          </p:nvPr>
        </p:nvSpPr>
        <p:spPr>
          <a:xfrm>
            <a:off x="7142439" y="1507833"/>
            <a:ext cx="4597200" cy="1162000"/>
          </a:xfrm>
          <a:prstGeom prst="rect">
            <a:avLst/>
          </a:prstGeom>
          <a:noFill/>
          <a:ln>
            <a:noFill/>
          </a:ln>
        </p:spPr>
        <p:txBody>
          <a:bodyPr spcFirstLastPara="1" wrap="square" lIns="34275" tIns="17150" rIns="34275" bIns="17150" anchor="b"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9pPr>
          </a:lstStyle>
          <a:p>
            <a:endParaRPr/>
          </a:p>
        </p:txBody>
      </p:sp>
    </p:spTree>
    <p:extLst>
      <p:ext uri="{BB962C8B-B14F-4D97-AF65-F5344CB8AC3E}">
        <p14:creationId xmlns:p14="http://schemas.microsoft.com/office/powerpoint/2010/main" val="249881737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matchingName="45. One photo, one statement with large title">
  <p:cSld name="45. One photo, one statement with large title">
    <p:spTree>
      <p:nvGrpSpPr>
        <p:cNvPr id="1" name="Shape 3399"/>
        <p:cNvGrpSpPr/>
        <p:nvPr/>
      </p:nvGrpSpPr>
      <p:grpSpPr>
        <a:xfrm>
          <a:off x="0" y="0"/>
          <a:ext cx="0" cy="0"/>
          <a:chOff x="0" y="0"/>
          <a:chExt cx="0" cy="0"/>
        </a:xfrm>
      </p:grpSpPr>
      <p:pic>
        <p:nvPicPr>
          <p:cNvPr id="3400" name="Google Shape;3400;p180"/>
          <p:cNvPicPr preferRelativeResize="0"/>
          <p:nvPr/>
        </p:nvPicPr>
        <p:blipFill rotWithShape="1">
          <a:blip r:embed="rId2">
            <a:alphaModFix/>
          </a:blip>
          <a:srcRect/>
          <a:stretch/>
        </p:blipFill>
        <p:spPr>
          <a:xfrm>
            <a:off x="6130707" y="-1503533"/>
            <a:ext cx="6858000" cy="6858000"/>
          </a:xfrm>
          <a:prstGeom prst="rect">
            <a:avLst/>
          </a:prstGeom>
          <a:noFill/>
          <a:ln>
            <a:noFill/>
          </a:ln>
        </p:spPr>
      </p:pic>
      <p:sp>
        <p:nvSpPr>
          <p:cNvPr id="3401" name="Google Shape;3401;p180"/>
          <p:cNvSpPr>
            <a:spLocks noGrp="1"/>
          </p:cNvSpPr>
          <p:nvPr>
            <p:ph type="pic" idx="2"/>
          </p:nvPr>
        </p:nvSpPr>
        <p:spPr>
          <a:xfrm>
            <a:off x="5561660" y="914400"/>
            <a:ext cx="5943600" cy="5029200"/>
          </a:xfrm>
          <a:prstGeom prst="roundRect">
            <a:avLst>
              <a:gd name="adj" fmla="val 2522"/>
            </a:avLst>
          </a:prstGeom>
          <a:solidFill>
            <a:srgbClr val="090C0F"/>
          </a:solidFill>
          <a:ln w="9525" cap="flat" cmpd="sng">
            <a:solidFill>
              <a:srgbClr val="21262D"/>
            </a:solidFill>
            <a:prstDash val="solid"/>
            <a:round/>
            <a:headEnd type="none" w="sm" len="sm"/>
            <a:tailEnd type="none" w="sm" len="sm"/>
          </a:ln>
          <a:effectLst>
            <a:reflection stA="20000" endPos="25000" dist="50800" dir="5400000" fadeDir="5400012" sy="-100000" algn="bl" rotWithShape="0"/>
          </a:effectLst>
        </p:spPr>
      </p:sp>
      <p:grpSp>
        <p:nvGrpSpPr>
          <p:cNvPr id="3402" name="Google Shape;3402;p180"/>
          <p:cNvGrpSpPr/>
          <p:nvPr/>
        </p:nvGrpSpPr>
        <p:grpSpPr>
          <a:xfrm>
            <a:off x="12253600" y="1"/>
            <a:ext cx="3438989" cy="3424452"/>
            <a:chOff x="22170399" y="777240"/>
            <a:chExt cx="6877978" cy="6848903"/>
          </a:xfrm>
        </p:grpSpPr>
        <p:grpSp>
          <p:nvGrpSpPr>
            <p:cNvPr id="3403" name="Google Shape;3403;p180"/>
            <p:cNvGrpSpPr/>
            <p:nvPr/>
          </p:nvGrpSpPr>
          <p:grpSpPr>
            <a:xfrm>
              <a:off x="22170399" y="777240"/>
              <a:ext cx="6877978" cy="6848903"/>
              <a:chOff x="22155159" y="0"/>
              <a:chExt cx="6877978" cy="6848903"/>
            </a:xfrm>
          </p:grpSpPr>
          <p:sp>
            <p:nvSpPr>
              <p:cNvPr id="3404" name="Google Shape;3404;p180"/>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405" name="Google Shape;3405;p180"/>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406" name="Google Shape;3406;p180"/>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407" name="Google Shape;3407;p180"/>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408" name="Google Shape;3408;p180"/>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409" name="Google Shape;3409;p180"/>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410" name="Google Shape;3410;p180"/>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411" name="Google Shape;3411;p180"/>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412" name="Google Shape;3412;p180"/>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413" name="Google Shape;3413;p180"/>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414" name="Google Shape;3414;p180"/>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415" name="Google Shape;3415;p180"/>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416" name="Google Shape;3416;p180"/>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417" name="Google Shape;3417;p180"/>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418" name="Google Shape;3418;p180"/>
          <p:cNvSpPr txBox="1">
            <a:spLocks noGrp="1"/>
          </p:cNvSpPr>
          <p:nvPr>
            <p:ph type="subTitle" idx="1"/>
          </p:nvPr>
        </p:nvSpPr>
        <p:spPr>
          <a:xfrm>
            <a:off x="520201" y="3190233"/>
            <a:ext cx="4511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419" name="Google Shape;3419;p180"/>
          <p:cNvSpPr txBox="1">
            <a:spLocks noGrp="1"/>
          </p:cNvSpPr>
          <p:nvPr>
            <p:ph type="subTitle" idx="3"/>
          </p:nvPr>
        </p:nvSpPr>
        <p:spPr>
          <a:xfrm>
            <a:off x="520201" y="3352795"/>
            <a:ext cx="45112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420" name="Google Shape;3420;p180"/>
          <p:cNvSpPr txBox="1">
            <a:spLocks noGrp="1"/>
          </p:cNvSpPr>
          <p:nvPr>
            <p:ph type="title"/>
          </p:nvPr>
        </p:nvSpPr>
        <p:spPr>
          <a:xfrm>
            <a:off x="538439" y="1507833"/>
            <a:ext cx="4597200" cy="1162000"/>
          </a:xfrm>
          <a:prstGeom prst="rect">
            <a:avLst/>
          </a:prstGeom>
          <a:noFill/>
          <a:ln>
            <a:noFill/>
          </a:ln>
        </p:spPr>
        <p:txBody>
          <a:bodyPr spcFirstLastPara="1" wrap="square" lIns="34275" tIns="17150" rIns="34275" bIns="17150" anchor="b"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9pPr>
          </a:lstStyle>
          <a:p>
            <a:endParaRPr/>
          </a:p>
        </p:txBody>
      </p:sp>
    </p:spTree>
    <p:extLst>
      <p:ext uri="{BB962C8B-B14F-4D97-AF65-F5344CB8AC3E}">
        <p14:creationId xmlns:p14="http://schemas.microsoft.com/office/powerpoint/2010/main" val="3480281140"/>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matchingName="46. One photo, two statements">
  <p:cSld name="46. One photo, two statements">
    <p:spTree>
      <p:nvGrpSpPr>
        <p:cNvPr id="1" name="Shape 3421"/>
        <p:cNvGrpSpPr/>
        <p:nvPr/>
      </p:nvGrpSpPr>
      <p:grpSpPr>
        <a:xfrm>
          <a:off x="0" y="0"/>
          <a:ext cx="0" cy="0"/>
          <a:chOff x="0" y="0"/>
          <a:chExt cx="0" cy="0"/>
        </a:xfrm>
      </p:grpSpPr>
      <p:pic>
        <p:nvPicPr>
          <p:cNvPr id="3422" name="Google Shape;3422;p181"/>
          <p:cNvPicPr preferRelativeResize="0"/>
          <p:nvPr/>
        </p:nvPicPr>
        <p:blipFill rotWithShape="1">
          <a:blip r:embed="rId2">
            <a:alphaModFix/>
          </a:blip>
          <a:srcRect/>
          <a:stretch/>
        </p:blipFill>
        <p:spPr>
          <a:xfrm>
            <a:off x="2523951" y="-1318540"/>
            <a:ext cx="6858000" cy="6858000"/>
          </a:xfrm>
          <a:prstGeom prst="rect">
            <a:avLst/>
          </a:prstGeom>
          <a:noFill/>
          <a:ln>
            <a:noFill/>
          </a:ln>
        </p:spPr>
      </p:pic>
      <p:sp>
        <p:nvSpPr>
          <p:cNvPr id="3423" name="Google Shape;3423;p181"/>
          <p:cNvSpPr/>
          <p:nvPr/>
        </p:nvSpPr>
        <p:spPr>
          <a:xfrm>
            <a:off x="7762521" y="1041321"/>
            <a:ext cx="723200" cy="7280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424" name="Google Shape;3424;p181"/>
          <p:cNvSpPr/>
          <p:nvPr/>
        </p:nvSpPr>
        <p:spPr>
          <a:xfrm>
            <a:off x="7762548" y="3578975"/>
            <a:ext cx="723200" cy="7280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425" name="Google Shape;3425;p181"/>
          <p:cNvSpPr>
            <a:spLocks noGrp="1"/>
          </p:cNvSpPr>
          <p:nvPr>
            <p:ph type="pic" idx="2"/>
          </p:nvPr>
        </p:nvSpPr>
        <p:spPr>
          <a:xfrm>
            <a:off x="684860" y="914400"/>
            <a:ext cx="5943600" cy="5029200"/>
          </a:xfrm>
          <a:prstGeom prst="roundRect">
            <a:avLst>
              <a:gd name="adj" fmla="val 2522"/>
            </a:avLst>
          </a:prstGeom>
          <a:solidFill>
            <a:srgbClr val="090C0F"/>
          </a:solidFill>
          <a:ln w="9525" cap="flat" cmpd="sng">
            <a:solidFill>
              <a:srgbClr val="21262D"/>
            </a:solidFill>
            <a:prstDash val="solid"/>
            <a:round/>
            <a:headEnd type="none" w="sm" len="sm"/>
            <a:tailEnd type="none" w="sm" len="sm"/>
          </a:ln>
          <a:effectLst>
            <a:reflection stA="20000" endPos="25000" dist="50800" dir="5400000" fadeDir="5400012" sy="-100000" algn="bl" rotWithShape="0"/>
          </a:effectLst>
        </p:spPr>
      </p:sp>
      <p:grpSp>
        <p:nvGrpSpPr>
          <p:cNvPr id="3426" name="Google Shape;3426;p181"/>
          <p:cNvGrpSpPr/>
          <p:nvPr/>
        </p:nvGrpSpPr>
        <p:grpSpPr>
          <a:xfrm>
            <a:off x="12253600" y="1"/>
            <a:ext cx="3438989" cy="3424452"/>
            <a:chOff x="22170399" y="777240"/>
            <a:chExt cx="6877978" cy="6848903"/>
          </a:xfrm>
        </p:grpSpPr>
        <p:grpSp>
          <p:nvGrpSpPr>
            <p:cNvPr id="3427" name="Google Shape;3427;p181"/>
            <p:cNvGrpSpPr/>
            <p:nvPr/>
          </p:nvGrpSpPr>
          <p:grpSpPr>
            <a:xfrm>
              <a:off x="22170399" y="777240"/>
              <a:ext cx="6877978" cy="6848903"/>
              <a:chOff x="22155159" y="0"/>
              <a:chExt cx="6877978" cy="6848903"/>
            </a:xfrm>
          </p:grpSpPr>
          <p:sp>
            <p:nvSpPr>
              <p:cNvPr id="3428" name="Google Shape;3428;p181"/>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429" name="Google Shape;3429;p181"/>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430" name="Google Shape;3430;p181"/>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431" name="Google Shape;3431;p181"/>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432" name="Google Shape;3432;p181"/>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433" name="Google Shape;3433;p181"/>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434" name="Google Shape;3434;p181"/>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435" name="Google Shape;3435;p181"/>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436" name="Google Shape;3436;p181"/>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437" name="Google Shape;3437;p181"/>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438" name="Google Shape;3438;p181"/>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439" name="Google Shape;3439;p181"/>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440" name="Google Shape;3440;p181"/>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441" name="Google Shape;3441;p181"/>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442" name="Google Shape;3442;p181"/>
          <p:cNvSpPr txBox="1">
            <a:spLocks noGrp="1"/>
          </p:cNvSpPr>
          <p:nvPr>
            <p:ph type="subTitle" idx="1"/>
          </p:nvPr>
        </p:nvSpPr>
        <p:spPr>
          <a:xfrm>
            <a:off x="7632192" y="2377440"/>
            <a:ext cx="39988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443" name="Google Shape;3443;p181"/>
          <p:cNvSpPr txBox="1">
            <a:spLocks noGrp="1"/>
          </p:cNvSpPr>
          <p:nvPr>
            <p:ph type="subTitle" idx="3"/>
          </p:nvPr>
        </p:nvSpPr>
        <p:spPr>
          <a:xfrm>
            <a:off x="7632192" y="2540000"/>
            <a:ext cx="39988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444" name="Google Shape;3444;p181"/>
          <p:cNvSpPr txBox="1">
            <a:spLocks noGrp="1"/>
          </p:cNvSpPr>
          <p:nvPr>
            <p:ph type="subTitle" idx="4"/>
          </p:nvPr>
        </p:nvSpPr>
        <p:spPr>
          <a:xfrm>
            <a:off x="7632192" y="4913376"/>
            <a:ext cx="39988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445" name="Google Shape;3445;p181"/>
          <p:cNvSpPr txBox="1">
            <a:spLocks noGrp="1"/>
          </p:cNvSpPr>
          <p:nvPr>
            <p:ph type="subTitle" idx="5"/>
          </p:nvPr>
        </p:nvSpPr>
        <p:spPr>
          <a:xfrm>
            <a:off x="7632192" y="5075936"/>
            <a:ext cx="39988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0666601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3/5/2024</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7043818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matchingName="47. Three photos, three statements">
  <p:cSld name="47. Three photos, three statements">
    <p:spTree>
      <p:nvGrpSpPr>
        <p:cNvPr id="1" name="Shape 3446"/>
        <p:cNvGrpSpPr/>
        <p:nvPr/>
      </p:nvGrpSpPr>
      <p:grpSpPr>
        <a:xfrm>
          <a:off x="0" y="0"/>
          <a:ext cx="0" cy="0"/>
          <a:chOff x="0" y="0"/>
          <a:chExt cx="0" cy="0"/>
        </a:xfrm>
      </p:grpSpPr>
      <p:sp>
        <p:nvSpPr>
          <p:cNvPr id="3447" name="Google Shape;3447;p182"/>
          <p:cNvSpPr/>
          <p:nvPr/>
        </p:nvSpPr>
        <p:spPr>
          <a:xfrm>
            <a:off x="1081577" y="3683328"/>
            <a:ext cx="7280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pic>
        <p:nvPicPr>
          <p:cNvPr id="3448" name="Google Shape;3448;p182"/>
          <p:cNvPicPr preferRelativeResize="0"/>
          <p:nvPr/>
        </p:nvPicPr>
        <p:blipFill rotWithShape="1">
          <a:blip r:embed="rId2">
            <a:alphaModFix/>
          </a:blip>
          <a:srcRect/>
          <a:stretch/>
        </p:blipFill>
        <p:spPr>
          <a:xfrm>
            <a:off x="7274606" y="-1263327"/>
            <a:ext cx="5490825" cy="5490825"/>
          </a:xfrm>
          <a:prstGeom prst="rect">
            <a:avLst/>
          </a:prstGeom>
          <a:noFill/>
          <a:ln>
            <a:noFill/>
          </a:ln>
        </p:spPr>
      </p:pic>
      <p:sp>
        <p:nvSpPr>
          <p:cNvPr id="3449" name="Google Shape;3449;p182"/>
          <p:cNvSpPr>
            <a:spLocks noGrp="1"/>
          </p:cNvSpPr>
          <p:nvPr>
            <p:ph type="pic" idx="2"/>
          </p:nvPr>
        </p:nvSpPr>
        <p:spPr>
          <a:xfrm>
            <a:off x="1079824" y="890337"/>
            <a:ext cx="2972000" cy="2514400"/>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fadeDir="5400012" sy="-100000" algn="bl" rotWithShape="0"/>
          </a:effectLst>
        </p:spPr>
      </p:sp>
      <p:sp>
        <p:nvSpPr>
          <p:cNvPr id="3450" name="Google Shape;3450;p182"/>
          <p:cNvSpPr>
            <a:spLocks noGrp="1"/>
          </p:cNvSpPr>
          <p:nvPr>
            <p:ph type="pic" idx="3"/>
          </p:nvPr>
        </p:nvSpPr>
        <p:spPr>
          <a:xfrm>
            <a:off x="4610100" y="890337"/>
            <a:ext cx="2972000" cy="2514400"/>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fadeDir="5400012" sy="-100000" algn="bl" rotWithShape="0"/>
          </a:effectLst>
        </p:spPr>
      </p:sp>
      <p:sp>
        <p:nvSpPr>
          <p:cNvPr id="3451" name="Google Shape;3451;p182"/>
          <p:cNvSpPr>
            <a:spLocks noGrp="1"/>
          </p:cNvSpPr>
          <p:nvPr>
            <p:ph type="pic" idx="4"/>
          </p:nvPr>
        </p:nvSpPr>
        <p:spPr>
          <a:xfrm>
            <a:off x="8140376" y="890337"/>
            <a:ext cx="2972000" cy="2514400"/>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fadeDir="5400012" sy="-100000" algn="bl" rotWithShape="0"/>
          </a:effectLst>
        </p:spPr>
      </p:sp>
      <p:sp>
        <p:nvSpPr>
          <p:cNvPr id="3452" name="Google Shape;3452;p182"/>
          <p:cNvSpPr/>
          <p:nvPr/>
        </p:nvSpPr>
        <p:spPr>
          <a:xfrm>
            <a:off x="4608569" y="3679561"/>
            <a:ext cx="7280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453" name="Google Shape;3453;p182"/>
          <p:cNvSpPr/>
          <p:nvPr/>
        </p:nvSpPr>
        <p:spPr>
          <a:xfrm>
            <a:off x="8135568" y="3679561"/>
            <a:ext cx="7280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3454" name="Google Shape;3454;p182"/>
          <p:cNvGrpSpPr/>
          <p:nvPr/>
        </p:nvGrpSpPr>
        <p:grpSpPr>
          <a:xfrm>
            <a:off x="12253600" y="1"/>
            <a:ext cx="3438989" cy="3424452"/>
            <a:chOff x="22170399" y="777240"/>
            <a:chExt cx="6877978" cy="6848903"/>
          </a:xfrm>
        </p:grpSpPr>
        <p:grpSp>
          <p:nvGrpSpPr>
            <p:cNvPr id="3455" name="Google Shape;3455;p182"/>
            <p:cNvGrpSpPr/>
            <p:nvPr/>
          </p:nvGrpSpPr>
          <p:grpSpPr>
            <a:xfrm>
              <a:off x="22170399" y="777240"/>
              <a:ext cx="6877978" cy="6848903"/>
              <a:chOff x="22155159" y="0"/>
              <a:chExt cx="6877978" cy="6848903"/>
            </a:xfrm>
          </p:grpSpPr>
          <p:sp>
            <p:nvSpPr>
              <p:cNvPr id="3456" name="Google Shape;3456;p182"/>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457" name="Google Shape;3457;p182"/>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458" name="Google Shape;3458;p182"/>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459" name="Google Shape;3459;p182"/>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460" name="Google Shape;3460;p182"/>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461" name="Google Shape;3461;p182"/>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462" name="Google Shape;3462;p182"/>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463" name="Google Shape;3463;p182"/>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464" name="Google Shape;3464;p182"/>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465" name="Google Shape;3465;p182"/>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466" name="Google Shape;3466;p182"/>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467" name="Google Shape;3467;p182"/>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468" name="Google Shape;3468;p182"/>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469" name="Google Shape;3469;p182"/>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470" name="Google Shape;3470;p182"/>
          <p:cNvSpPr txBox="1">
            <a:spLocks noGrp="1"/>
          </p:cNvSpPr>
          <p:nvPr>
            <p:ph type="subTitle" idx="1"/>
          </p:nvPr>
        </p:nvSpPr>
        <p:spPr>
          <a:xfrm>
            <a:off x="983500" y="4482312"/>
            <a:ext cx="29748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471" name="Google Shape;3471;p182"/>
          <p:cNvSpPr txBox="1">
            <a:spLocks noGrp="1"/>
          </p:cNvSpPr>
          <p:nvPr>
            <p:ph type="subTitle" idx="5"/>
          </p:nvPr>
        </p:nvSpPr>
        <p:spPr>
          <a:xfrm>
            <a:off x="983488" y="5242560"/>
            <a:ext cx="2974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472" name="Google Shape;3472;p182"/>
          <p:cNvSpPr txBox="1">
            <a:spLocks noGrp="1"/>
          </p:cNvSpPr>
          <p:nvPr>
            <p:ph type="subTitle" idx="6"/>
          </p:nvPr>
        </p:nvSpPr>
        <p:spPr>
          <a:xfrm>
            <a:off x="4506967" y="4482212"/>
            <a:ext cx="29748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473" name="Google Shape;3473;p182"/>
          <p:cNvSpPr txBox="1">
            <a:spLocks noGrp="1"/>
          </p:cNvSpPr>
          <p:nvPr>
            <p:ph type="subTitle" idx="7"/>
          </p:nvPr>
        </p:nvSpPr>
        <p:spPr>
          <a:xfrm>
            <a:off x="4506976" y="5242560"/>
            <a:ext cx="2974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474" name="Google Shape;3474;p182"/>
          <p:cNvSpPr txBox="1">
            <a:spLocks noGrp="1"/>
          </p:cNvSpPr>
          <p:nvPr>
            <p:ph type="subTitle" idx="8"/>
          </p:nvPr>
        </p:nvSpPr>
        <p:spPr>
          <a:xfrm>
            <a:off x="8042667" y="4482212"/>
            <a:ext cx="29748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475" name="Google Shape;3475;p182"/>
          <p:cNvSpPr txBox="1">
            <a:spLocks noGrp="1"/>
          </p:cNvSpPr>
          <p:nvPr>
            <p:ph type="subTitle" idx="9"/>
          </p:nvPr>
        </p:nvSpPr>
        <p:spPr>
          <a:xfrm>
            <a:off x="8042656" y="5242560"/>
            <a:ext cx="2974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305161009"/>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matchingName="48. Three photos, three statements, title">
  <p:cSld name="48. Three photos, three statements, title">
    <p:spTree>
      <p:nvGrpSpPr>
        <p:cNvPr id="1" name="Shape 3476"/>
        <p:cNvGrpSpPr/>
        <p:nvPr/>
      </p:nvGrpSpPr>
      <p:grpSpPr>
        <a:xfrm>
          <a:off x="0" y="0"/>
          <a:ext cx="0" cy="0"/>
          <a:chOff x="0" y="0"/>
          <a:chExt cx="0" cy="0"/>
        </a:xfrm>
      </p:grpSpPr>
      <p:sp>
        <p:nvSpPr>
          <p:cNvPr id="3477" name="Google Shape;3477;p183"/>
          <p:cNvSpPr>
            <a:spLocks noGrp="1"/>
          </p:cNvSpPr>
          <p:nvPr>
            <p:ph type="pic" idx="2"/>
          </p:nvPr>
        </p:nvSpPr>
        <p:spPr>
          <a:xfrm>
            <a:off x="1079824" y="1732828"/>
            <a:ext cx="2972000" cy="2514400"/>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fadeDir="5400012" sy="-100000" algn="bl" rotWithShape="0"/>
          </a:effectLst>
        </p:spPr>
      </p:sp>
      <p:sp>
        <p:nvSpPr>
          <p:cNvPr id="3478" name="Google Shape;3478;p183"/>
          <p:cNvSpPr>
            <a:spLocks noGrp="1"/>
          </p:cNvSpPr>
          <p:nvPr>
            <p:ph type="pic" idx="3"/>
          </p:nvPr>
        </p:nvSpPr>
        <p:spPr>
          <a:xfrm>
            <a:off x="4610100" y="1732828"/>
            <a:ext cx="2972000" cy="2514400"/>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fadeDir="5400012" sy="-100000" algn="bl" rotWithShape="0"/>
          </a:effectLst>
        </p:spPr>
      </p:sp>
      <p:sp>
        <p:nvSpPr>
          <p:cNvPr id="3479" name="Google Shape;3479;p183"/>
          <p:cNvSpPr>
            <a:spLocks noGrp="1"/>
          </p:cNvSpPr>
          <p:nvPr>
            <p:ph type="pic" idx="4"/>
          </p:nvPr>
        </p:nvSpPr>
        <p:spPr>
          <a:xfrm>
            <a:off x="8140376" y="1732828"/>
            <a:ext cx="2972000" cy="2514400"/>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fadeDir="5400012" sy="-100000" algn="bl" rotWithShape="0"/>
          </a:effectLst>
        </p:spPr>
      </p:sp>
      <p:sp>
        <p:nvSpPr>
          <p:cNvPr id="3480" name="Google Shape;3480;p183"/>
          <p:cNvSpPr txBox="1">
            <a:spLocks noGrp="1"/>
          </p:cNvSpPr>
          <p:nvPr>
            <p:ph type="title"/>
          </p:nvPr>
        </p:nvSpPr>
        <p:spPr>
          <a:xfrm>
            <a:off x="1079824" y="369377"/>
            <a:ext cx="9144000" cy="1162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grpSp>
        <p:nvGrpSpPr>
          <p:cNvPr id="3481" name="Google Shape;3481;p183"/>
          <p:cNvGrpSpPr/>
          <p:nvPr/>
        </p:nvGrpSpPr>
        <p:grpSpPr>
          <a:xfrm>
            <a:off x="12253600" y="1"/>
            <a:ext cx="3438989" cy="3424452"/>
            <a:chOff x="22170399" y="777240"/>
            <a:chExt cx="6877978" cy="6848903"/>
          </a:xfrm>
        </p:grpSpPr>
        <p:grpSp>
          <p:nvGrpSpPr>
            <p:cNvPr id="3482" name="Google Shape;3482;p183"/>
            <p:cNvGrpSpPr/>
            <p:nvPr/>
          </p:nvGrpSpPr>
          <p:grpSpPr>
            <a:xfrm>
              <a:off x="22170399" y="777240"/>
              <a:ext cx="6877978" cy="6848903"/>
              <a:chOff x="22155159" y="0"/>
              <a:chExt cx="6877978" cy="6848903"/>
            </a:xfrm>
          </p:grpSpPr>
          <p:sp>
            <p:nvSpPr>
              <p:cNvPr id="3483" name="Google Shape;3483;p183"/>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484" name="Google Shape;3484;p183"/>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485" name="Google Shape;3485;p183"/>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486" name="Google Shape;3486;p183"/>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487" name="Google Shape;3487;p183"/>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488" name="Google Shape;3488;p183"/>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489" name="Google Shape;3489;p183"/>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490" name="Google Shape;3490;p183"/>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491" name="Google Shape;3491;p183"/>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492" name="Google Shape;3492;p183"/>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493" name="Google Shape;3493;p183"/>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494" name="Google Shape;3494;p183"/>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495" name="Google Shape;3495;p183"/>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496" name="Google Shape;3496;p183"/>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497" name="Google Shape;3497;p183"/>
          <p:cNvSpPr txBox="1">
            <a:spLocks noGrp="1"/>
          </p:cNvSpPr>
          <p:nvPr>
            <p:ph type="subTitle" idx="1"/>
          </p:nvPr>
        </p:nvSpPr>
        <p:spPr>
          <a:xfrm>
            <a:off x="983500" y="4482312"/>
            <a:ext cx="29748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498" name="Google Shape;3498;p183"/>
          <p:cNvSpPr txBox="1">
            <a:spLocks noGrp="1"/>
          </p:cNvSpPr>
          <p:nvPr>
            <p:ph type="subTitle" idx="5"/>
          </p:nvPr>
        </p:nvSpPr>
        <p:spPr>
          <a:xfrm>
            <a:off x="983488" y="5242560"/>
            <a:ext cx="2974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499" name="Google Shape;3499;p183"/>
          <p:cNvSpPr txBox="1">
            <a:spLocks noGrp="1"/>
          </p:cNvSpPr>
          <p:nvPr>
            <p:ph type="subTitle" idx="6"/>
          </p:nvPr>
        </p:nvSpPr>
        <p:spPr>
          <a:xfrm>
            <a:off x="4506967" y="4482212"/>
            <a:ext cx="29748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500" name="Google Shape;3500;p183"/>
          <p:cNvSpPr txBox="1">
            <a:spLocks noGrp="1"/>
          </p:cNvSpPr>
          <p:nvPr>
            <p:ph type="subTitle" idx="7"/>
          </p:nvPr>
        </p:nvSpPr>
        <p:spPr>
          <a:xfrm>
            <a:off x="4506976" y="5242560"/>
            <a:ext cx="2974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501" name="Google Shape;3501;p183"/>
          <p:cNvSpPr txBox="1">
            <a:spLocks noGrp="1"/>
          </p:cNvSpPr>
          <p:nvPr>
            <p:ph type="subTitle" idx="8"/>
          </p:nvPr>
        </p:nvSpPr>
        <p:spPr>
          <a:xfrm>
            <a:off x="8042667" y="4482212"/>
            <a:ext cx="29748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502" name="Google Shape;3502;p183"/>
          <p:cNvSpPr txBox="1">
            <a:spLocks noGrp="1"/>
          </p:cNvSpPr>
          <p:nvPr>
            <p:ph type="subTitle" idx="9"/>
          </p:nvPr>
        </p:nvSpPr>
        <p:spPr>
          <a:xfrm>
            <a:off x="8042656" y="5242560"/>
            <a:ext cx="2974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8087311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matchingName="49. Screenshot, two statements_1">
  <p:cSld name="49. Screenshot, two statements_1">
    <p:spTree>
      <p:nvGrpSpPr>
        <p:cNvPr id="1" name="Shape 3503"/>
        <p:cNvGrpSpPr/>
        <p:nvPr/>
      </p:nvGrpSpPr>
      <p:grpSpPr>
        <a:xfrm>
          <a:off x="0" y="0"/>
          <a:ext cx="0" cy="0"/>
          <a:chOff x="0" y="0"/>
          <a:chExt cx="0" cy="0"/>
        </a:xfrm>
      </p:grpSpPr>
      <p:sp>
        <p:nvSpPr>
          <p:cNvPr id="3504" name="Google Shape;3504;p184"/>
          <p:cNvSpPr>
            <a:spLocks noGrp="1"/>
          </p:cNvSpPr>
          <p:nvPr>
            <p:ph type="pic" idx="2"/>
          </p:nvPr>
        </p:nvSpPr>
        <p:spPr>
          <a:xfrm>
            <a:off x="3951647" y="1000576"/>
            <a:ext cx="9637600" cy="4968400"/>
          </a:xfrm>
          <a:prstGeom prst="roundRect">
            <a:avLst>
              <a:gd name="adj" fmla="val 0"/>
            </a:avLst>
          </a:prstGeom>
          <a:solidFill>
            <a:srgbClr val="0A0C10"/>
          </a:solidFill>
          <a:ln w="9525" cap="flat" cmpd="sng">
            <a:solidFill>
              <a:srgbClr val="21262D"/>
            </a:solidFill>
            <a:prstDash val="solid"/>
            <a:round/>
            <a:headEnd type="none" w="sm" len="sm"/>
            <a:tailEnd type="none" w="sm" len="sm"/>
          </a:ln>
          <a:effectLst>
            <a:reflection stA="20000" endPos="35000" dist="50800" dir="5400000" fadeDir="5400012" sy="-100000" algn="bl" rotWithShape="0"/>
          </a:effectLst>
        </p:spPr>
      </p:sp>
      <p:pic>
        <p:nvPicPr>
          <p:cNvPr id="3505" name="Google Shape;3505;p184"/>
          <p:cNvPicPr preferRelativeResize="0"/>
          <p:nvPr/>
        </p:nvPicPr>
        <p:blipFill rotWithShape="1">
          <a:blip r:embed="rId2">
            <a:alphaModFix/>
          </a:blip>
          <a:srcRect/>
          <a:stretch/>
        </p:blipFill>
        <p:spPr>
          <a:xfrm>
            <a:off x="3951646" y="598163"/>
            <a:ext cx="9637775" cy="402412"/>
          </a:xfrm>
          <a:prstGeom prst="rect">
            <a:avLst/>
          </a:prstGeom>
          <a:noFill/>
          <a:ln>
            <a:noFill/>
          </a:ln>
        </p:spPr>
      </p:pic>
      <p:sp>
        <p:nvSpPr>
          <p:cNvPr id="3506" name="Google Shape;3506;p184"/>
          <p:cNvSpPr/>
          <p:nvPr/>
        </p:nvSpPr>
        <p:spPr>
          <a:xfrm>
            <a:off x="483312" y="714968"/>
            <a:ext cx="2972000" cy="2514400"/>
          </a:xfrm>
          <a:prstGeom prst="roundRect">
            <a:avLst>
              <a:gd name="adj" fmla="val 4602"/>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507" name="Google Shape;3507;p184"/>
          <p:cNvSpPr/>
          <p:nvPr/>
        </p:nvSpPr>
        <p:spPr>
          <a:xfrm>
            <a:off x="483312" y="3458168"/>
            <a:ext cx="2972000" cy="2514400"/>
          </a:xfrm>
          <a:prstGeom prst="roundRect">
            <a:avLst>
              <a:gd name="adj" fmla="val 4602"/>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grpSp>
        <p:nvGrpSpPr>
          <p:cNvPr id="3508" name="Google Shape;3508;p184"/>
          <p:cNvGrpSpPr/>
          <p:nvPr/>
        </p:nvGrpSpPr>
        <p:grpSpPr>
          <a:xfrm>
            <a:off x="12253600" y="1"/>
            <a:ext cx="3438989" cy="3424452"/>
            <a:chOff x="22170399" y="777240"/>
            <a:chExt cx="6877978" cy="6848903"/>
          </a:xfrm>
        </p:grpSpPr>
        <p:grpSp>
          <p:nvGrpSpPr>
            <p:cNvPr id="3509" name="Google Shape;3509;p184"/>
            <p:cNvGrpSpPr/>
            <p:nvPr/>
          </p:nvGrpSpPr>
          <p:grpSpPr>
            <a:xfrm>
              <a:off x="22170399" y="777240"/>
              <a:ext cx="6877978" cy="6848903"/>
              <a:chOff x="22155159" y="0"/>
              <a:chExt cx="6877978" cy="6848903"/>
            </a:xfrm>
          </p:grpSpPr>
          <p:sp>
            <p:nvSpPr>
              <p:cNvPr id="3510" name="Google Shape;3510;p184"/>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511" name="Google Shape;3511;p184"/>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512" name="Google Shape;3512;p184"/>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513" name="Google Shape;3513;p184"/>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514" name="Google Shape;3514;p184"/>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515" name="Google Shape;3515;p184"/>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516" name="Google Shape;3516;p184"/>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517" name="Google Shape;3517;p184"/>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518" name="Google Shape;3518;p184"/>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519" name="Google Shape;3519;p184"/>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520" name="Google Shape;3520;p184"/>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521" name="Google Shape;3521;p184"/>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522" name="Google Shape;3522;p184"/>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523" name="Google Shape;3523;p184"/>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524" name="Google Shape;3524;p184"/>
          <p:cNvSpPr txBox="1">
            <a:spLocks noGrp="1"/>
          </p:cNvSpPr>
          <p:nvPr>
            <p:ph type="subTitle" idx="1"/>
          </p:nvPr>
        </p:nvSpPr>
        <p:spPr>
          <a:xfrm>
            <a:off x="673167" y="1293200"/>
            <a:ext cx="25536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525" name="Google Shape;3525;p184"/>
          <p:cNvSpPr txBox="1">
            <a:spLocks noGrp="1"/>
          </p:cNvSpPr>
          <p:nvPr>
            <p:ph type="subTitle" idx="3"/>
          </p:nvPr>
        </p:nvSpPr>
        <p:spPr>
          <a:xfrm>
            <a:off x="673175" y="2053540"/>
            <a:ext cx="25536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526" name="Google Shape;3526;p184"/>
          <p:cNvSpPr txBox="1">
            <a:spLocks noGrp="1"/>
          </p:cNvSpPr>
          <p:nvPr>
            <p:ph type="subTitle" idx="4"/>
          </p:nvPr>
        </p:nvSpPr>
        <p:spPr>
          <a:xfrm>
            <a:off x="692500" y="4036500"/>
            <a:ext cx="25536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527" name="Google Shape;3527;p184"/>
          <p:cNvSpPr txBox="1">
            <a:spLocks noGrp="1"/>
          </p:cNvSpPr>
          <p:nvPr>
            <p:ph type="subTitle" idx="5"/>
          </p:nvPr>
        </p:nvSpPr>
        <p:spPr>
          <a:xfrm>
            <a:off x="692508" y="4796840"/>
            <a:ext cx="25536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09932948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matchingName="50. Screenshot, two statements_2">
  <p:cSld name="50. Screenshot, two statements_2">
    <p:spTree>
      <p:nvGrpSpPr>
        <p:cNvPr id="1" name="Shape 3528"/>
        <p:cNvGrpSpPr/>
        <p:nvPr/>
      </p:nvGrpSpPr>
      <p:grpSpPr>
        <a:xfrm>
          <a:off x="0" y="0"/>
          <a:ext cx="0" cy="0"/>
          <a:chOff x="0" y="0"/>
          <a:chExt cx="0" cy="0"/>
        </a:xfrm>
      </p:grpSpPr>
      <p:sp>
        <p:nvSpPr>
          <p:cNvPr id="3529" name="Google Shape;3529;p185"/>
          <p:cNvSpPr/>
          <p:nvPr/>
        </p:nvSpPr>
        <p:spPr>
          <a:xfrm>
            <a:off x="8816580" y="782203"/>
            <a:ext cx="2972000" cy="2514400"/>
          </a:xfrm>
          <a:prstGeom prst="roundRect">
            <a:avLst>
              <a:gd name="adj" fmla="val 4602"/>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530" name="Google Shape;3530;p185"/>
          <p:cNvSpPr/>
          <p:nvPr/>
        </p:nvSpPr>
        <p:spPr>
          <a:xfrm>
            <a:off x="8816580" y="3525403"/>
            <a:ext cx="2972000" cy="2514400"/>
          </a:xfrm>
          <a:prstGeom prst="roundRect">
            <a:avLst>
              <a:gd name="adj" fmla="val 4602"/>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531" name="Google Shape;3531;p185"/>
          <p:cNvSpPr/>
          <p:nvPr/>
        </p:nvSpPr>
        <p:spPr>
          <a:xfrm>
            <a:off x="-1123845" y="1086456"/>
            <a:ext cx="9637600" cy="4968400"/>
          </a:xfrm>
          <a:prstGeom prst="roundRect">
            <a:avLst>
              <a:gd name="adj" fmla="val 1839"/>
            </a:avLst>
          </a:prstGeom>
          <a:solidFill>
            <a:srgbClr val="07060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532" name="Google Shape;3532;p185"/>
          <p:cNvSpPr>
            <a:spLocks noGrp="1"/>
          </p:cNvSpPr>
          <p:nvPr>
            <p:ph type="pic" idx="2"/>
          </p:nvPr>
        </p:nvSpPr>
        <p:spPr>
          <a:xfrm>
            <a:off x="-1123845" y="1218732"/>
            <a:ext cx="9637600" cy="4850400"/>
          </a:xfrm>
          <a:prstGeom prst="roundRect">
            <a:avLst>
              <a:gd name="adj" fmla="val 0"/>
            </a:avLst>
          </a:prstGeom>
          <a:solidFill>
            <a:srgbClr val="090C0F"/>
          </a:solidFill>
          <a:ln w="9525" cap="flat" cmpd="sng">
            <a:solidFill>
              <a:srgbClr val="21262D"/>
            </a:solidFill>
            <a:prstDash val="solid"/>
            <a:round/>
            <a:headEnd type="none" w="sm" len="sm"/>
            <a:tailEnd type="none" w="sm" len="sm"/>
          </a:ln>
          <a:effectLst>
            <a:reflection stA="20000" endPos="35000" dist="50800" dir="5400000" fadeDir="5400012" sy="-100000" algn="bl" rotWithShape="0"/>
          </a:effectLst>
        </p:spPr>
      </p:sp>
      <p:pic>
        <p:nvPicPr>
          <p:cNvPr id="3533" name="Google Shape;3533;p185"/>
          <p:cNvPicPr preferRelativeResize="0"/>
          <p:nvPr/>
        </p:nvPicPr>
        <p:blipFill rotWithShape="1">
          <a:blip r:embed="rId2">
            <a:alphaModFix/>
          </a:blip>
          <a:srcRect/>
          <a:stretch/>
        </p:blipFill>
        <p:spPr>
          <a:xfrm>
            <a:off x="-1123845" y="802033"/>
            <a:ext cx="9637775" cy="402412"/>
          </a:xfrm>
          <a:prstGeom prst="rect">
            <a:avLst/>
          </a:prstGeom>
          <a:noFill/>
          <a:ln>
            <a:noFill/>
          </a:ln>
        </p:spPr>
      </p:pic>
      <p:grpSp>
        <p:nvGrpSpPr>
          <p:cNvPr id="3534" name="Google Shape;3534;p185"/>
          <p:cNvGrpSpPr/>
          <p:nvPr/>
        </p:nvGrpSpPr>
        <p:grpSpPr>
          <a:xfrm>
            <a:off x="12253600" y="1"/>
            <a:ext cx="3438989" cy="3424452"/>
            <a:chOff x="22170399" y="777240"/>
            <a:chExt cx="6877978" cy="6848903"/>
          </a:xfrm>
        </p:grpSpPr>
        <p:grpSp>
          <p:nvGrpSpPr>
            <p:cNvPr id="3535" name="Google Shape;3535;p185"/>
            <p:cNvGrpSpPr/>
            <p:nvPr/>
          </p:nvGrpSpPr>
          <p:grpSpPr>
            <a:xfrm>
              <a:off x="22170399" y="777240"/>
              <a:ext cx="6877978" cy="6848903"/>
              <a:chOff x="22155159" y="0"/>
              <a:chExt cx="6877978" cy="6848903"/>
            </a:xfrm>
          </p:grpSpPr>
          <p:sp>
            <p:nvSpPr>
              <p:cNvPr id="3536" name="Google Shape;3536;p185"/>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537" name="Google Shape;3537;p185"/>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538" name="Google Shape;3538;p185"/>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539" name="Google Shape;3539;p185"/>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540" name="Google Shape;3540;p185"/>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541" name="Google Shape;3541;p185"/>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542" name="Google Shape;3542;p185"/>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543" name="Google Shape;3543;p185"/>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544" name="Google Shape;3544;p185"/>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545" name="Google Shape;3545;p185"/>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546" name="Google Shape;3546;p185"/>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547" name="Google Shape;3547;p185"/>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548" name="Google Shape;3548;p185"/>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549" name="Google Shape;3549;p185"/>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550" name="Google Shape;3550;p185"/>
          <p:cNvSpPr txBox="1">
            <a:spLocks noGrp="1"/>
          </p:cNvSpPr>
          <p:nvPr>
            <p:ph type="subTitle" idx="1"/>
          </p:nvPr>
        </p:nvSpPr>
        <p:spPr>
          <a:xfrm>
            <a:off x="9016000" y="1378384"/>
            <a:ext cx="25536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551" name="Google Shape;3551;p185"/>
          <p:cNvSpPr txBox="1">
            <a:spLocks noGrp="1"/>
          </p:cNvSpPr>
          <p:nvPr>
            <p:ph type="subTitle" idx="3"/>
          </p:nvPr>
        </p:nvSpPr>
        <p:spPr>
          <a:xfrm>
            <a:off x="9016008" y="2138723"/>
            <a:ext cx="25536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552" name="Google Shape;3552;p185"/>
          <p:cNvSpPr txBox="1">
            <a:spLocks noGrp="1"/>
          </p:cNvSpPr>
          <p:nvPr>
            <p:ph type="subTitle" idx="4"/>
          </p:nvPr>
        </p:nvSpPr>
        <p:spPr>
          <a:xfrm>
            <a:off x="9035333" y="4121684"/>
            <a:ext cx="25536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553" name="Google Shape;3553;p185"/>
          <p:cNvSpPr txBox="1">
            <a:spLocks noGrp="1"/>
          </p:cNvSpPr>
          <p:nvPr>
            <p:ph type="subTitle" idx="5"/>
          </p:nvPr>
        </p:nvSpPr>
        <p:spPr>
          <a:xfrm>
            <a:off x="9035341" y="4882023"/>
            <a:ext cx="25536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35610291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matchingName="51. Screenshot_one statement_with icon">
  <p:cSld name="51. Screenshot_one statement_with icon">
    <p:spTree>
      <p:nvGrpSpPr>
        <p:cNvPr id="1" name="Shape 3554"/>
        <p:cNvGrpSpPr/>
        <p:nvPr/>
      </p:nvGrpSpPr>
      <p:grpSpPr>
        <a:xfrm>
          <a:off x="0" y="0"/>
          <a:ext cx="0" cy="0"/>
          <a:chOff x="0" y="0"/>
          <a:chExt cx="0" cy="0"/>
        </a:xfrm>
      </p:grpSpPr>
      <p:sp>
        <p:nvSpPr>
          <p:cNvPr id="3555" name="Google Shape;3555;p186"/>
          <p:cNvSpPr/>
          <p:nvPr/>
        </p:nvSpPr>
        <p:spPr>
          <a:xfrm>
            <a:off x="1090359" y="2180436"/>
            <a:ext cx="731600" cy="7316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pic>
        <p:nvPicPr>
          <p:cNvPr id="3556" name="Google Shape;3556;p186"/>
          <p:cNvPicPr preferRelativeResize="0"/>
          <p:nvPr/>
        </p:nvPicPr>
        <p:blipFill rotWithShape="1">
          <a:blip r:embed="rId2">
            <a:alphaModFix/>
          </a:blip>
          <a:srcRect/>
          <a:stretch/>
        </p:blipFill>
        <p:spPr>
          <a:xfrm>
            <a:off x="2797735" y="-1337993"/>
            <a:ext cx="6858000" cy="6858000"/>
          </a:xfrm>
          <a:prstGeom prst="rect">
            <a:avLst/>
          </a:prstGeom>
          <a:noFill/>
          <a:ln>
            <a:noFill/>
          </a:ln>
        </p:spPr>
      </p:pic>
      <p:sp>
        <p:nvSpPr>
          <p:cNvPr id="3557" name="Google Shape;3557;p186"/>
          <p:cNvSpPr/>
          <p:nvPr/>
        </p:nvSpPr>
        <p:spPr>
          <a:xfrm>
            <a:off x="5628045" y="570453"/>
            <a:ext cx="9637600" cy="5370800"/>
          </a:xfrm>
          <a:prstGeom prst="roundRect">
            <a:avLst>
              <a:gd name="adj" fmla="val 1839"/>
            </a:avLst>
          </a:prstGeom>
          <a:solidFill>
            <a:srgbClr val="07060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558" name="Google Shape;3558;p186"/>
          <p:cNvSpPr>
            <a:spLocks noGrp="1"/>
          </p:cNvSpPr>
          <p:nvPr>
            <p:ph type="pic" idx="2"/>
          </p:nvPr>
        </p:nvSpPr>
        <p:spPr>
          <a:xfrm>
            <a:off x="5628045" y="972867"/>
            <a:ext cx="9637600" cy="4968400"/>
          </a:xfrm>
          <a:prstGeom prst="roundRect">
            <a:avLst>
              <a:gd name="adj" fmla="val 0"/>
            </a:avLst>
          </a:prstGeom>
          <a:solidFill>
            <a:srgbClr val="090C0F"/>
          </a:solidFill>
          <a:ln w="9525" cap="flat" cmpd="sng">
            <a:solidFill>
              <a:srgbClr val="21262D"/>
            </a:solidFill>
            <a:prstDash val="solid"/>
            <a:round/>
            <a:headEnd type="none" w="sm" len="sm"/>
            <a:tailEnd type="none" w="sm" len="sm"/>
          </a:ln>
          <a:effectLst>
            <a:reflection stA="20000" endPos="35000" dist="50800" dir="5400000" fadeDir="5400012" sy="-100000" algn="bl" rotWithShape="0"/>
          </a:effectLst>
        </p:spPr>
      </p:sp>
      <p:pic>
        <p:nvPicPr>
          <p:cNvPr id="3559" name="Google Shape;3559;p186"/>
          <p:cNvPicPr preferRelativeResize="0"/>
          <p:nvPr/>
        </p:nvPicPr>
        <p:blipFill rotWithShape="1">
          <a:blip r:embed="rId3">
            <a:alphaModFix/>
          </a:blip>
          <a:srcRect/>
          <a:stretch/>
        </p:blipFill>
        <p:spPr>
          <a:xfrm>
            <a:off x="5628046" y="570455"/>
            <a:ext cx="9637775" cy="402412"/>
          </a:xfrm>
          <a:prstGeom prst="rect">
            <a:avLst/>
          </a:prstGeom>
          <a:noFill/>
          <a:ln>
            <a:noFill/>
          </a:ln>
        </p:spPr>
      </p:pic>
      <p:grpSp>
        <p:nvGrpSpPr>
          <p:cNvPr id="3560" name="Google Shape;3560;p186"/>
          <p:cNvGrpSpPr/>
          <p:nvPr/>
        </p:nvGrpSpPr>
        <p:grpSpPr>
          <a:xfrm>
            <a:off x="12253600" y="1"/>
            <a:ext cx="3438989" cy="3424452"/>
            <a:chOff x="22170399" y="777240"/>
            <a:chExt cx="6877978" cy="6848903"/>
          </a:xfrm>
        </p:grpSpPr>
        <p:grpSp>
          <p:nvGrpSpPr>
            <p:cNvPr id="3561" name="Google Shape;3561;p186"/>
            <p:cNvGrpSpPr/>
            <p:nvPr/>
          </p:nvGrpSpPr>
          <p:grpSpPr>
            <a:xfrm>
              <a:off x="22170399" y="777240"/>
              <a:ext cx="6877978" cy="6848903"/>
              <a:chOff x="22155159" y="0"/>
              <a:chExt cx="6877978" cy="6848903"/>
            </a:xfrm>
          </p:grpSpPr>
          <p:sp>
            <p:nvSpPr>
              <p:cNvPr id="3562" name="Google Shape;3562;p186"/>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563" name="Google Shape;3563;p186"/>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564" name="Google Shape;3564;p186"/>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565" name="Google Shape;3565;p186"/>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566" name="Google Shape;3566;p186"/>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567" name="Google Shape;3567;p186"/>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568" name="Google Shape;3568;p186"/>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569" name="Google Shape;3569;p186"/>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570" name="Google Shape;3570;p186"/>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571" name="Google Shape;3571;p186"/>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572" name="Google Shape;3572;p186"/>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573" name="Google Shape;3573;p186"/>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574" name="Google Shape;3574;p186"/>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575" name="Google Shape;3575;p186"/>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576" name="Google Shape;3576;p186"/>
          <p:cNvSpPr txBox="1">
            <a:spLocks noGrp="1"/>
          </p:cNvSpPr>
          <p:nvPr>
            <p:ph type="subTitle" idx="1"/>
          </p:nvPr>
        </p:nvSpPr>
        <p:spPr>
          <a:xfrm>
            <a:off x="977967" y="3223600"/>
            <a:ext cx="34988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577" name="Google Shape;3577;p186"/>
          <p:cNvSpPr txBox="1">
            <a:spLocks noGrp="1"/>
          </p:cNvSpPr>
          <p:nvPr>
            <p:ph type="subTitle" idx="3"/>
          </p:nvPr>
        </p:nvSpPr>
        <p:spPr>
          <a:xfrm>
            <a:off x="977964" y="3983933"/>
            <a:ext cx="3498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317222954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matchingName="52. Screenshot_one statement_with icon">
  <p:cSld name="52. Screenshot_one statement_with icon">
    <p:spTree>
      <p:nvGrpSpPr>
        <p:cNvPr id="1" name="Shape 3578"/>
        <p:cNvGrpSpPr/>
        <p:nvPr/>
      </p:nvGrpSpPr>
      <p:grpSpPr>
        <a:xfrm>
          <a:off x="0" y="0"/>
          <a:ext cx="0" cy="0"/>
          <a:chOff x="0" y="0"/>
          <a:chExt cx="0" cy="0"/>
        </a:xfrm>
      </p:grpSpPr>
      <p:pic>
        <p:nvPicPr>
          <p:cNvPr id="3579" name="Google Shape;3579;p187"/>
          <p:cNvPicPr preferRelativeResize="0"/>
          <p:nvPr/>
        </p:nvPicPr>
        <p:blipFill rotWithShape="1">
          <a:blip r:embed="rId2">
            <a:alphaModFix/>
          </a:blip>
          <a:srcRect/>
          <a:stretch/>
        </p:blipFill>
        <p:spPr>
          <a:xfrm>
            <a:off x="3113315" y="-1687285"/>
            <a:ext cx="6858000" cy="6858000"/>
          </a:xfrm>
          <a:prstGeom prst="rect">
            <a:avLst/>
          </a:prstGeom>
          <a:noFill/>
          <a:ln>
            <a:noFill/>
          </a:ln>
        </p:spPr>
      </p:pic>
      <p:sp>
        <p:nvSpPr>
          <p:cNvPr id="3580" name="Google Shape;3580;p187"/>
          <p:cNvSpPr/>
          <p:nvPr/>
        </p:nvSpPr>
        <p:spPr>
          <a:xfrm>
            <a:off x="-2597045" y="1086456"/>
            <a:ext cx="9637600" cy="4968400"/>
          </a:xfrm>
          <a:prstGeom prst="roundRect">
            <a:avLst>
              <a:gd name="adj" fmla="val 1839"/>
            </a:avLst>
          </a:prstGeom>
          <a:solidFill>
            <a:srgbClr val="07060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581" name="Google Shape;3581;p187"/>
          <p:cNvSpPr>
            <a:spLocks noGrp="1"/>
          </p:cNvSpPr>
          <p:nvPr>
            <p:ph type="pic" idx="2"/>
          </p:nvPr>
        </p:nvSpPr>
        <p:spPr>
          <a:xfrm>
            <a:off x="-2597045" y="1218732"/>
            <a:ext cx="9637600" cy="4850400"/>
          </a:xfrm>
          <a:prstGeom prst="roundRect">
            <a:avLst>
              <a:gd name="adj" fmla="val 0"/>
            </a:avLst>
          </a:prstGeom>
          <a:solidFill>
            <a:srgbClr val="090C0F"/>
          </a:solidFill>
          <a:ln w="9525" cap="flat" cmpd="sng">
            <a:solidFill>
              <a:srgbClr val="21262D"/>
            </a:solidFill>
            <a:prstDash val="solid"/>
            <a:round/>
            <a:headEnd type="none" w="sm" len="sm"/>
            <a:tailEnd type="none" w="sm" len="sm"/>
          </a:ln>
          <a:effectLst>
            <a:reflection stA="20000" endPos="35000" dist="50800" dir="5400000" fadeDir="5400012" sy="-100000" algn="bl" rotWithShape="0"/>
          </a:effectLst>
        </p:spPr>
      </p:sp>
      <p:pic>
        <p:nvPicPr>
          <p:cNvPr id="3582" name="Google Shape;3582;p187"/>
          <p:cNvPicPr preferRelativeResize="0"/>
          <p:nvPr/>
        </p:nvPicPr>
        <p:blipFill rotWithShape="1">
          <a:blip r:embed="rId3">
            <a:alphaModFix/>
          </a:blip>
          <a:srcRect/>
          <a:stretch/>
        </p:blipFill>
        <p:spPr>
          <a:xfrm>
            <a:off x="-2597045" y="802033"/>
            <a:ext cx="9637775" cy="402412"/>
          </a:xfrm>
          <a:prstGeom prst="rect">
            <a:avLst/>
          </a:prstGeom>
          <a:noFill/>
          <a:ln>
            <a:noFill/>
          </a:ln>
        </p:spPr>
      </p:pic>
      <p:grpSp>
        <p:nvGrpSpPr>
          <p:cNvPr id="3583" name="Google Shape;3583;p187"/>
          <p:cNvGrpSpPr/>
          <p:nvPr/>
        </p:nvGrpSpPr>
        <p:grpSpPr>
          <a:xfrm>
            <a:off x="12253600" y="1"/>
            <a:ext cx="3438989" cy="3424452"/>
            <a:chOff x="22170399" y="777240"/>
            <a:chExt cx="6877978" cy="6848903"/>
          </a:xfrm>
        </p:grpSpPr>
        <p:grpSp>
          <p:nvGrpSpPr>
            <p:cNvPr id="3584" name="Google Shape;3584;p187"/>
            <p:cNvGrpSpPr/>
            <p:nvPr/>
          </p:nvGrpSpPr>
          <p:grpSpPr>
            <a:xfrm>
              <a:off x="22170399" y="777240"/>
              <a:ext cx="6877978" cy="6848903"/>
              <a:chOff x="22155159" y="0"/>
              <a:chExt cx="6877978" cy="6848903"/>
            </a:xfrm>
          </p:grpSpPr>
          <p:sp>
            <p:nvSpPr>
              <p:cNvPr id="3585" name="Google Shape;3585;p187"/>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586" name="Google Shape;3586;p187"/>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587" name="Google Shape;3587;p187"/>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588" name="Google Shape;3588;p187"/>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589" name="Google Shape;3589;p187"/>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590" name="Google Shape;3590;p187"/>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591" name="Google Shape;3591;p187"/>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592" name="Google Shape;3592;p187"/>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593" name="Google Shape;3593;p187"/>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594" name="Google Shape;3594;p187"/>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595" name="Google Shape;3595;p187"/>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596" name="Google Shape;3596;p187"/>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597" name="Google Shape;3597;p187"/>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598" name="Google Shape;3598;p187"/>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599" name="Google Shape;3599;p187"/>
          <p:cNvSpPr/>
          <p:nvPr/>
        </p:nvSpPr>
        <p:spPr>
          <a:xfrm>
            <a:off x="7999159" y="2180436"/>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3600" name="Google Shape;3600;p187"/>
          <p:cNvSpPr txBox="1">
            <a:spLocks noGrp="1"/>
          </p:cNvSpPr>
          <p:nvPr>
            <p:ph type="subTitle" idx="1"/>
          </p:nvPr>
        </p:nvSpPr>
        <p:spPr>
          <a:xfrm>
            <a:off x="7886767" y="3223600"/>
            <a:ext cx="3498800" cy="83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601" name="Google Shape;3601;p187"/>
          <p:cNvSpPr txBox="1">
            <a:spLocks noGrp="1"/>
          </p:cNvSpPr>
          <p:nvPr>
            <p:ph type="subTitle" idx="3"/>
          </p:nvPr>
        </p:nvSpPr>
        <p:spPr>
          <a:xfrm>
            <a:off x="7886764" y="3983933"/>
            <a:ext cx="3498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847253053"/>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matchingName="53. Screenshot_one statement with title">
  <p:cSld name="53. Screenshot_one statement with title">
    <p:spTree>
      <p:nvGrpSpPr>
        <p:cNvPr id="1" name="Shape 3602"/>
        <p:cNvGrpSpPr/>
        <p:nvPr/>
      </p:nvGrpSpPr>
      <p:grpSpPr>
        <a:xfrm>
          <a:off x="0" y="0"/>
          <a:ext cx="0" cy="0"/>
          <a:chOff x="0" y="0"/>
          <a:chExt cx="0" cy="0"/>
        </a:xfrm>
      </p:grpSpPr>
      <p:pic>
        <p:nvPicPr>
          <p:cNvPr id="3603" name="Google Shape;3603;p188"/>
          <p:cNvPicPr preferRelativeResize="0"/>
          <p:nvPr/>
        </p:nvPicPr>
        <p:blipFill rotWithShape="1">
          <a:blip r:embed="rId2">
            <a:alphaModFix/>
          </a:blip>
          <a:srcRect/>
          <a:stretch/>
        </p:blipFill>
        <p:spPr>
          <a:xfrm>
            <a:off x="2797735" y="-1337993"/>
            <a:ext cx="6858000" cy="6858000"/>
          </a:xfrm>
          <a:prstGeom prst="rect">
            <a:avLst/>
          </a:prstGeom>
          <a:noFill/>
          <a:ln>
            <a:noFill/>
          </a:ln>
        </p:spPr>
      </p:pic>
      <p:sp>
        <p:nvSpPr>
          <p:cNvPr id="3604" name="Google Shape;3604;p188"/>
          <p:cNvSpPr/>
          <p:nvPr/>
        </p:nvSpPr>
        <p:spPr>
          <a:xfrm>
            <a:off x="5628045" y="570453"/>
            <a:ext cx="9637600" cy="5370800"/>
          </a:xfrm>
          <a:prstGeom prst="roundRect">
            <a:avLst>
              <a:gd name="adj" fmla="val 1839"/>
            </a:avLst>
          </a:prstGeom>
          <a:solidFill>
            <a:srgbClr val="07060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605" name="Google Shape;3605;p188"/>
          <p:cNvSpPr>
            <a:spLocks noGrp="1"/>
          </p:cNvSpPr>
          <p:nvPr>
            <p:ph type="pic" idx="2"/>
          </p:nvPr>
        </p:nvSpPr>
        <p:spPr>
          <a:xfrm>
            <a:off x="5628045" y="972867"/>
            <a:ext cx="9637600" cy="4968400"/>
          </a:xfrm>
          <a:prstGeom prst="roundRect">
            <a:avLst>
              <a:gd name="adj" fmla="val 0"/>
            </a:avLst>
          </a:prstGeom>
          <a:solidFill>
            <a:srgbClr val="090C0F"/>
          </a:solidFill>
          <a:ln w="9525" cap="flat" cmpd="sng">
            <a:solidFill>
              <a:srgbClr val="21262D"/>
            </a:solidFill>
            <a:prstDash val="solid"/>
            <a:round/>
            <a:headEnd type="none" w="sm" len="sm"/>
            <a:tailEnd type="none" w="sm" len="sm"/>
          </a:ln>
          <a:effectLst>
            <a:reflection stA="20000" endPos="35000" dist="50800" dir="5400000" fadeDir="5400012" sy="-100000" algn="bl" rotWithShape="0"/>
          </a:effectLst>
        </p:spPr>
      </p:sp>
      <p:pic>
        <p:nvPicPr>
          <p:cNvPr id="3606" name="Google Shape;3606;p188"/>
          <p:cNvPicPr preferRelativeResize="0"/>
          <p:nvPr/>
        </p:nvPicPr>
        <p:blipFill rotWithShape="1">
          <a:blip r:embed="rId3">
            <a:alphaModFix/>
          </a:blip>
          <a:srcRect/>
          <a:stretch/>
        </p:blipFill>
        <p:spPr>
          <a:xfrm>
            <a:off x="5628046" y="570455"/>
            <a:ext cx="9637775" cy="402412"/>
          </a:xfrm>
          <a:prstGeom prst="rect">
            <a:avLst/>
          </a:prstGeom>
          <a:noFill/>
          <a:ln>
            <a:noFill/>
          </a:ln>
        </p:spPr>
      </p:pic>
      <p:grpSp>
        <p:nvGrpSpPr>
          <p:cNvPr id="3607" name="Google Shape;3607;p188"/>
          <p:cNvGrpSpPr/>
          <p:nvPr/>
        </p:nvGrpSpPr>
        <p:grpSpPr>
          <a:xfrm>
            <a:off x="12253600" y="1"/>
            <a:ext cx="3438989" cy="3424452"/>
            <a:chOff x="22170399" y="777240"/>
            <a:chExt cx="6877978" cy="6848903"/>
          </a:xfrm>
        </p:grpSpPr>
        <p:grpSp>
          <p:nvGrpSpPr>
            <p:cNvPr id="3608" name="Google Shape;3608;p188"/>
            <p:cNvGrpSpPr/>
            <p:nvPr/>
          </p:nvGrpSpPr>
          <p:grpSpPr>
            <a:xfrm>
              <a:off x="22170399" y="777240"/>
              <a:ext cx="6877978" cy="6848903"/>
              <a:chOff x="22155159" y="0"/>
              <a:chExt cx="6877978" cy="6848903"/>
            </a:xfrm>
          </p:grpSpPr>
          <p:sp>
            <p:nvSpPr>
              <p:cNvPr id="3609" name="Google Shape;3609;p188"/>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610" name="Google Shape;3610;p188"/>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611" name="Google Shape;3611;p188"/>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612" name="Google Shape;3612;p188"/>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613" name="Google Shape;3613;p188"/>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614" name="Google Shape;3614;p188"/>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615" name="Google Shape;3615;p188"/>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616" name="Google Shape;3616;p188"/>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617" name="Google Shape;3617;p188"/>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618" name="Google Shape;3618;p188"/>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619" name="Google Shape;3619;p188"/>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620" name="Google Shape;3620;p188"/>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621" name="Google Shape;3621;p188"/>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622" name="Google Shape;3622;p188"/>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623" name="Google Shape;3623;p188"/>
          <p:cNvSpPr txBox="1">
            <a:spLocks noGrp="1"/>
          </p:cNvSpPr>
          <p:nvPr>
            <p:ph type="subTitle" idx="1"/>
          </p:nvPr>
        </p:nvSpPr>
        <p:spPr>
          <a:xfrm>
            <a:off x="520201" y="3190233"/>
            <a:ext cx="4511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624" name="Google Shape;3624;p188"/>
          <p:cNvSpPr txBox="1">
            <a:spLocks noGrp="1"/>
          </p:cNvSpPr>
          <p:nvPr>
            <p:ph type="subTitle" idx="3"/>
          </p:nvPr>
        </p:nvSpPr>
        <p:spPr>
          <a:xfrm>
            <a:off x="520201" y="3352795"/>
            <a:ext cx="45112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625" name="Google Shape;3625;p188"/>
          <p:cNvSpPr txBox="1">
            <a:spLocks noGrp="1"/>
          </p:cNvSpPr>
          <p:nvPr>
            <p:ph type="title"/>
          </p:nvPr>
        </p:nvSpPr>
        <p:spPr>
          <a:xfrm>
            <a:off x="538439" y="1507833"/>
            <a:ext cx="4597200" cy="1162000"/>
          </a:xfrm>
          <a:prstGeom prst="rect">
            <a:avLst/>
          </a:prstGeom>
          <a:noFill/>
          <a:ln>
            <a:noFill/>
          </a:ln>
        </p:spPr>
        <p:txBody>
          <a:bodyPr spcFirstLastPara="1" wrap="square" lIns="34275" tIns="17150" rIns="34275" bIns="17150" anchor="b"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9pPr>
          </a:lstStyle>
          <a:p>
            <a:endParaRPr/>
          </a:p>
        </p:txBody>
      </p:sp>
    </p:spTree>
    <p:extLst>
      <p:ext uri="{BB962C8B-B14F-4D97-AF65-F5344CB8AC3E}">
        <p14:creationId xmlns:p14="http://schemas.microsoft.com/office/powerpoint/2010/main" val="381314506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matchingName="54. Screenshot_one statement_with title">
  <p:cSld name="54. Screenshot_one statement_with title">
    <p:spTree>
      <p:nvGrpSpPr>
        <p:cNvPr id="1" name="Shape 3626"/>
        <p:cNvGrpSpPr/>
        <p:nvPr/>
      </p:nvGrpSpPr>
      <p:grpSpPr>
        <a:xfrm>
          <a:off x="0" y="0"/>
          <a:ext cx="0" cy="0"/>
          <a:chOff x="0" y="0"/>
          <a:chExt cx="0" cy="0"/>
        </a:xfrm>
      </p:grpSpPr>
      <p:pic>
        <p:nvPicPr>
          <p:cNvPr id="3627" name="Google Shape;3627;p189"/>
          <p:cNvPicPr preferRelativeResize="0"/>
          <p:nvPr/>
        </p:nvPicPr>
        <p:blipFill rotWithShape="1">
          <a:blip r:embed="rId2">
            <a:alphaModFix/>
          </a:blip>
          <a:srcRect/>
          <a:stretch/>
        </p:blipFill>
        <p:spPr>
          <a:xfrm>
            <a:off x="3113315" y="-1687285"/>
            <a:ext cx="6858000" cy="6858000"/>
          </a:xfrm>
          <a:prstGeom prst="rect">
            <a:avLst/>
          </a:prstGeom>
          <a:noFill/>
          <a:ln>
            <a:noFill/>
          </a:ln>
        </p:spPr>
      </p:pic>
      <p:sp>
        <p:nvSpPr>
          <p:cNvPr id="3628" name="Google Shape;3628;p189"/>
          <p:cNvSpPr/>
          <p:nvPr/>
        </p:nvSpPr>
        <p:spPr>
          <a:xfrm>
            <a:off x="-2901845" y="1086456"/>
            <a:ext cx="9637600" cy="4968400"/>
          </a:xfrm>
          <a:prstGeom prst="roundRect">
            <a:avLst>
              <a:gd name="adj" fmla="val 1839"/>
            </a:avLst>
          </a:prstGeom>
          <a:solidFill>
            <a:srgbClr val="07060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629" name="Google Shape;3629;p189"/>
          <p:cNvSpPr>
            <a:spLocks noGrp="1"/>
          </p:cNvSpPr>
          <p:nvPr>
            <p:ph type="pic" idx="2"/>
          </p:nvPr>
        </p:nvSpPr>
        <p:spPr>
          <a:xfrm>
            <a:off x="-2901845" y="1218732"/>
            <a:ext cx="9637600" cy="4850400"/>
          </a:xfrm>
          <a:prstGeom prst="roundRect">
            <a:avLst>
              <a:gd name="adj" fmla="val 0"/>
            </a:avLst>
          </a:prstGeom>
          <a:solidFill>
            <a:srgbClr val="090C0F"/>
          </a:solidFill>
          <a:ln w="9525" cap="flat" cmpd="sng">
            <a:solidFill>
              <a:srgbClr val="21262D"/>
            </a:solidFill>
            <a:prstDash val="solid"/>
            <a:round/>
            <a:headEnd type="none" w="sm" len="sm"/>
            <a:tailEnd type="none" w="sm" len="sm"/>
          </a:ln>
          <a:effectLst>
            <a:reflection stA="20000" endPos="35000" dist="50800" dir="5400000" fadeDir="5400012" sy="-100000" algn="bl" rotWithShape="0"/>
          </a:effectLst>
        </p:spPr>
      </p:sp>
      <p:pic>
        <p:nvPicPr>
          <p:cNvPr id="3630" name="Google Shape;3630;p189"/>
          <p:cNvPicPr preferRelativeResize="0"/>
          <p:nvPr/>
        </p:nvPicPr>
        <p:blipFill rotWithShape="1">
          <a:blip r:embed="rId3">
            <a:alphaModFix/>
          </a:blip>
          <a:srcRect/>
          <a:stretch/>
        </p:blipFill>
        <p:spPr>
          <a:xfrm>
            <a:off x="-2901845" y="802033"/>
            <a:ext cx="9637775" cy="402412"/>
          </a:xfrm>
          <a:prstGeom prst="rect">
            <a:avLst/>
          </a:prstGeom>
          <a:noFill/>
          <a:ln>
            <a:noFill/>
          </a:ln>
        </p:spPr>
      </p:pic>
      <p:grpSp>
        <p:nvGrpSpPr>
          <p:cNvPr id="3631" name="Google Shape;3631;p189"/>
          <p:cNvGrpSpPr/>
          <p:nvPr/>
        </p:nvGrpSpPr>
        <p:grpSpPr>
          <a:xfrm>
            <a:off x="12253600" y="1"/>
            <a:ext cx="3438989" cy="3424452"/>
            <a:chOff x="22170399" y="777240"/>
            <a:chExt cx="6877978" cy="6848903"/>
          </a:xfrm>
        </p:grpSpPr>
        <p:grpSp>
          <p:nvGrpSpPr>
            <p:cNvPr id="3632" name="Google Shape;3632;p189"/>
            <p:cNvGrpSpPr/>
            <p:nvPr/>
          </p:nvGrpSpPr>
          <p:grpSpPr>
            <a:xfrm>
              <a:off x="22170399" y="777240"/>
              <a:ext cx="6877978" cy="6848903"/>
              <a:chOff x="22155159" y="0"/>
              <a:chExt cx="6877978" cy="6848903"/>
            </a:xfrm>
          </p:grpSpPr>
          <p:sp>
            <p:nvSpPr>
              <p:cNvPr id="3633" name="Google Shape;3633;p189"/>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634" name="Google Shape;3634;p189"/>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635" name="Google Shape;3635;p189"/>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636" name="Google Shape;3636;p189"/>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637" name="Google Shape;3637;p189"/>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638" name="Google Shape;3638;p189"/>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639" name="Google Shape;3639;p189"/>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640" name="Google Shape;3640;p189"/>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641" name="Google Shape;3641;p189"/>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642" name="Google Shape;3642;p189"/>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643" name="Google Shape;3643;p189"/>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644" name="Google Shape;3644;p189"/>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645" name="Google Shape;3645;p189"/>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646" name="Google Shape;3646;p189"/>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647" name="Google Shape;3647;p189"/>
          <p:cNvSpPr txBox="1">
            <a:spLocks noGrp="1"/>
          </p:cNvSpPr>
          <p:nvPr>
            <p:ph type="subTitle" idx="1"/>
          </p:nvPr>
        </p:nvSpPr>
        <p:spPr>
          <a:xfrm>
            <a:off x="7124201" y="3190233"/>
            <a:ext cx="4511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648" name="Google Shape;3648;p189"/>
          <p:cNvSpPr txBox="1">
            <a:spLocks noGrp="1"/>
          </p:cNvSpPr>
          <p:nvPr>
            <p:ph type="subTitle" idx="3"/>
          </p:nvPr>
        </p:nvSpPr>
        <p:spPr>
          <a:xfrm>
            <a:off x="7124201" y="3352795"/>
            <a:ext cx="4511200" cy="70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649" name="Google Shape;3649;p189"/>
          <p:cNvSpPr txBox="1">
            <a:spLocks noGrp="1"/>
          </p:cNvSpPr>
          <p:nvPr>
            <p:ph type="title"/>
          </p:nvPr>
        </p:nvSpPr>
        <p:spPr>
          <a:xfrm>
            <a:off x="7142439" y="1507833"/>
            <a:ext cx="4597200" cy="1162000"/>
          </a:xfrm>
          <a:prstGeom prst="rect">
            <a:avLst/>
          </a:prstGeom>
          <a:noFill/>
          <a:ln>
            <a:noFill/>
          </a:ln>
        </p:spPr>
        <p:txBody>
          <a:bodyPr spcFirstLastPara="1" wrap="square" lIns="34275" tIns="17150" rIns="34275" bIns="17150" anchor="b"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2000"/>
              <a:buFont typeface="Arial"/>
              <a:buNone/>
              <a:defRPr sz="2667" b="1" i="0" u="none" strike="noStrike" cap="none">
                <a:solidFill>
                  <a:srgbClr val="F0F6FC"/>
                </a:solidFill>
                <a:latin typeface="Arial"/>
                <a:ea typeface="Arial"/>
                <a:cs typeface="Arial"/>
                <a:sym typeface="Arial"/>
              </a:defRPr>
            </a:lvl9pPr>
          </a:lstStyle>
          <a:p>
            <a:endParaRPr/>
          </a:p>
        </p:txBody>
      </p:sp>
    </p:spTree>
    <p:extLst>
      <p:ext uri="{BB962C8B-B14F-4D97-AF65-F5344CB8AC3E}">
        <p14:creationId xmlns:p14="http://schemas.microsoft.com/office/powerpoint/2010/main" val="227818063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matchingName="55. Large screenshot_1">
  <p:cSld name="55. Large screenshot_1">
    <p:spTree>
      <p:nvGrpSpPr>
        <p:cNvPr id="1" name="Shape 3650"/>
        <p:cNvGrpSpPr/>
        <p:nvPr/>
      </p:nvGrpSpPr>
      <p:grpSpPr>
        <a:xfrm>
          <a:off x="0" y="0"/>
          <a:ext cx="0" cy="0"/>
          <a:chOff x="0" y="0"/>
          <a:chExt cx="0" cy="0"/>
        </a:xfrm>
      </p:grpSpPr>
      <p:pic>
        <p:nvPicPr>
          <p:cNvPr id="3651" name="Google Shape;3651;p190"/>
          <p:cNvPicPr preferRelativeResize="0"/>
          <p:nvPr/>
        </p:nvPicPr>
        <p:blipFill rotWithShape="1">
          <a:blip r:embed="rId2">
            <a:alphaModFix/>
          </a:blip>
          <a:srcRect/>
          <a:stretch/>
        </p:blipFill>
        <p:spPr>
          <a:xfrm>
            <a:off x="-1240972" y="-2279808"/>
            <a:ext cx="6858000" cy="6858000"/>
          </a:xfrm>
          <a:prstGeom prst="rect">
            <a:avLst/>
          </a:prstGeom>
          <a:noFill/>
          <a:ln>
            <a:noFill/>
          </a:ln>
        </p:spPr>
      </p:pic>
      <p:sp>
        <p:nvSpPr>
          <p:cNvPr id="3652" name="Google Shape;3652;p190"/>
          <p:cNvSpPr/>
          <p:nvPr/>
        </p:nvSpPr>
        <p:spPr>
          <a:xfrm>
            <a:off x="493411" y="1086456"/>
            <a:ext cx="11205200" cy="5776400"/>
          </a:xfrm>
          <a:prstGeom prst="roundRect">
            <a:avLst>
              <a:gd name="adj" fmla="val 1839"/>
            </a:avLst>
          </a:prstGeom>
          <a:solidFill>
            <a:srgbClr val="07060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653" name="Google Shape;3653;p190"/>
          <p:cNvSpPr>
            <a:spLocks noGrp="1"/>
          </p:cNvSpPr>
          <p:nvPr>
            <p:ph type="pic" idx="2"/>
          </p:nvPr>
        </p:nvSpPr>
        <p:spPr>
          <a:xfrm>
            <a:off x="493411" y="1218732"/>
            <a:ext cx="11205200" cy="5639200"/>
          </a:xfrm>
          <a:prstGeom prst="roundRect">
            <a:avLst>
              <a:gd name="adj" fmla="val 0"/>
            </a:avLst>
          </a:prstGeom>
          <a:solidFill>
            <a:srgbClr val="090C0F"/>
          </a:solidFill>
          <a:ln w="9525" cap="flat" cmpd="sng">
            <a:solidFill>
              <a:srgbClr val="21262D"/>
            </a:solidFill>
            <a:prstDash val="solid"/>
            <a:round/>
            <a:headEnd type="none" w="sm" len="sm"/>
            <a:tailEnd type="none" w="sm" len="sm"/>
          </a:ln>
          <a:effectLst>
            <a:reflection stA="20000" endPos="35000" fadeDir="5400012" sy="-100000" algn="bl" rotWithShape="0"/>
          </a:effectLst>
        </p:spPr>
      </p:sp>
      <p:pic>
        <p:nvPicPr>
          <p:cNvPr id="3654" name="Google Shape;3654;p190"/>
          <p:cNvPicPr preferRelativeResize="0"/>
          <p:nvPr/>
        </p:nvPicPr>
        <p:blipFill rotWithShape="1">
          <a:blip r:embed="rId3">
            <a:alphaModFix/>
          </a:blip>
          <a:srcRect/>
          <a:stretch/>
        </p:blipFill>
        <p:spPr>
          <a:xfrm>
            <a:off x="493412" y="802033"/>
            <a:ext cx="11205184" cy="467857"/>
          </a:xfrm>
          <a:prstGeom prst="rect">
            <a:avLst/>
          </a:prstGeom>
          <a:noFill/>
          <a:ln>
            <a:noFill/>
          </a:ln>
        </p:spPr>
      </p:pic>
      <p:grpSp>
        <p:nvGrpSpPr>
          <p:cNvPr id="3655" name="Google Shape;3655;p190"/>
          <p:cNvGrpSpPr/>
          <p:nvPr/>
        </p:nvGrpSpPr>
        <p:grpSpPr>
          <a:xfrm>
            <a:off x="12253600" y="1"/>
            <a:ext cx="3438989" cy="3424452"/>
            <a:chOff x="22170399" y="777240"/>
            <a:chExt cx="6877978" cy="6848903"/>
          </a:xfrm>
        </p:grpSpPr>
        <p:grpSp>
          <p:nvGrpSpPr>
            <p:cNvPr id="3656" name="Google Shape;3656;p190"/>
            <p:cNvGrpSpPr/>
            <p:nvPr/>
          </p:nvGrpSpPr>
          <p:grpSpPr>
            <a:xfrm>
              <a:off x="22170399" y="777240"/>
              <a:ext cx="6877978" cy="6848903"/>
              <a:chOff x="22155159" y="0"/>
              <a:chExt cx="6877978" cy="6848903"/>
            </a:xfrm>
          </p:grpSpPr>
          <p:sp>
            <p:nvSpPr>
              <p:cNvPr id="3657" name="Google Shape;3657;p190"/>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658" name="Google Shape;3658;p190"/>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659" name="Google Shape;3659;p190"/>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660" name="Google Shape;3660;p190"/>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661" name="Google Shape;3661;p190"/>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662" name="Google Shape;3662;p190"/>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663" name="Google Shape;3663;p190"/>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664" name="Google Shape;3664;p190"/>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665" name="Google Shape;3665;p190"/>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666" name="Google Shape;3666;p190"/>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667" name="Google Shape;3667;p190"/>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668" name="Google Shape;3668;p190"/>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669" name="Google Shape;3669;p190"/>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670" name="Google Shape;3670;p190"/>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Tree>
    <p:extLst>
      <p:ext uri="{BB962C8B-B14F-4D97-AF65-F5344CB8AC3E}">
        <p14:creationId xmlns:p14="http://schemas.microsoft.com/office/powerpoint/2010/main" val="314197506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matchingName="56. Large Screenshot_2">
  <p:cSld name="56. Large Screenshot_2">
    <p:spTree>
      <p:nvGrpSpPr>
        <p:cNvPr id="1" name="Shape 3671"/>
        <p:cNvGrpSpPr/>
        <p:nvPr/>
      </p:nvGrpSpPr>
      <p:grpSpPr>
        <a:xfrm>
          <a:off x="0" y="0"/>
          <a:ext cx="0" cy="0"/>
          <a:chOff x="0" y="0"/>
          <a:chExt cx="0" cy="0"/>
        </a:xfrm>
      </p:grpSpPr>
      <p:pic>
        <p:nvPicPr>
          <p:cNvPr id="3672" name="Google Shape;3672;p191"/>
          <p:cNvPicPr preferRelativeResize="0"/>
          <p:nvPr/>
        </p:nvPicPr>
        <p:blipFill rotWithShape="1">
          <a:blip r:embed="rId2">
            <a:alphaModFix/>
          </a:blip>
          <a:srcRect/>
          <a:stretch/>
        </p:blipFill>
        <p:spPr>
          <a:xfrm>
            <a:off x="6948457" y="-1828800"/>
            <a:ext cx="6858000" cy="6858000"/>
          </a:xfrm>
          <a:prstGeom prst="rect">
            <a:avLst/>
          </a:prstGeom>
          <a:noFill/>
          <a:ln>
            <a:noFill/>
          </a:ln>
        </p:spPr>
      </p:pic>
      <p:sp>
        <p:nvSpPr>
          <p:cNvPr id="3673" name="Google Shape;3673;p191"/>
          <p:cNvSpPr/>
          <p:nvPr/>
        </p:nvSpPr>
        <p:spPr>
          <a:xfrm>
            <a:off x="493411" y="1086456"/>
            <a:ext cx="11205200" cy="5776400"/>
          </a:xfrm>
          <a:prstGeom prst="roundRect">
            <a:avLst>
              <a:gd name="adj" fmla="val 1839"/>
            </a:avLst>
          </a:prstGeom>
          <a:solidFill>
            <a:srgbClr val="07060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674" name="Google Shape;3674;p191"/>
          <p:cNvSpPr>
            <a:spLocks noGrp="1"/>
          </p:cNvSpPr>
          <p:nvPr>
            <p:ph type="pic" idx="2"/>
          </p:nvPr>
        </p:nvSpPr>
        <p:spPr>
          <a:xfrm>
            <a:off x="493411" y="1218732"/>
            <a:ext cx="11205200" cy="5639200"/>
          </a:xfrm>
          <a:prstGeom prst="roundRect">
            <a:avLst>
              <a:gd name="adj" fmla="val 0"/>
            </a:avLst>
          </a:prstGeom>
          <a:solidFill>
            <a:srgbClr val="0A0C10"/>
          </a:solidFill>
          <a:ln w="9525" cap="flat" cmpd="sng">
            <a:solidFill>
              <a:srgbClr val="21262D"/>
            </a:solidFill>
            <a:prstDash val="solid"/>
            <a:round/>
            <a:headEnd type="none" w="sm" len="sm"/>
            <a:tailEnd type="none" w="sm" len="sm"/>
          </a:ln>
          <a:effectLst>
            <a:reflection stA="20000" endPos="35000" fadeDir="5400012" sy="-100000" algn="bl" rotWithShape="0"/>
          </a:effectLst>
        </p:spPr>
      </p:sp>
      <p:pic>
        <p:nvPicPr>
          <p:cNvPr id="3675" name="Google Shape;3675;p191"/>
          <p:cNvPicPr preferRelativeResize="0"/>
          <p:nvPr/>
        </p:nvPicPr>
        <p:blipFill rotWithShape="1">
          <a:blip r:embed="rId3">
            <a:alphaModFix/>
          </a:blip>
          <a:srcRect/>
          <a:stretch/>
        </p:blipFill>
        <p:spPr>
          <a:xfrm>
            <a:off x="493412" y="802033"/>
            <a:ext cx="11205184" cy="467857"/>
          </a:xfrm>
          <a:prstGeom prst="rect">
            <a:avLst/>
          </a:prstGeom>
          <a:noFill/>
          <a:ln>
            <a:noFill/>
          </a:ln>
        </p:spPr>
      </p:pic>
      <p:grpSp>
        <p:nvGrpSpPr>
          <p:cNvPr id="3676" name="Google Shape;3676;p191"/>
          <p:cNvGrpSpPr/>
          <p:nvPr/>
        </p:nvGrpSpPr>
        <p:grpSpPr>
          <a:xfrm>
            <a:off x="12253600" y="1"/>
            <a:ext cx="3438989" cy="3424452"/>
            <a:chOff x="22170399" y="777240"/>
            <a:chExt cx="6877978" cy="6848903"/>
          </a:xfrm>
        </p:grpSpPr>
        <p:grpSp>
          <p:nvGrpSpPr>
            <p:cNvPr id="3677" name="Google Shape;3677;p191"/>
            <p:cNvGrpSpPr/>
            <p:nvPr/>
          </p:nvGrpSpPr>
          <p:grpSpPr>
            <a:xfrm>
              <a:off x="22170399" y="777240"/>
              <a:ext cx="6877978" cy="6848903"/>
              <a:chOff x="22155159" y="0"/>
              <a:chExt cx="6877978" cy="6848903"/>
            </a:xfrm>
          </p:grpSpPr>
          <p:sp>
            <p:nvSpPr>
              <p:cNvPr id="3678" name="Google Shape;3678;p191"/>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679" name="Google Shape;3679;p191"/>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680" name="Google Shape;3680;p191"/>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681" name="Google Shape;3681;p191"/>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682" name="Google Shape;3682;p191"/>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683" name="Google Shape;3683;p191"/>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684" name="Google Shape;3684;p191"/>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685" name="Google Shape;3685;p191"/>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686" name="Google Shape;3686;p191"/>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687" name="Google Shape;3687;p191"/>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688" name="Google Shape;3688;p191"/>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689" name="Google Shape;3689;p191"/>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690" name="Google Shape;3690;p191"/>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691" name="Google Shape;3691;p191"/>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Tree>
    <p:extLst>
      <p:ext uri="{BB962C8B-B14F-4D97-AF65-F5344CB8AC3E}">
        <p14:creationId xmlns:p14="http://schemas.microsoft.com/office/powerpoint/2010/main" val="26608398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6277057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57. Code snippet_1">
  <p:cSld name="57. Code snippet_1">
    <p:spTree>
      <p:nvGrpSpPr>
        <p:cNvPr id="1" name="Shape 3692"/>
        <p:cNvGrpSpPr/>
        <p:nvPr/>
      </p:nvGrpSpPr>
      <p:grpSpPr>
        <a:xfrm>
          <a:off x="0" y="0"/>
          <a:ext cx="0" cy="0"/>
          <a:chOff x="0" y="0"/>
          <a:chExt cx="0" cy="0"/>
        </a:xfrm>
      </p:grpSpPr>
      <p:pic>
        <p:nvPicPr>
          <p:cNvPr id="3693" name="Google Shape;3693;p192"/>
          <p:cNvPicPr preferRelativeResize="0"/>
          <p:nvPr/>
        </p:nvPicPr>
        <p:blipFill rotWithShape="1">
          <a:blip r:embed="rId2">
            <a:alphaModFix/>
          </a:blip>
          <a:srcRect/>
          <a:stretch/>
        </p:blipFill>
        <p:spPr>
          <a:xfrm>
            <a:off x="7703097" y="-1629691"/>
            <a:ext cx="6858000" cy="6858000"/>
          </a:xfrm>
          <a:prstGeom prst="rect">
            <a:avLst/>
          </a:prstGeom>
          <a:noFill/>
          <a:ln>
            <a:noFill/>
          </a:ln>
        </p:spPr>
      </p:pic>
      <p:grpSp>
        <p:nvGrpSpPr>
          <p:cNvPr id="3694" name="Google Shape;3694;p192"/>
          <p:cNvGrpSpPr/>
          <p:nvPr/>
        </p:nvGrpSpPr>
        <p:grpSpPr>
          <a:xfrm>
            <a:off x="5322889" y="884480"/>
            <a:ext cx="6568731" cy="4806377"/>
            <a:chOff x="4796385" y="2821973"/>
            <a:chExt cx="5385971" cy="3940946"/>
          </a:xfrm>
        </p:grpSpPr>
        <p:sp>
          <p:nvSpPr>
            <p:cNvPr id="3695" name="Google Shape;3695;p192"/>
            <p:cNvSpPr/>
            <p:nvPr/>
          </p:nvSpPr>
          <p:spPr>
            <a:xfrm>
              <a:off x="4805901" y="2831493"/>
              <a:ext cx="5366939" cy="3921908"/>
            </a:xfrm>
            <a:custGeom>
              <a:avLst/>
              <a:gdLst/>
              <a:ahLst/>
              <a:cxnLst/>
              <a:rect l="l" t="t" r="r" b="b"/>
              <a:pathLst>
                <a:path w="5366939" h="3921908" extrusionOk="0">
                  <a:moveTo>
                    <a:pt x="0" y="57115"/>
                  </a:moveTo>
                  <a:cubicBezTo>
                    <a:pt x="0" y="25571"/>
                    <a:pt x="25562" y="0"/>
                    <a:pt x="57095" y="0"/>
                  </a:cubicBezTo>
                  <a:lnTo>
                    <a:pt x="5309845" y="0"/>
                  </a:lnTo>
                  <a:cubicBezTo>
                    <a:pt x="5341380" y="0"/>
                    <a:pt x="5366940" y="25571"/>
                    <a:pt x="5366940" y="57115"/>
                  </a:cubicBezTo>
                  <a:lnTo>
                    <a:pt x="5366940" y="3864794"/>
                  </a:lnTo>
                  <a:cubicBezTo>
                    <a:pt x="5366940" y="3896340"/>
                    <a:pt x="5341380" y="3921909"/>
                    <a:pt x="5309845" y="3921909"/>
                  </a:cubicBezTo>
                  <a:lnTo>
                    <a:pt x="57095" y="3921909"/>
                  </a:lnTo>
                  <a:cubicBezTo>
                    <a:pt x="25562" y="3921909"/>
                    <a:pt x="0" y="3896340"/>
                    <a:pt x="0" y="3864794"/>
                  </a:cubicBezTo>
                  <a:lnTo>
                    <a:pt x="0" y="57115"/>
                  </a:lnTo>
                  <a:close/>
                </a:path>
              </a:pathLst>
            </a:custGeom>
            <a:solidFill>
              <a:srgbClr val="161B22"/>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sp>
          <p:nvSpPr>
            <p:cNvPr id="3696" name="Google Shape;3696;p192"/>
            <p:cNvSpPr/>
            <p:nvPr/>
          </p:nvSpPr>
          <p:spPr>
            <a:xfrm>
              <a:off x="4971313" y="3047906"/>
              <a:ext cx="2361341" cy="147696"/>
            </a:xfrm>
            <a:custGeom>
              <a:avLst/>
              <a:gdLst/>
              <a:ahLst/>
              <a:cxnLst/>
              <a:rect l="l" t="t" r="r" b="b"/>
              <a:pathLst>
                <a:path w="2361341" h="147696" extrusionOk="0">
                  <a:moveTo>
                    <a:pt x="11895" y="118246"/>
                  </a:moveTo>
                  <a:cubicBezTo>
                    <a:pt x="18958" y="118246"/>
                    <a:pt x="23790" y="113263"/>
                    <a:pt x="23790" y="106645"/>
                  </a:cubicBezTo>
                  <a:cubicBezTo>
                    <a:pt x="23790" y="100100"/>
                    <a:pt x="18958" y="95118"/>
                    <a:pt x="11895" y="95118"/>
                  </a:cubicBezTo>
                  <a:cubicBezTo>
                    <a:pt x="4906" y="95118"/>
                    <a:pt x="0" y="100100"/>
                    <a:pt x="0" y="106645"/>
                  </a:cubicBezTo>
                  <a:cubicBezTo>
                    <a:pt x="0" y="113263"/>
                    <a:pt x="4906" y="118246"/>
                    <a:pt x="11895" y="118246"/>
                  </a:cubicBezTo>
                  <a:close/>
                  <a:moveTo>
                    <a:pt x="80216" y="147696"/>
                  </a:moveTo>
                  <a:cubicBezTo>
                    <a:pt x="103931" y="147696"/>
                    <a:pt x="118948" y="135871"/>
                    <a:pt x="118948" y="117205"/>
                  </a:cubicBezTo>
                  <a:lnTo>
                    <a:pt x="118948" y="35473"/>
                  </a:lnTo>
                  <a:lnTo>
                    <a:pt x="101180" y="35473"/>
                  </a:lnTo>
                  <a:lnTo>
                    <a:pt x="101180" y="48488"/>
                  </a:lnTo>
                  <a:lnTo>
                    <a:pt x="99916" y="48488"/>
                  </a:lnTo>
                  <a:cubicBezTo>
                    <a:pt x="95456" y="39638"/>
                    <a:pt x="85791" y="34135"/>
                    <a:pt x="74715" y="34135"/>
                  </a:cubicBezTo>
                  <a:cubicBezTo>
                    <a:pt x="53973" y="34135"/>
                    <a:pt x="41111" y="50347"/>
                    <a:pt x="41111" y="75261"/>
                  </a:cubicBezTo>
                  <a:cubicBezTo>
                    <a:pt x="41111" y="99654"/>
                    <a:pt x="53899" y="115569"/>
                    <a:pt x="74417" y="115569"/>
                  </a:cubicBezTo>
                  <a:cubicBezTo>
                    <a:pt x="85717" y="115569"/>
                    <a:pt x="94564" y="110809"/>
                    <a:pt x="99247" y="102033"/>
                  </a:cubicBezTo>
                  <a:lnTo>
                    <a:pt x="100511" y="102033"/>
                  </a:lnTo>
                  <a:lnTo>
                    <a:pt x="100511" y="117502"/>
                  </a:lnTo>
                  <a:cubicBezTo>
                    <a:pt x="100511" y="127840"/>
                    <a:pt x="93152" y="133938"/>
                    <a:pt x="80514" y="133938"/>
                  </a:cubicBezTo>
                  <a:cubicBezTo>
                    <a:pt x="70402" y="133938"/>
                    <a:pt x="63861" y="130294"/>
                    <a:pt x="62671" y="124567"/>
                  </a:cubicBezTo>
                  <a:lnTo>
                    <a:pt x="44159" y="124567"/>
                  </a:lnTo>
                  <a:cubicBezTo>
                    <a:pt x="45647" y="138549"/>
                    <a:pt x="59326" y="147696"/>
                    <a:pt x="80216" y="147696"/>
                  </a:cubicBezTo>
                  <a:close/>
                  <a:moveTo>
                    <a:pt x="80216" y="100918"/>
                  </a:moveTo>
                  <a:cubicBezTo>
                    <a:pt x="67354" y="100918"/>
                    <a:pt x="60069" y="90953"/>
                    <a:pt x="60069" y="75186"/>
                  </a:cubicBezTo>
                  <a:cubicBezTo>
                    <a:pt x="60069" y="59495"/>
                    <a:pt x="67354" y="49529"/>
                    <a:pt x="80216" y="49529"/>
                  </a:cubicBezTo>
                  <a:cubicBezTo>
                    <a:pt x="93002" y="49529"/>
                    <a:pt x="100809" y="59495"/>
                    <a:pt x="100809" y="75261"/>
                  </a:cubicBezTo>
                  <a:cubicBezTo>
                    <a:pt x="100809" y="90953"/>
                    <a:pt x="93077" y="100918"/>
                    <a:pt x="80216" y="100918"/>
                  </a:cubicBezTo>
                  <a:close/>
                  <a:moveTo>
                    <a:pt x="150990" y="21864"/>
                  </a:moveTo>
                  <a:cubicBezTo>
                    <a:pt x="157086" y="21864"/>
                    <a:pt x="162067" y="17030"/>
                    <a:pt x="162067" y="10932"/>
                  </a:cubicBezTo>
                  <a:cubicBezTo>
                    <a:pt x="162067" y="4908"/>
                    <a:pt x="157086" y="0"/>
                    <a:pt x="150990" y="0"/>
                  </a:cubicBezTo>
                  <a:cubicBezTo>
                    <a:pt x="144968" y="0"/>
                    <a:pt x="139988" y="4908"/>
                    <a:pt x="139988" y="10932"/>
                  </a:cubicBezTo>
                  <a:cubicBezTo>
                    <a:pt x="139988" y="17030"/>
                    <a:pt x="144968" y="21864"/>
                    <a:pt x="150990" y="21864"/>
                  </a:cubicBezTo>
                  <a:close/>
                  <a:moveTo>
                    <a:pt x="141846" y="116759"/>
                  </a:moveTo>
                  <a:lnTo>
                    <a:pt x="160209" y="116759"/>
                  </a:lnTo>
                  <a:lnTo>
                    <a:pt x="160209" y="35473"/>
                  </a:lnTo>
                  <a:lnTo>
                    <a:pt x="141846" y="35473"/>
                  </a:lnTo>
                  <a:lnTo>
                    <a:pt x="141846" y="116759"/>
                  </a:lnTo>
                  <a:close/>
                  <a:moveTo>
                    <a:pt x="188977" y="15543"/>
                  </a:moveTo>
                  <a:lnTo>
                    <a:pt x="188977" y="35994"/>
                  </a:lnTo>
                  <a:lnTo>
                    <a:pt x="176121" y="35994"/>
                  </a:lnTo>
                  <a:lnTo>
                    <a:pt x="176121" y="50347"/>
                  </a:lnTo>
                  <a:lnTo>
                    <a:pt x="188977" y="50347"/>
                  </a:lnTo>
                  <a:lnTo>
                    <a:pt x="188977" y="95192"/>
                  </a:lnTo>
                  <a:cubicBezTo>
                    <a:pt x="188977" y="110883"/>
                    <a:pt x="196409" y="117131"/>
                    <a:pt x="215070" y="117131"/>
                  </a:cubicBezTo>
                  <a:cubicBezTo>
                    <a:pt x="218638" y="117131"/>
                    <a:pt x="222064" y="116833"/>
                    <a:pt x="224738" y="116312"/>
                  </a:cubicBezTo>
                  <a:lnTo>
                    <a:pt x="224738" y="102183"/>
                  </a:lnTo>
                  <a:cubicBezTo>
                    <a:pt x="222511" y="102406"/>
                    <a:pt x="221093" y="102554"/>
                    <a:pt x="218495" y="102554"/>
                  </a:cubicBezTo>
                  <a:cubicBezTo>
                    <a:pt x="210759" y="102554"/>
                    <a:pt x="207343" y="98910"/>
                    <a:pt x="207343" y="90804"/>
                  </a:cubicBezTo>
                  <a:lnTo>
                    <a:pt x="207343" y="50347"/>
                  </a:lnTo>
                  <a:lnTo>
                    <a:pt x="224738" y="50347"/>
                  </a:lnTo>
                  <a:lnTo>
                    <a:pt x="224738" y="35994"/>
                  </a:lnTo>
                  <a:lnTo>
                    <a:pt x="207343" y="35994"/>
                  </a:lnTo>
                  <a:lnTo>
                    <a:pt x="207343" y="15543"/>
                  </a:lnTo>
                  <a:lnTo>
                    <a:pt x="188977" y="15543"/>
                  </a:lnTo>
                  <a:close/>
                  <a:moveTo>
                    <a:pt x="243922" y="116759"/>
                  </a:moveTo>
                  <a:lnTo>
                    <a:pt x="262354" y="116759"/>
                  </a:lnTo>
                  <a:lnTo>
                    <a:pt x="262354" y="69535"/>
                  </a:lnTo>
                  <a:cubicBezTo>
                    <a:pt x="262354" y="57636"/>
                    <a:pt x="269120" y="49678"/>
                    <a:pt x="281243" y="49678"/>
                  </a:cubicBezTo>
                  <a:cubicBezTo>
                    <a:pt x="291939" y="49678"/>
                    <a:pt x="297591" y="56074"/>
                    <a:pt x="297591" y="68642"/>
                  </a:cubicBezTo>
                  <a:lnTo>
                    <a:pt x="297591" y="116759"/>
                  </a:lnTo>
                  <a:lnTo>
                    <a:pt x="316033" y="116759"/>
                  </a:lnTo>
                  <a:lnTo>
                    <a:pt x="316033" y="64329"/>
                  </a:lnTo>
                  <a:cubicBezTo>
                    <a:pt x="316033" y="44992"/>
                    <a:pt x="305470" y="33986"/>
                    <a:pt x="288075" y="33986"/>
                  </a:cubicBezTo>
                  <a:cubicBezTo>
                    <a:pt x="275962" y="33986"/>
                    <a:pt x="267264" y="39489"/>
                    <a:pt x="263391" y="48637"/>
                  </a:cubicBezTo>
                  <a:lnTo>
                    <a:pt x="262059" y="48637"/>
                  </a:lnTo>
                  <a:lnTo>
                    <a:pt x="262059" y="4015"/>
                  </a:lnTo>
                  <a:lnTo>
                    <a:pt x="243922" y="4015"/>
                  </a:lnTo>
                  <a:lnTo>
                    <a:pt x="243922" y="116759"/>
                  </a:lnTo>
                  <a:close/>
                  <a:moveTo>
                    <a:pt x="408660" y="35473"/>
                  </a:moveTo>
                  <a:lnTo>
                    <a:pt x="390228" y="35473"/>
                  </a:lnTo>
                  <a:lnTo>
                    <a:pt x="390228" y="82847"/>
                  </a:lnTo>
                  <a:cubicBezTo>
                    <a:pt x="390228" y="95118"/>
                    <a:pt x="383681" y="102554"/>
                    <a:pt x="371710" y="102554"/>
                  </a:cubicBezTo>
                  <a:cubicBezTo>
                    <a:pt x="360710" y="102554"/>
                    <a:pt x="355581" y="96456"/>
                    <a:pt x="355581" y="83814"/>
                  </a:cubicBezTo>
                  <a:lnTo>
                    <a:pt x="355581" y="35473"/>
                  </a:lnTo>
                  <a:lnTo>
                    <a:pt x="337139" y="35473"/>
                  </a:lnTo>
                  <a:lnTo>
                    <a:pt x="337139" y="88275"/>
                  </a:lnTo>
                  <a:cubicBezTo>
                    <a:pt x="337139" y="107314"/>
                    <a:pt x="347549" y="118395"/>
                    <a:pt x="365315" y="118395"/>
                  </a:cubicBezTo>
                  <a:cubicBezTo>
                    <a:pt x="377734" y="118395"/>
                    <a:pt x="385689" y="113115"/>
                    <a:pt x="389628" y="103818"/>
                  </a:cubicBezTo>
                  <a:lnTo>
                    <a:pt x="390894" y="103818"/>
                  </a:lnTo>
                  <a:lnTo>
                    <a:pt x="390894" y="116759"/>
                  </a:lnTo>
                  <a:lnTo>
                    <a:pt x="408660" y="116759"/>
                  </a:lnTo>
                  <a:lnTo>
                    <a:pt x="408660" y="35473"/>
                  </a:lnTo>
                  <a:close/>
                  <a:moveTo>
                    <a:pt x="476461" y="118097"/>
                  </a:moveTo>
                  <a:cubicBezTo>
                    <a:pt x="496977" y="118097"/>
                    <a:pt x="509842" y="101959"/>
                    <a:pt x="509842" y="76154"/>
                  </a:cubicBezTo>
                  <a:cubicBezTo>
                    <a:pt x="509842" y="50199"/>
                    <a:pt x="497053" y="34135"/>
                    <a:pt x="476461" y="34135"/>
                  </a:cubicBezTo>
                  <a:cubicBezTo>
                    <a:pt x="465308" y="34135"/>
                    <a:pt x="455944" y="39564"/>
                    <a:pt x="451710" y="48414"/>
                  </a:cubicBezTo>
                  <a:lnTo>
                    <a:pt x="450444" y="48414"/>
                  </a:lnTo>
                  <a:lnTo>
                    <a:pt x="450444" y="4015"/>
                  </a:lnTo>
                  <a:lnTo>
                    <a:pt x="432002" y="4015"/>
                  </a:lnTo>
                  <a:lnTo>
                    <a:pt x="432002" y="116759"/>
                  </a:lnTo>
                  <a:lnTo>
                    <a:pt x="449769" y="116759"/>
                  </a:lnTo>
                  <a:lnTo>
                    <a:pt x="449769" y="103893"/>
                  </a:lnTo>
                  <a:lnTo>
                    <a:pt x="451034" y="103893"/>
                  </a:lnTo>
                  <a:cubicBezTo>
                    <a:pt x="455649" y="112817"/>
                    <a:pt x="465089" y="118097"/>
                    <a:pt x="476461" y="118097"/>
                  </a:cubicBezTo>
                  <a:close/>
                  <a:moveTo>
                    <a:pt x="470665" y="49529"/>
                  </a:moveTo>
                  <a:cubicBezTo>
                    <a:pt x="483226" y="49529"/>
                    <a:pt x="490887" y="59569"/>
                    <a:pt x="490887" y="76154"/>
                  </a:cubicBezTo>
                  <a:cubicBezTo>
                    <a:pt x="490887" y="92738"/>
                    <a:pt x="483302" y="102777"/>
                    <a:pt x="470665" y="102777"/>
                  </a:cubicBezTo>
                  <a:cubicBezTo>
                    <a:pt x="458028" y="102777"/>
                    <a:pt x="450149" y="92588"/>
                    <a:pt x="450149" y="76154"/>
                  </a:cubicBezTo>
                  <a:cubicBezTo>
                    <a:pt x="450149" y="59718"/>
                    <a:pt x="458095" y="49529"/>
                    <a:pt x="470665" y="49529"/>
                  </a:cubicBezTo>
                  <a:close/>
                  <a:moveTo>
                    <a:pt x="534079" y="139739"/>
                  </a:moveTo>
                  <a:lnTo>
                    <a:pt x="572590" y="4015"/>
                  </a:lnTo>
                  <a:lnTo>
                    <a:pt x="556004" y="4015"/>
                  </a:lnTo>
                  <a:lnTo>
                    <a:pt x="517426" y="139739"/>
                  </a:lnTo>
                  <a:lnTo>
                    <a:pt x="534079" y="139739"/>
                  </a:lnTo>
                  <a:close/>
                  <a:moveTo>
                    <a:pt x="693317" y="35473"/>
                  </a:moveTo>
                  <a:lnTo>
                    <a:pt x="674952" y="35473"/>
                  </a:lnTo>
                  <a:lnTo>
                    <a:pt x="661496" y="96530"/>
                  </a:lnTo>
                  <a:lnTo>
                    <a:pt x="660240" y="96530"/>
                  </a:lnTo>
                  <a:lnTo>
                    <a:pt x="644472" y="35473"/>
                  </a:lnTo>
                  <a:lnTo>
                    <a:pt x="626859" y="35473"/>
                  </a:lnTo>
                  <a:lnTo>
                    <a:pt x="611243" y="96530"/>
                  </a:lnTo>
                  <a:lnTo>
                    <a:pt x="609977" y="96530"/>
                  </a:lnTo>
                  <a:lnTo>
                    <a:pt x="596446" y="35473"/>
                  </a:lnTo>
                  <a:lnTo>
                    <a:pt x="577861" y="35473"/>
                  </a:lnTo>
                  <a:lnTo>
                    <a:pt x="599872" y="116759"/>
                  </a:lnTo>
                  <a:lnTo>
                    <a:pt x="619056" y="116759"/>
                  </a:lnTo>
                  <a:lnTo>
                    <a:pt x="634814" y="57859"/>
                  </a:lnTo>
                  <a:lnTo>
                    <a:pt x="636079" y="57859"/>
                  </a:lnTo>
                  <a:lnTo>
                    <a:pt x="651914" y="116759"/>
                  </a:lnTo>
                  <a:lnTo>
                    <a:pt x="671317" y="116759"/>
                  </a:lnTo>
                  <a:lnTo>
                    <a:pt x="693317" y="35473"/>
                  </a:lnTo>
                  <a:close/>
                  <a:moveTo>
                    <a:pt x="741268" y="118395"/>
                  </a:moveTo>
                  <a:cubicBezTo>
                    <a:pt x="765581" y="118395"/>
                    <a:pt x="780378" y="102480"/>
                    <a:pt x="780378" y="76079"/>
                  </a:cubicBezTo>
                  <a:cubicBezTo>
                    <a:pt x="780378" y="49827"/>
                    <a:pt x="765505" y="33912"/>
                    <a:pt x="741268" y="33912"/>
                  </a:cubicBezTo>
                  <a:cubicBezTo>
                    <a:pt x="717107" y="33912"/>
                    <a:pt x="702167" y="49902"/>
                    <a:pt x="702167" y="76079"/>
                  </a:cubicBezTo>
                  <a:cubicBezTo>
                    <a:pt x="702167" y="102480"/>
                    <a:pt x="716888" y="118395"/>
                    <a:pt x="741268" y="118395"/>
                  </a:cubicBezTo>
                  <a:close/>
                  <a:moveTo>
                    <a:pt x="741268" y="103298"/>
                  </a:moveTo>
                  <a:cubicBezTo>
                    <a:pt x="728412" y="103298"/>
                    <a:pt x="721047" y="93333"/>
                    <a:pt x="721047" y="76154"/>
                  </a:cubicBezTo>
                  <a:cubicBezTo>
                    <a:pt x="721047" y="58974"/>
                    <a:pt x="728412" y="49009"/>
                    <a:pt x="741268" y="49009"/>
                  </a:cubicBezTo>
                  <a:cubicBezTo>
                    <a:pt x="754057" y="49009"/>
                    <a:pt x="761413" y="58974"/>
                    <a:pt x="761413" y="76154"/>
                  </a:cubicBezTo>
                  <a:cubicBezTo>
                    <a:pt x="761413" y="93333"/>
                    <a:pt x="754133" y="103298"/>
                    <a:pt x="741268" y="103298"/>
                  </a:cubicBezTo>
                  <a:close/>
                  <a:moveTo>
                    <a:pt x="798962" y="116759"/>
                  </a:moveTo>
                  <a:lnTo>
                    <a:pt x="817395" y="116759"/>
                  </a:lnTo>
                  <a:lnTo>
                    <a:pt x="817395" y="69535"/>
                  </a:lnTo>
                  <a:cubicBezTo>
                    <a:pt x="817395" y="58081"/>
                    <a:pt x="825721" y="50645"/>
                    <a:pt x="837692" y="50645"/>
                  </a:cubicBezTo>
                  <a:cubicBezTo>
                    <a:pt x="840813" y="50645"/>
                    <a:pt x="845723" y="51166"/>
                    <a:pt x="847132" y="51686"/>
                  </a:cubicBezTo>
                  <a:lnTo>
                    <a:pt x="847132" y="34878"/>
                  </a:lnTo>
                  <a:cubicBezTo>
                    <a:pt x="845428" y="34433"/>
                    <a:pt x="842155" y="34135"/>
                    <a:pt x="839481" y="34135"/>
                  </a:cubicBezTo>
                  <a:cubicBezTo>
                    <a:pt x="828994" y="34135"/>
                    <a:pt x="820221" y="40084"/>
                    <a:pt x="817994" y="48117"/>
                  </a:cubicBezTo>
                  <a:lnTo>
                    <a:pt x="816728" y="48117"/>
                  </a:lnTo>
                  <a:lnTo>
                    <a:pt x="816728" y="35473"/>
                  </a:lnTo>
                  <a:lnTo>
                    <a:pt x="798962" y="35473"/>
                  </a:lnTo>
                  <a:lnTo>
                    <a:pt x="798962" y="116759"/>
                  </a:lnTo>
                  <a:close/>
                  <a:moveTo>
                    <a:pt x="882740" y="68790"/>
                  </a:moveTo>
                  <a:lnTo>
                    <a:pt x="881484" y="68790"/>
                  </a:lnTo>
                  <a:lnTo>
                    <a:pt x="881484" y="4015"/>
                  </a:lnTo>
                  <a:lnTo>
                    <a:pt x="863042" y="4015"/>
                  </a:lnTo>
                  <a:lnTo>
                    <a:pt x="863042" y="116759"/>
                  </a:lnTo>
                  <a:lnTo>
                    <a:pt x="881484" y="116759"/>
                  </a:lnTo>
                  <a:lnTo>
                    <a:pt x="881484" y="88201"/>
                  </a:lnTo>
                  <a:lnTo>
                    <a:pt x="888021" y="81657"/>
                  </a:lnTo>
                  <a:lnTo>
                    <a:pt x="914114" y="116759"/>
                  </a:lnTo>
                  <a:lnTo>
                    <a:pt x="936419" y="116759"/>
                  </a:lnTo>
                  <a:lnTo>
                    <a:pt x="901771" y="70353"/>
                  </a:lnTo>
                  <a:lnTo>
                    <a:pt x="934192" y="35473"/>
                  </a:lnTo>
                  <a:lnTo>
                    <a:pt x="912781" y="35473"/>
                  </a:lnTo>
                  <a:lnTo>
                    <a:pt x="882740" y="68790"/>
                  </a:lnTo>
                  <a:close/>
                  <a:moveTo>
                    <a:pt x="955527" y="116759"/>
                  </a:moveTo>
                  <a:lnTo>
                    <a:pt x="973892" y="116759"/>
                  </a:lnTo>
                  <a:lnTo>
                    <a:pt x="973892" y="50347"/>
                  </a:lnTo>
                  <a:lnTo>
                    <a:pt x="991354" y="50347"/>
                  </a:lnTo>
                  <a:lnTo>
                    <a:pt x="991354" y="35994"/>
                  </a:lnTo>
                  <a:lnTo>
                    <a:pt x="973664" y="35994"/>
                  </a:lnTo>
                  <a:lnTo>
                    <a:pt x="973664" y="28483"/>
                  </a:lnTo>
                  <a:cubicBezTo>
                    <a:pt x="973664" y="20749"/>
                    <a:pt x="977080" y="16881"/>
                    <a:pt x="985787" y="16881"/>
                  </a:cubicBezTo>
                  <a:cubicBezTo>
                    <a:pt x="988385" y="16881"/>
                    <a:pt x="990611" y="17104"/>
                    <a:pt x="992106" y="17328"/>
                  </a:cubicBezTo>
                  <a:lnTo>
                    <a:pt x="992106" y="4015"/>
                  </a:lnTo>
                  <a:cubicBezTo>
                    <a:pt x="989127" y="3495"/>
                    <a:pt x="985787" y="3272"/>
                    <a:pt x="981838" y="3272"/>
                  </a:cubicBezTo>
                  <a:cubicBezTo>
                    <a:pt x="963777" y="3272"/>
                    <a:pt x="955527" y="11230"/>
                    <a:pt x="955527" y="27442"/>
                  </a:cubicBezTo>
                  <a:lnTo>
                    <a:pt x="955527" y="35994"/>
                  </a:lnTo>
                  <a:lnTo>
                    <a:pt x="942214" y="35994"/>
                  </a:lnTo>
                  <a:lnTo>
                    <a:pt x="942214" y="50347"/>
                  </a:lnTo>
                  <a:lnTo>
                    <a:pt x="955527" y="50347"/>
                  </a:lnTo>
                  <a:lnTo>
                    <a:pt x="955527" y="116759"/>
                  </a:lnTo>
                  <a:close/>
                  <a:moveTo>
                    <a:pt x="1009948" y="116759"/>
                  </a:moveTo>
                  <a:lnTo>
                    <a:pt x="1028380" y="116759"/>
                  </a:lnTo>
                  <a:lnTo>
                    <a:pt x="1028380" y="4015"/>
                  </a:lnTo>
                  <a:lnTo>
                    <a:pt x="1009948" y="4015"/>
                  </a:lnTo>
                  <a:lnTo>
                    <a:pt x="1009948" y="116759"/>
                  </a:lnTo>
                  <a:close/>
                  <a:moveTo>
                    <a:pt x="1086817" y="118395"/>
                  </a:moveTo>
                  <a:cubicBezTo>
                    <a:pt x="1111120" y="118395"/>
                    <a:pt x="1125917" y="102480"/>
                    <a:pt x="1125917" y="76079"/>
                  </a:cubicBezTo>
                  <a:cubicBezTo>
                    <a:pt x="1125917" y="49827"/>
                    <a:pt x="1111054" y="33912"/>
                    <a:pt x="1086817" y="33912"/>
                  </a:cubicBezTo>
                  <a:cubicBezTo>
                    <a:pt x="1062656" y="33912"/>
                    <a:pt x="1047707" y="49902"/>
                    <a:pt x="1047707" y="76079"/>
                  </a:cubicBezTo>
                  <a:cubicBezTo>
                    <a:pt x="1047707" y="102480"/>
                    <a:pt x="1062428" y="118395"/>
                    <a:pt x="1086817" y="118395"/>
                  </a:cubicBezTo>
                  <a:close/>
                  <a:moveTo>
                    <a:pt x="1086817" y="103298"/>
                  </a:moveTo>
                  <a:cubicBezTo>
                    <a:pt x="1073951" y="103298"/>
                    <a:pt x="1066596" y="93333"/>
                    <a:pt x="1066596" y="76154"/>
                  </a:cubicBezTo>
                  <a:cubicBezTo>
                    <a:pt x="1066596" y="58974"/>
                    <a:pt x="1073951" y="49009"/>
                    <a:pt x="1086817" y="49009"/>
                  </a:cubicBezTo>
                  <a:cubicBezTo>
                    <a:pt x="1099606" y="49009"/>
                    <a:pt x="1106962" y="58974"/>
                    <a:pt x="1106962" y="76154"/>
                  </a:cubicBezTo>
                  <a:cubicBezTo>
                    <a:pt x="1106962" y="93333"/>
                    <a:pt x="1099673" y="103298"/>
                    <a:pt x="1086817" y="103298"/>
                  </a:cubicBezTo>
                  <a:close/>
                  <a:moveTo>
                    <a:pt x="1250147" y="35473"/>
                  </a:moveTo>
                  <a:lnTo>
                    <a:pt x="1231781" y="35473"/>
                  </a:lnTo>
                  <a:lnTo>
                    <a:pt x="1218326" y="96530"/>
                  </a:lnTo>
                  <a:lnTo>
                    <a:pt x="1217060" y="96530"/>
                  </a:lnTo>
                  <a:lnTo>
                    <a:pt x="1201302" y="35473"/>
                  </a:lnTo>
                  <a:lnTo>
                    <a:pt x="1183679" y="35473"/>
                  </a:lnTo>
                  <a:lnTo>
                    <a:pt x="1168073" y="96530"/>
                  </a:lnTo>
                  <a:lnTo>
                    <a:pt x="1166807" y="96530"/>
                  </a:lnTo>
                  <a:lnTo>
                    <a:pt x="1153275" y="35473"/>
                  </a:lnTo>
                  <a:lnTo>
                    <a:pt x="1134691" y="35473"/>
                  </a:lnTo>
                  <a:lnTo>
                    <a:pt x="1156701" y="116759"/>
                  </a:lnTo>
                  <a:lnTo>
                    <a:pt x="1175876" y="116759"/>
                  </a:lnTo>
                  <a:lnTo>
                    <a:pt x="1191634" y="57859"/>
                  </a:lnTo>
                  <a:lnTo>
                    <a:pt x="1192899" y="57859"/>
                  </a:lnTo>
                  <a:lnTo>
                    <a:pt x="1208734" y="116759"/>
                  </a:lnTo>
                  <a:lnTo>
                    <a:pt x="1228137" y="116759"/>
                  </a:lnTo>
                  <a:lnTo>
                    <a:pt x="1250147" y="35473"/>
                  </a:lnTo>
                  <a:close/>
                  <a:moveTo>
                    <a:pt x="1262184" y="58676"/>
                  </a:moveTo>
                  <a:cubicBezTo>
                    <a:pt x="1262184" y="70873"/>
                    <a:pt x="1269550" y="78013"/>
                    <a:pt x="1285165" y="81582"/>
                  </a:cubicBezTo>
                  <a:lnTo>
                    <a:pt x="1299582" y="84928"/>
                  </a:lnTo>
                  <a:cubicBezTo>
                    <a:pt x="1307318" y="86714"/>
                    <a:pt x="1310810" y="89688"/>
                    <a:pt x="1310810" y="94299"/>
                  </a:cubicBezTo>
                  <a:cubicBezTo>
                    <a:pt x="1310810" y="100472"/>
                    <a:pt x="1304340" y="104711"/>
                    <a:pt x="1295052" y="104711"/>
                  </a:cubicBezTo>
                  <a:cubicBezTo>
                    <a:pt x="1285831" y="104711"/>
                    <a:pt x="1280103" y="100993"/>
                    <a:pt x="1278323" y="94968"/>
                  </a:cubicBezTo>
                  <a:lnTo>
                    <a:pt x="1260110" y="94968"/>
                  </a:lnTo>
                  <a:cubicBezTo>
                    <a:pt x="1261518" y="109619"/>
                    <a:pt x="1274308" y="118395"/>
                    <a:pt x="1294605" y="118395"/>
                  </a:cubicBezTo>
                  <a:cubicBezTo>
                    <a:pt x="1314893" y="118395"/>
                    <a:pt x="1329243" y="108057"/>
                    <a:pt x="1329243" y="92514"/>
                  </a:cubicBezTo>
                  <a:cubicBezTo>
                    <a:pt x="1329243" y="80541"/>
                    <a:pt x="1322030" y="73922"/>
                    <a:pt x="1306500" y="70353"/>
                  </a:cubicBezTo>
                  <a:lnTo>
                    <a:pt x="1292150" y="67155"/>
                  </a:lnTo>
                  <a:cubicBezTo>
                    <a:pt x="1283966" y="65221"/>
                    <a:pt x="1280103" y="62320"/>
                    <a:pt x="1280103" y="57710"/>
                  </a:cubicBezTo>
                  <a:cubicBezTo>
                    <a:pt x="1280103" y="51686"/>
                    <a:pt x="1286421" y="47596"/>
                    <a:pt x="1294824" y="47596"/>
                  </a:cubicBezTo>
                  <a:cubicBezTo>
                    <a:pt x="1303445" y="47596"/>
                    <a:pt x="1308879" y="51314"/>
                    <a:pt x="1310211" y="57041"/>
                  </a:cubicBezTo>
                  <a:lnTo>
                    <a:pt x="1327539" y="57041"/>
                  </a:lnTo>
                  <a:cubicBezTo>
                    <a:pt x="1326197" y="42390"/>
                    <a:pt x="1314084" y="33912"/>
                    <a:pt x="1294748" y="33912"/>
                  </a:cubicBezTo>
                  <a:cubicBezTo>
                    <a:pt x="1275573" y="33912"/>
                    <a:pt x="1262184" y="44101"/>
                    <a:pt x="1262184" y="58676"/>
                  </a:cubicBezTo>
                  <a:close/>
                  <a:moveTo>
                    <a:pt x="1353632" y="139739"/>
                  </a:moveTo>
                  <a:lnTo>
                    <a:pt x="1392142" y="4015"/>
                  </a:lnTo>
                  <a:lnTo>
                    <a:pt x="1375566" y="4015"/>
                  </a:lnTo>
                  <a:lnTo>
                    <a:pt x="1336979" y="139739"/>
                  </a:lnTo>
                  <a:lnTo>
                    <a:pt x="1353632" y="139739"/>
                  </a:lnTo>
                  <a:close/>
                  <a:moveTo>
                    <a:pt x="1448267" y="34135"/>
                  </a:moveTo>
                  <a:cubicBezTo>
                    <a:pt x="1437114" y="34135"/>
                    <a:pt x="1427675" y="39712"/>
                    <a:pt x="1422993" y="48934"/>
                  </a:cubicBezTo>
                  <a:lnTo>
                    <a:pt x="1421727" y="48934"/>
                  </a:lnTo>
                  <a:lnTo>
                    <a:pt x="1421727" y="35473"/>
                  </a:lnTo>
                  <a:lnTo>
                    <a:pt x="1403961" y="35473"/>
                  </a:lnTo>
                  <a:lnTo>
                    <a:pt x="1403961" y="143754"/>
                  </a:lnTo>
                  <a:lnTo>
                    <a:pt x="1422393" y="143754"/>
                  </a:lnTo>
                  <a:lnTo>
                    <a:pt x="1422393" y="104413"/>
                  </a:lnTo>
                  <a:lnTo>
                    <a:pt x="1423659" y="104413"/>
                  </a:lnTo>
                  <a:cubicBezTo>
                    <a:pt x="1427827" y="113040"/>
                    <a:pt x="1436819" y="118097"/>
                    <a:pt x="1448495" y="118097"/>
                  </a:cubicBezTo>
                  <a:cubicBezTo>
                    <a:pt x="1469011" y="118097"/>
                    <a:pt x="1481801" y="101959"/>
                    <a:pt x="1481801" y="76154"/>
                  </a:cubicBezTo>
                  <a:cubicBezTo>
                    <a:pt x="1481801" y="50124"/>
                    <a:pt x="1468859" y="34135"/>
                    <a:pt x="1448267" y="34135"/>
                  </a:cubicBezTo>
                  <a:close/>
                  <a:moveTo>
                    <a:pt x="1442472" y="102777"/>
                  </a:moveTo>
                  <a:cubicBezTo>
                    <a:pt x="1429901" y="102777"/>
                    <a:pt x="1422098" y="92588"/>
                    <a:pt x="1422022" y="76154"/>
                  </a:cubicBezTo>
                  <a:cubicBezTo>
                    <a:pt x="1422098" y="59718"/>
                    <a:pt x="1429977" y="49529"/>
                    <a:pt x="1442548" y="49529"/>
                  </a:cubicBezTo>
                  <a:cubicBezTo>
                    <a:pt x="1455185" y="49529"/>
                    <a:pt x="1462836" y="59495"/>
                    <a:pt x="1462836" y="76154"/>
                  </a:cubicBezTo>
                  <a:cubicBezTo>
                    <a:pt x="1462836" y="92812"/>
                    <a:pt x="1455251" y="102777"/>
                    <a:pt x="1442472" y="102777"/>
                  </a:cubicBezTo>
                  <a:close/>
                  <a:moveTo>
                    <a:pt x="1500309" y="116759"/>
                  </a:moveTo>
                  <a:lnTo>
                    <a:pt x="1518741" y="116759"/>
                  </a:lnTo>
                  <a:lnTo>
                    <a:pt x="1518741" y="69535"/>
                  </a:lnTo>
                  <a:cubicBezTo>
                    <a:pt x="1518741" y="58081"/>
                    <a:pt x="1527067" y="50645"/>
                    <a:pt x="1539039" y="50645"/>
                  </a:cubicBezTo>
                  <a:cubicBezTo>
                    <a:pt x="1542160" y="50645"/>
                    <a:pt x="1547070" y="51166"/>
                    <a:pt x="1548478" y="51686"/>
                  </a:cubicBezTo>
                  <a:lnTo>
                    <a:pt x="1548478" y="34878"/>
                  </a:lnTo>
                  <a:cubicBezTo>
                    <a:pt x="1546775" y="34433"/>
                    <a:pt x="1543501" y="34135"/>
                    <a:pt x="1540827" y="34135"/>
                  </a:cubicBezTo>
                  <a:cubicBezTo>
                    <a:pt x="1530341" y="34135"/>
                    <a:pt x="1521567" y="40084"/>
                    <a:pt x="1519341" y="48117"/>
                  </a:cubicBezTo>
                  <a:lnTo>
                    <a:pt x="1518075" y="48117"/>
                  </a:lnTo>
                  <a:lnTo>
                    <a:pt x="1518075" y="35473"/>
                  </a:lnTo>
                  <a:lnTo>
                    <a:pt x="1500309" y="35473"/>
                  </a:lnTo>
                  <a:lnTo>
                    <a:pt x="1500309" y="116759"/>
                  </a:lnTo>
                  <a:close/>
                  <a:moveTo>
                    <a:pt x="1573020" y="21864"/>
                  </a:moveTo>
                  <a:cubicBezTo>
                    <a:pt x="1579110" y="21864"/>
                    <a:pt x="1584096" y="17030"/>
                    <a:pt x="1584096" y="10932"/>
                  </a:cubicBezTo>
                  <a:cubicBezTo>
                    <a:pt x="1584096" y="4908"/>
                    <a:pt x="1579110" y="0"/>
                    <a:pt x="1573020" y="0"/>
                  </a:cubicBezTo>
                  <a:cubicBezTo>
                    <a:pt x="1566996" y="0"/>
                    <a:pt x="1562010" y="4908"/>
                    <a:pt x="1562010" y="10932"/>
                  </a:cubicBezTo>
                  <a:cubicBezTo>
                    <a:pt x="1562010" y="17030"/>
                    <a:pt x="1566996" y="21864"/>
                    <a:pt x="1573020" y="21864"/>
                  </a:cubicBezTo>
                  <a:close/>
                  <a:moveTo>
                    <a:pt x="1563875" y="116759"/>
                  </a:moveTo>
                  <a:lnTo>
                    <a:pt x="1582231" y="116759"/>
                  </a:lnTo>
                  <a:lnTo>
                    <a:pt x="1582231" y="35473"/>
                  </a:lnTo>
                  <a:lnTo>
                    <a:pt x="1563875" y="35473"/>
                  </a:lnTo>
                  <a:lnTo>
                    <a:pt x="1563875" y="116759"/>
                  </a:lnTo>
                  <a:close/>
                  <a:moveTo>
                    <a:pt x="1640221" y="118395"/>
                  </a:moveTo>
                  <a:cubicBezTo>
                    <a:pt x="1664533" y="118395"/>
                    <a:pt x="1679321" y="102480"/>
                    <a:pt x="1679321" y="76079"/>
                  </a:cubicBezTo>
                  <a:cubicBezTo>
                    <a:pt x="1679321" y="49827"/>
                    <a:pt x="1664457" y="33912"/>
                    <a:pt x="1640221" y="33912"/>
                  </a:cubicBezTo>
                  <a:cubicBezTo>
                    <a:pt x="1616060" y="33912"/>
                    <a:pt x="1601120" y="49902"/>
                    <a:pt x="1601120" y="76079"/>
                  </a:cubicBezTo>
                  <a:cubicBezTo>
                    <a:pt x="1601120" y="102480"/>
                    <a:pt x="1615841" y="118395"/>
                    <a:pt x="1640221" y="118395"/>
                  </a:cubicBezTo>
                  <a:close/>
                  <a:moveTo>
                    <a:pt x="1640221" y="103298"/>
                  </a:moveTo>
                  <a:cubicBezTo>
                    <a:pt x="1627355" y="103298"/>
                    <a:pt x="1619999" y="93333"/>
                    <a:pt x="1619999" y="76154"/>
                  </a:cubicBezTo>
                  <a:cubicBezTo>
                    <a:pt x="1619999" y="58974"/>
                    <a:pt x="1627355" y="49009"/>
                    <a:pt x="1640221" y="49009"/>
                  </a:cubicBezTo>
                  <a:cubicBezTo>
                    <a:pt x="1653010" y="49009"/>
                    <a:pt x="1660366" y="58974"/>
                    <a:pt x="1660366" y="76154"/>
                  </a:cubicBezTo>
                  <a:cubicBezTo>
                    <a:pt x="1660366" y="93333"/>
                    <a:pt x="1653086" y="103298"/>
                    <a:pt x="1640221" y="103298"/>
                  </a:cubicBezTo>
                  <a:close/>
                  <a:moveTo>
                    <a:pt x="1697906" y="116759"/>
                  </a:moveTo>
                  <a:lnTo>
                    <a:pt x="1716347" y="116759"/>
                  </a:lnTo>
                  <a:lnTo>
                    <a:pt x="1716347" y="69535"/>
                  </a:lnTo>
                  <a:cubicBezTo>
                    <a:pt x="1716347" y="58081"/>
                    <a:pt x="1724674" y="50645"/>
                    <a:pt x="1736645" y="50645"/>
                  </a:cubicBezTo>
                  <a:cubicBezTo>
                    <a:pt x="1739766" y="50645"/>
                    <a:pt x="1744676" y="51166"/>
                    <a:pt x="1746084" y="51686"/>
                  </a:cubicBezTo>
                  <a:lnTo>
                    <a:pt x="1746084" y="34878"/>
                  </a:lnTo>
                  <a:cubicBezTo>
                    <a:pt x="1744372" y="34433"/>
                    <a:pt x="1741107" y="34135"/>
                    <a:pt x="1738424" y="34135"/>
                  </a:cubicBezTo>
                  <a:cubicBezTo>
                    <a:pt x="1727947" y="34135"/>
                    <a:pt x="1719174" y="40084"/>
                    <a:pt x="1716937" y="48117"/>
                  </a:cubicBezTo>
                  <a:lnTo>
                    <a:pt x="1715681" y="48117"/>
                  </a:lnTo>
                  <a:lnTo>
                    <a:pt x="1715681" y="35473"/>
                  </a:lnTo>
                  <a:lnTo>
                    <a:pt x="1697906" y="35473"/>
                  </a:lnTo>
                  <a:lnTo>
                    <a:pt x="1697906" y="116759"/>
                  </a:lnTo>
                  <a:close/>
                  <a:moveTo>
                    <a:pt x="1770616" y="21864"/>
                  </a:moveTo>
                  <a:cubicBezTo>
                    <a:pt x="1776716" y="21864"/>
                    <a:pt x="1781693" y="17030"/>
                    <a:pt x="1781693" y="10932"/>
                  </a:cubicBezTo>
                  <a:cubicBezTo>
                    <a:pt x="1781693" y="4908"/>
                    <a:pt x="1776716" y="0"/>
                    <a:pt x="1770616" y="0"/>
                  </a:cubicBezTo>
                  <a:cubicBezTo>
                    <a:pt x="1764593" y="0"/>
                    <a:pt x="1759616" y="4908"/>
                    <a:pt x="1759616" y="10932"/>
                  </a:cubicBezTo>
                  <a:cubicBezTo>
                    <a:pt x="1759616" y="17030"/>
                    <a:pt x="1764593" y="21864"/>
                    <a:pt x="1770616" y="21864"/>
                  </a:cubicBezTo>
                  <a:close/>
                  <a:moveTo>
                    <a:pt x="1761472" y="116759"/>
                  </a:moveTo>
                  <a:lnTo>
                    <a:pt x="1779837" y="116759"/>
                  </a:lnTo>
                  <a:lnTo>
                    <a:pt x="1779837" y="35473"/>
                  </a:lnTo>
                  <a:lnTo>
                    <a:pt x="1761472" y="35473"/>
                  </a:lnTo>
                  <a:lnTo>
                    <a:pt x="1761472" y="116759"/>
                  </a:lnTo>
                  <a:close/>
                  <a:moveTo>
                    <a:pt x="1808604" y="15543"/>
                  </a:moveTo>
                  <a:lnTo>
                    <a:pt x="1808604" y="35994"/>
                  </a:lnTo>
                  <a:lnTo>
                    <a:pt x="1795748" y="35994"/>
                  </a:lnTo>
                  <a:lnTo>
                    <a:pt x="1795748" y="50347"/>
                  </a:lnTo>
                  <a:lnTo>
                    <a:pt x="1808604" y="50347"/>
                  </a:lnTo>
                  <a:lnTo>
                    <a:pt x="1808604" y="95192"/>
                  </a:lnTo>
                  <a:cubicBezTo>
                    <a:pt x="1808604" y="110883"/>
                    <a:pt x="1816045" y="117131"/>
                    <a:pt x="1834705" y="117131"/>
                  </a:cubicBezTo>
                  <a:cubicBezTo>
                    <a:pt x="1838265" y="117131"/>
                    <a:pt x="1841690" y="116833"/>
                    <a:pt x="1844364" y="116312"/>
                  </a:cubicBezTo>
                  <a:lnTo>
                    <a:pt x="1844364" y="102183"/>
                  </a:lnTo>
                  <a:cubicBezTo>
                    <a:pt x="1842137" y="102406"/>
                    <a:pt x="1840720" y="102554"/>
                    <a:pt x="1838122" y="102554"/>
                  </a:cubicBezTo>
                  <a:cubicBezTo>
                    <a:pt x="1830385" y="102554"/>
                    <a:pt x="1826969" y="98910"/>
                    <a:pt x="1826969" y="90804"/>
                  </a:cubicBezTo>
                  <a:lnTo>
                    <a:pt x="1826969" y="50347"/>
                  </a:lnTo>
                  <a:lnTo>
                    <a:pt x="1844364" y="50347"/>
                  </a:lnTo>
                  <a:lnTo>
                    <a:pt x="1844364" y="35994"/>
                  </a:lnTo>
                  <a:lnTo>
                    <a:pt x="1826969" y="35994"/>
                  </a:lnTo>
                  <a:lnTo>
                    <a:pt x="1826969" y="15543"/>
                  </a:lnTo>
                  <a:lnTo>
                    <a:pt x="1808604" y="15543"/>
                  </a:lnTo>
                  <a:close/>
                  <a:moveTo>
                    <a:pt x="1872169" y="21864"/>
                  </a:moveTo>
                  <a:cubicBezTo>
                    <a:pt x="1878269" y="21864"/>
                    <a:pt x="1883246" y="17030"/>
                    <a:pt x="1883246" y="10932"/>
                  </a:cubicBezTo>
                  <a:cubicBezTo>
                    <a:pt x="1883246" y="4908"/>
                    <a:pt x="1878269" y="0"/>
                    <a:pt x="1872169" y="0"/>
                  </a:cubicBezTo>
                  <a:cubicBezTo>
                    <a:pt x="1866146" y="0"/>
                    <a:pt x="1861169" y="4908"/>
                    <a:pt x="1861169" y="10932"/>
                  </a:cubicBezTo>
                  <a:cubicBezTo>
                    <a:pt x="1861169" y="17030"/>
                    <a:pt x="1866146" y="21864"/>
                    <a:pt x="1872169" y="21864"/>
                  </a:cubicBezTo>
                  <a:close/>
                  <a:moveTo>
                    <a:pt x="1863025" y="116759"/>
                  </a:moveTo>
                  <a:lnTo>
                    <a:pt x="1881390" y="116759"/>
                  </a:lnTo>
                  <a:lnTo>
                    <a:pt x="1881390" y="35473"/>
                  </a:lnTo>
                  <a:lnTo>
                    <a:pt x="1863025" y="35473"/>
                  </a:lnTo>
                  <a:lnTo>
                    <a:pt x="1863025" y="116759"/>
                  </a:lnTo>
                  <a:close/>
                  <a:moveTo>
                    <a:pt x="1902430" y="116759"/>
                  </a:moveTo>
                  <a:lnTo>
                    <a:pt x="1968298" y="116759"/>
                  </a:lnTo>
                  <a:lnTo>
                    <a:pt x="1968298" y="102257"/>
                  </a:lnTo>
                  <a:lnTo>
                    <a:pt x="1925991" y="102257"/>
                  </a:lnTo>
                  <a:lnTo>
                    <a:pt x="1925991" y="100993"/>
                  </a:lnTo>
                  <a:lnTo>
                    <a:pt x="1967623" y="47819"/>
                  </a:lnTo>
                  <a:lnTo>
                    <a:pt x="1967623" y="35473"/>
                  </a:lnTo>
                  <a:lnTo>
                    <a:pt x="1902801" y="35473"/>
                  </a:lnTo>
                  <a:lnTo>
                    <a:pt x="1902801" y="49976"/>
                  </a:lnTo>
                  <a:lnTo>
                    <a:pt x="1945622" y="49976"/>
                  </a:lnTo>
                  <a:lnTo>
                    <a:pt x="1945622" y="51314"/>
                  </a:lnTo>
                  <a:lnTo>
                    <a:pt x="1902430" y="105455"/>
                  </a:lnTo>
                  <a:lnTo>
                    <a:pt x="1902430" y="116759"/>
                  </a:lnTo>
                  <a:close/>
                  <a:moveTo>
                    <a:pt x="2039962" y="94523"/>
                  </a:moveTo>
                  <a:cubicBezTo>
                    <a:pt x="2037288" y="100621"/>
                    <a:pt x="2030960" y="104042"/>
                    <a:pt x="2021825" y="104042"/>
                  </a:cubicBezTo>
                  <a:cubicBezTo>
                    <a:pt x="2009702" y="104042"/>
                    <a:pt x="2001899" y="95415"/>
                    <a:pt x="2001452" y="81657"/>
                  </a:cubicBezTo>
                  <a:lnTo>
                    <a:pt x="2001452" y="80689"/>
                  </a:lnTo>
                  <a:lnTo>
                    <a:pt x="2058252" y="80689"/>
                  </a:lnTo>
                  <a:lnTo>
                    <a:pt x="2058252" y="74815"/>
                  </a:lnTo>
                  <a:cubicBezTo>
                    <a:pt x="2058252" y="49307"/>
                    <a:pt x="2044349" y="33912"/>
                    <a:pt x="2021150" y="33912"/>
                  </a:cubicBezTo>
                  <a:cubicBezTo>
                    <a:pt x="1997588" y="33912"/>
                    <a:pt x="1982943" y="50347"/>
                    <a:pt x="1982943" y="76451"/>
                  </a:cubicBezTo>
                  <a:cubicBezTo>
                    <a:pt x="1982943" y="102480"/>
                    <a:pt x="1997360" y="118395"/>
                    <a:pt x="2021302" y="118395"/>
                  </a:cubicBezTo>
                  <a:cubicBezTo>
                    <a:pt x="2040476" y="118395"/>
                    <a:pt x="2054084" y="109173"/>
                    <a:pt x="2057433" y="94523"/>
                  </a:cubicBezTo>
                  <a:lnTo>
                    <a:pt x="2039962" y="94523"/>
                  </a:lnTo>
                  <a:close/>
                  <a:moveTo>
                    <a:pt x="2021074" y="48265"/>
                  </a:moveTo>
                  <a:cubicBezTo>
                    <a:pt x="2032159" y="48265"/>
                    <a:pt x="2039439" y="56074"/>
                    <a:pt x="2039810" y="68419"/>
                  </a:cubicBezTo>
                  <a:lnTo>
                    <a:pt x="2001528" y="68419"/>
                  </a:lnTo>
                  <a:cubicBezTo>
                    <a:pt x="2002346" y="56222"/>
                    <a:pt x="2010073" y="48265"/>
                    <a:pt x="2021074" y="48265"/>
                  </a:cubicBezTo>
                  <a:close/>
                  <a:moveTo>
                    <a:pt x="2090511" y="118246"/>
                  </a:moveTo>
                  <a:cubicBezTo>
                    <a:pt x="2097571" y="118246"/>
                    <a:pt x="2102406" y="113263"/>
                    <a:pt x="2102406" y="106645"/>
                  </a:cubicBezTo>
                  <a:cubicBezTo>
                    <a:pt x="2102406" y="100100"/>
                    <a:pt x="2097571" y="95118"/>
                    <a:pt x="2090511" y="95118"/>
                  </a:cubicBezTo>
                  <a:cubicBezTo>
                    <a:pt x="2083526" y="95118"/>
                    <a:pt x="2078616" y="100100"/>
                    <a:pt x="2078616" y="106645"/>
                  </a:cubicBezTo>
                  <a:cubicBezTo>
                    <a:pt x="2078616" y="113263"/>
                    <a:pt x="2083526" y="118246"/>
                    <a:pt x="2090511" y="118246"/>
                  </a:cubicBezTo>
                  <a:close/>
                  <a:moveTo>
                    <a:pt x="2125082" y="146209"/>
                  </a:moveTo>
                  <a:cubicBezTo>
                    <a:pt x="2143295" y="146209"/>
                    <a:pt x="2151993" y="139589"/>
                    <a:pt x="2158911" y="119585"/>
                  </a:cubicBezTo>
                  <a:lnTo>
                    <a:pt x="2188276" y="35473"/>
                  </a:lnTo>
                  <a:lnTo>
                    <a:pt x="2168797" y="35473"/>
                  </a:lnTo>
                  <a:lnTo>
                    <a:pt x="2149842" y="99282"/>
                  </a:lnTo>
                  <a:lnTo>
                    <a:pt x="2148576" y="99282"/>
                  </a:lnTo>
                  <a:lnTo>
                    <a:pt x="2129545" y="35473"/>
                  </a:lnTo>
                  <a:lnTo>
                    <a:pt x="2109323" y="35473"/>
                  </a:lnTo>
                  <a:lnTo>
                    <a:pt x="2138394" y="117056"/>
                  </a:lnTo>
                  <a:lnTo>
                    <a:pt x="2137424" y="120849"/>
                  </a:lnTo>
                  <a:cubicBezTo>
                    <a:pt x="2135045" y="128509"/>
                    <a:pt x="2130658" y="131484"/>
                    <a:pt x="2122855" y="131484"/>
                  </a:cubicBezTo>
                  <a:cubicBezTo>
                    <a:pt x="2121589" y="131484"/>
                    <a:pt x="2118839" y="131410"/>
                    <a:pt x="2117802" y="131260"/>
                  </a:cubicBezTo>
                  <a:lnTo>
                    <a:pt x="2117802" y="145911"/>
                  </a:lnTo>
                  <a:cubicBezTo>
                    <a:pt x="2118982" y="146134"/>
                    <a:pt x="2123968" y="146209"/>
                    <a:pt x="2125082" y="146209"/>
                  </a:cubicBezTo>
                  <a:close/>
                  <a:moveTo>
                    <a:pt x="2204187" y="116759"/>
                  </a:moveTo>
                  <a:lnTo>
                    <a:pt x="2222619" y="116759"/>
                  </a:lnTo>
                  <a:lnTo>
                    <a:pt x="2222619" y="67304"/>
                  </a:lnTo>
                  <a:cubicBezTo>
                    <a:pt x="2222619" y="57189"/>
                    <a:pt x="2229385" y="49529"/>
                    <a:pt x="2238530" y="49529"/>
                  </a:cubicBezTo>
                  <a:cubicBezTo>
                    <a:pt x="2247598" y="49529"/>
                    <a:pt x="2253251" y="55032"/>
                    <a:pt x="2253251" y="64031"/>
                  </a:cubicBezTo>
                  <a:lnTo>
                    <a:pt x="2253251" y="116759"/>
                  </a:lnTo>
                  <a:lnTo>
                    <a:pt x="2271169" y="116759"/>
                  </a:lnTo>
                  <a:lnTo>
                    <a:pt x="2271169" y="65965"/>
                  </a:lnTo>
                  <a:cubicBezTo>
                    <a:pt x="2271169" y="56669"/>
                    <a:pt x="2277488" y="49529"/>
                    <a:pt x="2287079" y="49529"/>
                  </a:cubicBezTo>
                  <a:cubicBezTo>
                    <a:pt x="2296966" y="49529"/>
                    <a:pt x="2301943" y="54810"/>
                    <a:pt x="2301943" y="65370"/>
                  </a:cubicBezTo>
                  <a:lnTo>
                    <a:pt x="2301943" y="116759"/>
                  </a:lnTo>
                  <a:lnTo>
                    <a:pt x="2320309" y="116759"/>
                  </a:lnTo>
                  <a:lnTo>
                    <a:pt x="2320309" y="60833"/>
                  </a:lnTo>
                  <a:cubicBezTo>
                    <a:pt x="2320309" y="43952"/>
                    <a:pt x="2310498" y="33912"/>
                    <a:pt x="2294216" y="33912"/>
                  </a:cubicBezTo>
                  <a:cubicBezTo>
                    <a:pt x="2282912" y="33912"/>
                    <a:pt x="2273548" y="39712"/>
                    <a:pt x="2269532" y="48562"/>
                  </a:cubicBezTo>
                  <a:lnTo>
                    <a:pt x="2268267" y="48562"/>
                  </a:lnTo>
                  <a:cubicBezTo>
                    <a:pt x="2264850" y="39564"/>
                    <a:pt x="2257038" y="33912"/>
                    <a:pt x="2245819" y="33912"/>
                  </a:cubicBezTo>
                  <a:cubicBezTo>
                    <a:pt x="2235037" y="33912"/>
                    <a:pt x="2226711" y="39415"/>
                    <a:pt x="2223219" y="48562"/>
                  </a:cubicBezTo>
                  <a:lnTo>
                    <a:pt x="2221953" y="48562"/>
                  </a:lnTo>
                  <a:lnTo>
                    <a:pt x="2221953" y="35473"/>
                  </a:lnTo>
                  <a:lnTo>
                    <a:pt x="2204187" y="35473"/>
                  </a:lnTo>
                  <a:lnTo>
                    <a:pt x="2204187" y="116759"/>
                  </a:lnTo>
                  <a:close/>
                  <a:moveTo>
                    <a:pt x="2342909" y="116759"/>
                  </a:moveTo>
                  <a:lnTo>
                    <a:pt x="2361341" y="116759"/>
                  </a:lnTo>
                  <a:lnTo>
                    <a:pt x="2361341" y="4015"/>
                  </a:lnTo>
                  <a:lnTo>
                    <a:pt x="2342909" y="4015"/>
                  </a:lnTo>
                  <a:lnTo>
                    <a:pt x="2342909" y="116759"/>
                  </a:lnTo>
                  <a:close/>
                </a:path>
              </a:pathLst>
            </a:custGeom>
            <a:solidFill>
              <a:srgbClr val="FAFBFC"/>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sp>
          <p:nvSpPr>
            <p:cNvPr id="3697" name="Google Shape;3697;p192"/>
            <p:cNvSpPr/>
            <p:nvPr/>
          </p:nvSpPr>
          <p:spPr>
            <a:xfrm>
              <a:off x="4969138" y="3464946"/>
              <a:ext cx="127181" cy="3080707"/>
            </a:xfrm>
            <a:custGeom>
              <a:avLst/>
              <a:gdLst/>
              <a:ahLst/>
              <a:cxnLst/>
              <a:rect l="l" t="t" r="r" b="b"/>
              <a:pathLst>
                <a:path w="127181" h="3080707" extrusionOk="0">
                  <a:moveTo>
                    <a:pt x="126847" y="80486"/>
                  </a:moveTo>
                  <a:lnTo>
                    <a:pt x="126847" y="71840"/>
                  </a:lnTo>
                  <a:lnTo>
                    <a:pt x="104210" y="71840"/>
                  </a:lnTo>
                  <a:lnTo>
                    <a:pt x="104210" y="0"/>
                  </a:lnTo>
                  <a:lnTo>
                    <a:pt x="94564" y="0"/>
                  </a:lnTo>
                  <a:lnTo>
                    <a:pt x="70589" y="15562"/>
                  </a:lnTo>
                  <a:lnTo>
                    <a:pt x="70589" y="26047"/>
                  </a:lnTo>
                  <a:lnTo>
                    <a:pt x="93616" y="11156"/>
                  </a:lnTo>
                  <a:lnTo>
                    <a:pt x="94508" y="11156"/>
                  </a:lnTo>
                  <a:lnTo>
                    <a:pt x="94508" y="71840"/>
                  </a:lnTo>
                  <a:lnTo>
                    <a:pt x="70755" y="71840"/>
                  </a:lnTo>
                  <a:lnTo>
                    <a:pt x="70755" y="80486"/>
                  </a:lnTo>
                  <a:lnTo>
                    <a:pt x="126847" y="80486"/>
                  </a:lnTo>
                  <a:close/>
                  <a:moveTo>
                    <a:pt x="70811" y="222548"/>
                  </a:moveTo>
                  <a:lnTo>
                    <a:pt x="70811" y="222883"/>
                  </a:lnTo>
                  <a:lnTo>
                    <a:pt x="80290" y="222883"/>
                  </a:lnTo>
                  <a:lnTo>
                    <a:pt x="80290" y="222548"/>
                  </a:lnTo>
                  <a:cubicBezTo>
                    <a:pt x="80290" y="213066"/>
                    <a:pt x="86423" y="206875"/>
                    <a:pt x="95679" y="206875"/>
                  </a:cubicBezTo>
                  <a:cubicBezTo>
                    <a:pt x="105046" y="206875"/>
                    <a:pt x="111123" y="212565"/>
                    <a:pt x="111123" y="221210"/>
                  </a:cubicBezTo>
                  <a:cubicBezTo>
                    <a:pt x="111123" y="227569"/>
                    <a:pt x="108670" y="231863"/>
                    <a:pt x="98467" y="243297"/>
                  </a:cubicBezTo>
                  <a:lnTo>
                    <a:pt x="71258" y="273585"/>
                  </a:lnTo>
                  <a:lnTo>
                    <a:pt x="71258" y="280389"/>
                  </a:lnTo>
                  <a:lnTo>
                    <a:pt x="122164" y="280389"/>
                  </a:lnTo>
                  <a:lnTo>
                    <a:pt x="122164" y="271465"/>
                  </a:lnTo>
                  <a:lnTo>
                    <a:pt x="85308" y="271465"/>
                  </a:lnTo>
                  <a:lnTo>
                    <a:pt x="85308" y="270517"/>
                  </a:lnTo>
                  <a:lnTo>
                    <a:pt x="104265" y="249879"/>
                  </a:lnTo>
                  <a:cubicBezTo>
                    <a:pt x="117090" y="235879"/>
                    <a:pt x="120881" y="229186"/>
                    <a:pt x="120881" y="220820"/>
                  </a:cubicBezTo>
                  <a:cubicBezTo>
                    <a:pt x="120881" y="207378"/>
                    <a:pt x="110733" y="198230"/>
                    <a:pt x="95958" y="198230"/>
                  </a:cubicBezTo>
                  <a:cubicBezTo>
                    <a:pt x="81294" y="198230"/>
                    <a:pt x="70811" y="208381"/>
                    <a:pt x="70811" y="222548"/>
                  </a:cubicBezTo>
                  <a:close/>
                  <a:moveTo>
                    <a:pt x="86647" y="442977"/>
                  </a:moveTo>
                  <a:lnTo>
                    <a:pt x="95847" y="442977"/>
                  </a:lnTo>
                  <a:cubicBezTo>
                    <a:pt x="106997" y="442977"/>
                    <a:pt x="114079" y="448945"/>
                    <a:pt x="114079" y="458312"/>
                  </a:cubicBezTo>
                  <a:cubicBezTo>
                    <a:pt x="114079" y="467403"/>
                    <a:pt x="107221" y="473096"/>
                    <a:pt x="96181" y="473096"/>
                  </a:cubicBezTo>
                  <a:cubicBezTo>
                    <a:pt x="86144" y="473096"/>
                    <a:pt x="79007" y="467517"/>
                    <a:pt x="78116" y="458931"/>
                  </a:cubicBezTo>
                  <a:lnTo>
                    <a:pt x="68804" y="458931"/>
                  </a:lnTo>
                  <a:cubicBezTo>
                    <a:pt x="69529" y="472819"/>
                    <a:pt x="80569" y="481967"/>
                    <a:pt x="96459" y="481967"/>
                  </a:cubicBezTo>
                  <a:cubicBezTo>
                    <a:pt x="112517" y="481967"/>
                    <a:pt x="124003" y="472201"/>
                    <a:pt x="124003" y="458541"/>
                  </a:cubicBezTo>
                  <a:cubicBezTo>
                    <a:pt x="124003" y="447555"/>
                    <a:pt x="117647" y="440026"/>
                    <a:pt x="106942" y="438626"/>
                  </a:cubicBezTo>
                  <a:lnTo>
                    <a:pt x="106942" y="437732"/>
                  </a:lnTo>
                  <a:cubicBezTo>
                    <a:pt x="115584" y="435618"/>
                    <a:pt x="120658" y="428698"/>
                    <a:pt x="120658" y="418998"/>
                  </a:cubicBezTo>
                  <a:cubicBezTo>
                    <a:pt x="120658" y="406775"/>
                    <a:pt x="110399" y="398132"/>
                    <a:pt x="96013" y="398132"/>
                  </a:cubicBezTo>
                  <a:cubicBezTo>
                    <a:pt x="81126" y="398132"/>
                    <a:pt x="71313" y="406775"/>
                    <a:pt x="70365" y="420721"/>
                  </a:cubicBezTo>
                  <a:lnTo>
                    <a:pt x="79789" y="420721"/>
                  </a:lnTo>
                  <a:cubicBezTo>
                    <a:pt x="80569" y="412077"/>
                    <a:pt x="86590" y="406775"/>
                    <a:pt x="95623" y="406775"/>
                  </a:cubicBezTo>
                  <a:cubicBezTo>
                    <a:pt x="104712" y="406775"/>
                    <a:pt x="110733" y="412192"/>
                    <a:pt x="110733" y="420388"/>
                  </a:cubicBezTo>
                  <a:cubicBezTo>
                    <a:pt x="110733" y="428812"/>
                    <a:pt x="104433" y="434724"/>
                    <a:pt x="95400" y="434724"/>
                  </a:cubicBezTo>
                  <a:lnTo>
                    <a:pt x="86647" y="434724"/>
                  </a:lnTo>
                  <a:lnTo>
                    <a:pt x="86647" y="442977"/>
                  </a:lnTo>
                  <a:close/>
                  <a:moveTo>
                    <a:pt x="105882" y="680195"/>
                  </a:moveTo>
                  <a:lnTo>
                    <a:pt x="114859" y="680195"/>
                  </a:lnTo>
                  <a:lnTo>
                    <a:pt x="114859" y="663184"/>
                  </a:lnTo>
                  <a:lnTo>
                    <a:pt x="127181" y="663184"/>
                  </a:lnTo>
                  <a:lnTo>
                    <a:pt x="127181" y="654541"/>
                  </a:lnTo>
                  <a:lnTo>
                    <a:pt x="114915" y="654541"/>
                  </a:lnTo>
                  <a:lnTo>
                    <a:pt x="114915" y="631666"/>
                  </a:lnTo>
                  <a:lnTo>
                    <a:pt x="105994" y="631666"/>
                  </a:lnTo>
                  <a:lnTo>
                    <a:pt x="105994" y="654646"/>
                  </a:lnTo>
                  <a:lnTo>
                    <a:pt x="79621" y="654646"/>
                  </a:lnTo>
                  <a:lnTo>
                    <a:pt x="79621" y="653922"/>
                  </a:lnTo>
                  <a:lnTo>
                    <a:pt x="106552" y="599710"/>
                  </a:lnTo>
                  <a:lnTo>
                    <a:pt x="96515" y="599710"/>
                  </a:lnTo>
                  <a:lnTo>
                    <a:pt x="69195" y="655207"/>
                  </a:lnTo>
                  <a:lnTo>
                    <a:pt x="69195" y="663184"/>
                  </a:lnTo>
                  <a:lnTo>
                    <a:pt x="105882" y="663184"/>
                  </a:lnTo>
                  <a:lnTo>
                    <a:pt x="105882" y="680195"/>
                  </a:lnTo>
                  <a:close/>
                  <a:moveTo>
                    <a:pt x="95790" y="881716"/>
                  </a:moveTo>
                  <a:cubicBezTo>
                    <a:pt x="112127" y="881716"/>
                    <a:pt x="123223" y="870674"/>
                    <a:pt x="123223" y="854387"/>
                  </a:cubicBezTo>
                  <a:cubicBezTo>
                    <a:pt x="123223" y="838547"/>
                    <a:pt x="112852" y="827447"/>
                    <a:pt x="97965" y="827447"/>
                  </a:cubicBezTo>
                  <a:cubicBezTo>
                    <a:pt x="90884" y="827447"/>
                    <a:pt x="85141" y="829951"/>
                    <a:pt x="81182" y="834749"/>
                  </a:cubicBezTo>
                  <a:lnTo>
                    <a:pt x="80290" y="834749"/>
                  </a:lnTo>
                  <a:lnTo>
                    <a:pt x="82521" y="808485"/>
                  </a:lnTo>
                  <a:lnTo>
                    <a:pt x="118763" y="808485"/>
                  </a:lnTo>
                  <a:lnTo>
                    <a:pt x="118763" y="799613"/>
                  </a:lnTo>
                  <a:lnTo>
                    <a:pt x="74770" y="799613"/>
                  </a:lnTo>
                  <a:lnTo>
                    <a:pt x="70700" y="845068"/>
                  </a:lnTo>
                  <a:lnTo>
                    <a:pt x="80011" y="845068"/>
                  </a:lnTo>
                  <a:cubicBezTo>
                    <a:pt x="83189" y="839385"/>
                    <a:pt x="89155" y="836091"/>
                    <a:pt x="96348" y="836091"/>
                  </a:cubicBezTo>
                  <a:cubicBezTo>
                    <a:pt x="106663" y="836091"/>
                    <a:pt x="113633" y="843564"/>
                    <a:pt x="113633" y="854606"/>
                  </a:cubicBezTo>
                  <a:cubicBezTo>
                    <a:pt x="113633" y="865543"/>
                    <a:pt x="106718" y="872845"/>
                    <a:pt x="96348" y="872845"/>
                  </a:cubicBezTo>
                  <a:cubicBezTo>
                    <a:pt x="86925" y="872845"/>
                    <a:pt x="79732" y="867047"/>
                    <a:pt x="78841" y="858623"/>
                  </a:cubicBezTo>
                  <a:lnTo>
                    <a:pt x="69362" y="858623"/>
                  </a:lnTo>
                  <a:cubicBezTo>
                    <a:pt x="70197" y="872454"/>
                    <a:pt x="80792" y="881716"/>
                    <a:pt x="95790" y="881716"/>
                  </a:cubicBezTo>
                  <a:close/>
                  <a:moveTo>
                    <a:pt x="124059" y="1054176"/>
                  </a:moveTo>
                  <a:cubicBezTo>
                    <a:pt x="124059" y="1039507"/>
                    <a:pt x="113465" y="1028636"/>
                    <a:pt x="99136" y="1028636"/>
                  </a:cubicBezTo>
                  <a:cubicBezTo>
                    <a:pt x="94006" y="1028636"/>
                    <a:pt x="88207" y="1031025"/>
                    <a:pt x="85810" y="1034262"/>
                  </a:cubicBezTo>
                  <a:lnTo>
                    <a:pt x="84974" y="1033814"/>
                  </a:lnTo>
                  <a:cubicBezTo>
                    <a:pt x="85364" y="1032929"/>
                    <a:pt x="85141" y="1033148"/>
                    <a:pt x="87594" y="1029692"/>
                  </a:cubicBezTo>
                  <a:lnTo>
                    <a:pt x="109563" y="999517"/>
                  </a:lnTo>
                  <a:lnTo>
                    <a:pt x="98244" y="999517"/>
                  </a:lnTo>
                  <a:cubicBezTo>
                    <a:pt x="97686" y="1000354"/>
                    <a:pt x="80959" y="1023781"/>
                    <a:pt x="80234" y="1025009"/>
                  </a:cubicBezTo>
                  <a:cubicBezTo>
                    <a:pt x="72539" y="1036213"/>
                    <a:pt x="69362" y="1044752"/>
                    <a:pt x="69362" y="1054176"/>
                  </a:cubicBezTo>
                  <a:cubicBezTo>
                    <a:pt x="69362" y="1070187"/>
                    <a:pt x="80792" y="1081677"/>
                    <a:pt x="96627" y="1081677"/>
                  </a:cubicBezTo>
                  <a:cubicBezTo>
                    <a:pt x="112573" y="1081677"/>
                    <a:pt x="124059" y="1070130"/>
                    <a:pt x="124059" y="1054176"/>
                  </a:cubicBezTo>
                  <a:close/>
                  <a:moveTo>
                    <a:pt x="96683" y="1072919"/>
                  </a:moveTo>
                  <a:cubicBezTo>
                    <a:pt x="86590" y="1072919"/>
                    <a:pt x="78896" y="1064999"/>
                    <a:pt x="78896" y="1054680"/>
                  </a:cubicBezTo>
                  <a:cubicBezTo>
                    <a:pt x="78896" y="1044304"/>
                    <a:pt x="86590" y="1036384"/>
                    <a:pt x="96683" y="1036384"/>
                  </a:cubicBezTo>
                  <a:cubicBezTo>
                    <a:pt x="106831" y="1036384"/>
                    <a:pt x="114525" y="1044304"/>
                    <a:pt x="114525" y="1054680"/>
                  </a:cubicBezTo>
                  <a:cubicBezTo>
                    <a:pt x="114525" y="1064999"/>
                    <a:pt x="106831" y="1072919"/>
                    <a:pt x="96683" y="1072919"/>
                  </a:cubicBezTo>
                  <a:close/>
                  <a:moveTo>
                    <a:pt x="77168" y="1279904"/>
                  </a:moveTo>
                  <a:lnTo>
                    <a:pt x="87650" y="1279904"/>
                  </a:lnTo>
                  <a:lnTo>
                    <a:pt x="123724" y="1208511"/>
                  </a:lnTo>
                  <a:lnTo>
                    <a:pt x="123724" y="1199420"/>
                  </a:lnTo>
                  <a:lnTo>
                    <a:pt x="70031" y="1199420"/>
                  </a:lnTo>
                  <a:lnTo>
                    <a:pt x="70031" y="1208234"/>
                  </a:lnTo>
                  <a:lnTo>
                    <a:pt x="113689" y="1208234"/>
                  </a:lnTo>
                  <a:lnTo>
                    <a:pt x="113689" y="1208958"/>
                  </a:lnTo>
                  <a:lnTo>
                    <a:pt x="77168" y="1279904"/>
                  </a:lnTo>
                  <a:close/>
                  <a:moveTo>
                    <a:pt x="96738" y="1481597"/>
                  </a:moveTo>
                  <a:cubicBezTo>
                    <a:pt x="113465" y="1481597"/>
                    <a:pt x="125063" y="1472002"/>
                    <a:pt x="125063" y="1458275"/>
                  </a:cubicBezTo>
                  <a:cubicBezTo>
                    <a:pt x="125063" y="1448128"/>
                    <a:pt x="118428" y="1439817"/>
                    <a:pt x="108670" y="1437752"/>
                  </a:cubicBezTo>
                  <a:lnTo>
                    <a:pt x="108670" y="1436857"/>
                  </a:lnTo>
                  <a:cubicBezTo>
                    <a:pt x="116866" y="1434572"/>
                    <a:pt x="121829" y="1427709"/>
                    <a:pt x="121829" y="1418951"/>
                  </a:cubicBezTo>
                  <a:cubicBezTo>
                    <a:pt x="121829" y="1406405"/>
                    <a:pt x="111402" y="1397533"/>
                    <a:pt x="96738" y="1397533"/>
                  </a:cubicBezTo>
                  <a:cubicBezTo>
                    <a:pt x="82074" y="1397533"/>
                    <a:pt x="71592" y="1406405"/>
                    <a:pt x="71592" y="1418951"/>
                  </a:cubicBezTo>
                  <a:cubicBezTo>
                    <a:pt x="71592" y="1427709"/>
                    <a:pt x="76665" y="1434629"/>
                    <a:pt x="84750" y="1436857"/>
                  </a:cubicBezTo>
                  <a:lnTo>
                    <a:pt x="84750" y="1437752"/>
                  </a:lnTo>
                  <a:cubicBezTo>
                    <a:pt x="74826" y="1440151"/>
                    <a:pt x="68358" y="1448289"/>
                    <a:pt x="68358" y="1458275"/>
                  </a:cubicBezTo>
                  <a:cubicBezTo>
                    <a:pt x="68358" y="1472002"/>
                    <a:pt x="80011" y="1481597"/>
                    <a:pt x="96738" y="1481597"/>
                  </a:cubicBezTo>
                  <a:close/>
                  <a:moveTo>
                    <a:pt x="96738" y="1433516"/>
                  </a:moveTo>
                  <a:cubicBezTo>
                    <a:pt x="87427" y="1433516"/>
                    <a:pt x="81238" y="1428042"/>
                    <a:pt x="81238" y="1419789"/>
                  </a:cubicBezTo>
                  <a:cubicBezTo>
                    <a:pt x="81238" y="1411593"/>
                    <a:pt x="87427" y="1406129"/>
                    <a:pt x="96738" y="1406129"/>
                  </a:cubicBezTo>
                  <a:cubicBezTo>
                    <a:pt x="106049" y="1406129"/>
                    <a:pt x="112183" y="1411593"/>
                    <a:pt x="112183" y="1419789"/>
                  </a:cubicBezTo>
                  <a:cubicBezTo>
                    <a:pt x="112183" y="1428042"/>
                    <a:pt x="106049" y="1433516"/>
                    <a:pt x="96738" y="1433516"/>
                  </a:cubicBezTo>
                  <a:close/>
                  <a:moveTo>
                    <a:pt x="96738" y="1473058"/>
                  </a:moveTo>
                  <a:cubicBezTo>
                    <a:pt x="85810" y="1473058"/>
                    <a:pt x="78283" y="1466700"/>
                    <a:pt x="78283" y="1457495"/>
                  </a:cubicBezTo>
                  <a:cubicBezTo>
                    <a:pt x="78283" y="1448289"/>
                    <a:pt x="85810" y="1441931"/>
                    <a:pt x="96738" y="1441931"/>
                  </a:cubicBezTo>
                  <a:cubicBezTo>
                    <a:pt x="107667" y="1441931"/>
                    <a:pt x="115194" y="1448289"/>
                    <a:pt x="115194" y="1457495"/>
                  </a:cubicBezTo>
                  <a:cubicBezTo>
                    <a:pt x="115194" y="1466700"/>
                    <a:pt x="107667" y="1473058"/>
                    <a:pt x="96738" y="1473058"/>
                  </a:cubicBezTo>
                  <a:close/>
                  <a:moveTo>
                    <a:pt x="68971" y="1625051"/>
                  </a:moveTo>
                  <a:cubicBezTo>
                    <a:pt x="68971" y="1639778"/>
                    <a:pt x="79510" y="1650591"/>
                    <a:pt x="93895" y="1650591"/>
                  </a:cubicBezTo>
                  <a:cubicBezTo>
                    <a:pt x="98969" y="1650591"/>
                    <a:pt x="104655" y="1648193"/>
                    <a:pt x="107053" y="1644966"/>
                  </a:cubicBezTo>
                  <a:lnTo>
                    <a:pt x="107890" y="1645403"/>
                  </a:lnTo>
                  <a:cubicBezTo>
                    <a:pt x="107388" y="1646298"/>
                    <a:pt x="106997" y="1647022"/>
                    <a:pt x="105158" y="1649535"/>
                  </a:cubicBezTo>
                  <a:lnTo>
                    <a:pt x="83245" y="1679711"/>
                  </a:lnTo>
                  <a:lnTo>
                    <a:pt x="94508" y="1679711"/>
                  </a:lnTo>
                  <a:cubicBezTo>
                    <a:pt x="95121" y="1678873"/>
                    <a:pt x="111792" y="1655446"/>
                    <a:pt x="112517" y="1654218"/>
                  </a:cubicBezTo>
                  <a:cubicBezTo>
                    <a:pt x="120435" y="1642729"/>
                    <a:pt x="123669" y="1634199"/>
                    <a:pt x="123669" y="1625051"/>
                  </a:cubicBezTo>
                  <a:cubicBezTo>
                    <a:pt x="123669" y="1608983"/>
                    <a:pt x="112239" y="1597551"/>
                    <a:pt x="96348" y="1597551"/>
                  </a:cubicBezTo>
                  <a:cubicBezTo>
                    <a:pt x="80457" y="1597551"/>
                    <a:pt x="68971" y="1609097"/>
                    <a:pt x="68971" y="1625051"/>
                  </a:cubicBezTo>
                  <a:close/>
                  <a:moveTo>
                    <a:pt x="96292" y="1606308"/>
                  </a:moveTo>
                  <a:cubicBezTo>
                    <a:pt x="106440" y="1606308"/>
                    <a:pt x="114134" y="1614228"/>
                    <a:pt x="114134" y="1624547"/>
                  </a:cubicBezTo>
                  <a:cubicBezTo>
                    <a:pt x="114134" y="1634923"/>
                    <a:pt x="106440" y="1642843"/>
                    <a:pt x="96292" y="1642843"/>
                  </a:cubicBezTo>
                  <a:cubicBezTo>
                    <a:pt x="86200" y="1642843"/>
                    <a:pt x="78506" y="1634923"/>
                    <a:pt x="78506" y="1624547"/>
                  </a:cubicBezTo>
                  <a:cubicBezTo>
                    <a:pt x="78506" y="1614228"/>
                    <a:pt x="86200" y="1606308"/>
                    <a:pt x="96292" y="1606308"/>
                  </a:cubicBezTo>
                  <a:close/>
                  <a:moveTo>
                    <a:pt x="56259" y="1879614"/>
                  </a:moveTo>
                  <a:lnTo>
                    <a:pt x="56259" y="1870970"/>
                  </a:lnTo>
                  <a:lnTo>
                    <a:pt x="33621" y="1870970"/>
                  </a:lnTo>
                  <a:lnTo>
                    <a:pt x="33621" y="1799129"/>
                  </a:lnTo>
                  <a:lnTo>
                    <a:pt x="23975" y="1799129"/>
                  </a:lnTo>
                  <a:lnTo>
                    <a:pt x="0" y="1814693"/>
                  </a:lnTo>
                  <a:lnTo>
                    <a:pt x="0" y="1825174"/>
                  </a:lnTo>
                  <a:lnTo>
                    <a:pt x="23027" y="1810286"/>
                  </a:lnTo>
                  <a:lnTo>
                    <a:pt x="23920" y="1810286"/>
                  </a:lnTo>
                  <a:lnTo>
                    <a:pt x="23920" y="1870970"/>
                  </a:lnTo>
                  <a:lnTo>
                    <a:pt x="167" y="1870970"/>
                  </a:lnTo>
                  <a:lnTo>
                    <a:pt x="167" y="1879614"/>
                  </a:lnTo>
                  <a:lnTo>
                    <a:pt x="56259" y="1879614"/>
                  </a:lnTo>
                  <a:close/>
                  <a:moveTo>
                    <a:pt x="96515" y="1881451"/>
                  </a:moveTo>
                  <a:cubicBezTo>
                    <a:pt x="113968" y="1881451"/>
                    <a:pt x="123669" y="1866506"/>
                    <a:pt x="123669" y="1839395"/>
                  </a:cubicBezTo>
                  <a:cubicBezTo>
                    <a:pt x="123669" y="1812294"/>
                    <a:pt x="113968" y="1797339"/>
                    <a:pt x="96515" y="1797339"/>
                  </a:cubicBezTo>
                  <a:cubicBezTo>
                    <a:pt x="79007" y="1797339"/>
                    <a:pt x="69362" y="1812294"/>
                    <a:pt x="69362" y="1839395"/>
                  </a:cubicBezTo>
                  <a:cubicBezTo>
                    <a:pt x="69362" y="1866506"/>
                    <a:pt x="79007" y="1881451"/>
                    <a:pt x="96515" y="1881451"/>
                  </a:cubicBezTo>
                  <a:close/>
                  <a:moveTo>
                    <a:pt x="79120" y="1839395"/>
                  </a:moveTo>
                  <a:cubicBezTo>
                    <a:pt x="79120" y="1817539"/>
                    <a:pt x="85141" y="1806040"/>
                    <a:pt x="96515" y="1806040"/>
                  </a:cubicBezTo>
                  <a:cubicBezTo>
                    <a:pt x="104099" y="1806040"/>
                    <a:pt x="109339" y="1811180"/>
                    <a:pt x="111960" y="1821156"/>
                  </a:cubicBezTo>
                  <a:lnTo>
                    <a:pt x="79510" y="1848267"/>
                  </a:lnTo>
                  <a:cubicBezTo>
                    <a:pt x="79286" y="1845535"/>
                    <a:pt x="79120" y="1842575"/>
                    <a:pt x="79120" y="1839395"/>
                  </a:cubicBezTo>
                  <a:close/>
                  <a:moveTo>
                    <a:pt x="96515" y="1872750"/>
                  </a:moveTo>
                  <a:cubicBezTo>
                    <a:pt x="88932" y="1872750"/>
                    <a:pt x="83747" y="1867620"/>
                    <a:pt x="81126" y="1857748"/>
                  </a:cubicBezTo>
                  <a:lnTo>
                    <a:pt x="113465" y="1830419"/>
                  </a:lnTo>
                  <a:cubicBezTo>
                    <a:pt x="113744" y="1833208"/>
                    <a:pt x="113855" y="1836168"/>
                    <a:pt x="113855" y="1839395"/>
                  </a:cubicBezTo>
                  <a:cubicBezTo>
                    <a:pt x="113855" y="1861204"/>
                    <a:pt x="107890" y="1872750"/>
                    <a:pt x="96515" y="1872750"/>
                  </a:cubicBezTo>
                  <a:close/>
                  <a:moveTo>
                    <a:pt x="56259" y="2079517"/>
                  </a:moveTo>
                  <a:lnTo>
                    <a:pt x="56259" y="2070874"/>
                  </a:lnTo>
                  <a:lnTo>
                    <a:pt x="33621" y="2070874"/>
                  </a:lnTo>
                  <a:lnTo>
                    <a:pt x="33621" y="1999032"/>
                  </a:lnTo>
                  <a:lnTo>
                    <a:pt x="23975" y="1999032"/>
                  </a:lnTo>
                  <a:lnTo>
                    <a:pt x="0" y="2014596"/>
                  </a:lnTo>
                  <a:lnTo>
                    <a:pt x="0" y="2025077"/>
                  </a:lnTo>
                  <a:lnTo>
                    <a:pt x="23027" y="2010189"/>
                  </a:lnTo>
                  <a:lnTo>
                    <a:pt x="23920" y="2010189"/>
                  </a:lnTo>
                  <a:lnTo>
                    <a:pt x="23920" y="2070874"/>
                  </a:lnTo>
                  <a:lnTo>
                    <a:pt x="167" y="2070874"/>
                  </a:lnTo>
                  <a:lnTo>
                    <a:pt x="167" y="2079517"/>
                  </a:lnTo>
                  <a:lnTo>
                    <a:pt x="56259" y="2079517"/>
                  </a:lnTo>
                  <a:close/>
                  <a:moveTo>
                    <a:pt x="126847" y="2079517"/>
                  </a:moveTo>
                  <a:lnTo>
                    <a:pt x="126847" y="2070874"/>
                  </a:lnTo>
                  <a:lnTo>
                    <a:pt x="104210" y="2070874"/>
                  </a:lnTo>
                  <a:lnTo>
                    <a:pt x="104210" y="1999032"/>
                  </a:lnTo>
                  <a:lnTo>
                    <a:pt x="94564" y="1999032"/>
                  </a:lnTo>
                  <a:lnTo>
                    <a:pt x="70589" y="2014596"/>
                  </a:lnTo>
                  <a:lnTo>
                    <a:pt x="70589" y="2025077"/>
                  </a:lnTo>
                  <a:lnTo>
                    <a:pt x="93616" y="2010189"/>
                  </a:lnTo>
                  <a:lnTo>
                    <a:pt x="94508" y="2010189"/>
                  </a:lnTo>
                  <a:lnTo>
                    <a:pt x="94508" y="2070874"/>
                  </a:lnTo>
                  <a:lnTo>
                    <a:pt x="70755" y="2070874"/>
                  </a:lnTo>
                  <a:lnTo>
                    <a:pt x="70755" y="2079517"/>
                  </a:lnTo>
                  <a:lnTo>
                    <a:pt x="126847" y="2079517"/>
                  </a:lnTo>
                  <a:close/>
                  <a:moveTo>
                    <a:pt x="56259" y="2279420"/>
                  </a:moveTo>
                  <a:lnTo>
                    <a:pt x="56259" y="2270777"/>
                  </a:lnTo>
                  <a:lnTo>
                    <a:pt x="33621" y="2270777"/>
                  </a:lnTo>
                  <a:lnTo>
                    <a:pt x="33621" y="2198935"/>
                  </a:lnTo>
                  <a:lnTo>
                    <a:pt x="23975" y="2198935"/>
                  </a:lnTo>
                  <a:lnTo>
                    <a:pt x="0" y="2214499"/>
                  </a:lnTo>
                  <a:lnTo>
                    <a:pt x="0" y="2224980"/>
                  </a:lnTo>
                  <a:lnTo>
                    <a:pt x="23027" y="2210092"/>
                  </a:lnTo>
                  <a:lnTo>
                    <a:pt x="23920" y="2210092"/>
                  </a:lnTo>
                  <a:lnTo>
                    <a:pt x="23920" y="2270777"/>
                  </a:lnTo>
                  <a:lnTo>
                    <a:pt x="167" y="2270777"/>
                  </a:lnTo>
                  <a:lnTo>
                    <a:pt x="167" y="2279420"/>
                  </a:lnTo>
                  <a:lnTo>
                    <a:pt x="56259" y="2279420"/>
                  </a:lnTo>
                  <a:close/>
                  <a:moveTo>
                    <a:pt x="70811" y="2221582"/>
                  </a:moveTo>
                  <a:lnTo>
                    <a:pt x="70811" y="2221915"/>
                  </a:lnTo>
                  <a:lnTo>
                    <a:pt x="80290" y="2221915"/>
                  </a:lnTo>
                  <a:lnTo>
                    <a:pt x="80290" y="2221582"/>
                  </a:lnTo>
                  <a:cubicBezTo>
                    <a:pt x="80290" y="2212100"/>
                    <a:pt x="86423" y="2205903"/>
                    <a:pt x="95679" y="2205903"/>
                  </a:cubicBezTo>
                  <a:cubicBezTo>
                    <a:pt x="105046" y="2205903"/>
                    <a:pt x="111123" y="2211596"/>
                    <a:pt x="111123" y="2220239"/>
                  </a:cubicBezTo>
                  <a:cubicBezTo>
                    <a:pt x="111123" y="2226598"/>
                    <a:pt x="108670" y="2230891"/>
                    <a:pt x="98467" y="2242333"/>
                  </a:cubicBezTo>
                  <a:lnTo>
                    <a:pt x="71258" y="2272614"/>
                  </a:lnTo>
                  <a:lnTo>
                    <a:pt x="71258" y="2279420"/>
                  </a:lnTo>
                  <a:lnTo>
                    <a:pt x="122164" y="2279420"/>
                  </a:lnTo>
                  <a:lnTo>
                    <a:pt x="122164" y="2270491"/>
                  </a:lnTo>
                  <a:lnTo>
                    <a:pt x="85308" y="2270491"/>
                  </a:lnTo>
                  <a:lnTo>
                    <a:pt x="85308" y="2269549"/>
                  </a:lnTo>
                  <a:lnTo>
                    <a:pt x="104265" y="2248911"/>
                  </a:lnTo>
                  <a:cubicBezTo>
                    <a:pt x="117090" y="2234908"/>
                    <a:pt x="120881" y="2228216"/>
                    <a:pt x="120881" y="2219849"/>
                  </a:cubicBezTo>
                  <a:cubicBezTo>
                    <a:pt x="120881" y="2206408"/>
                    <a:pt x="110733" y="2197260"/>
                    <a:pt x="95958" y="2197260"/>
                  </a:cubicBezTo>
                  <a:cubicBezTo>
                    <a:pt x="81294" y="2197260"/>
                    <a:pt x="70811" y="2207417"/>
                    <a:pt x="70811" y="2221582"/>
                  </a:cubicBezTo>
                  <a:close/>
                  <a:moveTo>
                    <a:pt x="56259" y="2479323"/>
                  </a:moveTo>
                  <a:lnTo>
                    <a:pt x="56259" y="2470680"/>
                  </a:lnTo>
                  <a:lnTo>
                    <a:pt x="33621" y="2470680"/>
                  </a:lnTo>
                  <a:lnTo>
                    <a:pt x="33621" y="2398839"/>
                  </a:lnTo>
                  <a:lnTo>
                    <a:pt x="23975" y="2398839"/>
                  </a:lnTo>
                  <a:lnTo>
                    <a:pt x="0" y="2414402"/>
                  </a:lnTo>
                  <a:lnTo>
                    <a:pt x="0" y="2424883"/>
                  </a:lnTo>
                  <a:lnTo>
                    <a:pt x="23027" y="2409995"/>
                  </a:lnTo>
                  <a:lnTo>
                    <a:pt x="23920" y="2409995"/>
                  </a:lnTo>
                  <a:lnTo>
                    <a:pt x="23920" y="2470680"/>
                  </a:lnTo>
                  <a:lnTo>
                    <a:pt x="167" y="2470680"/>
                  </a:lnTo>
                  <a:lnTo>
                    <a:pt x="167" y="2479323"/>
                  </a:lnTo>
                  <a:lnTo>
                    <a:pt x="56259" y="2479323"/>
                  </a:lnTo>
                  <a:close/>
                  <a:moveTo>
                    <a:pt x="86647" y="2442008"/>
                  </a:moveTo>
                  <a:lnTo>
                    <a:pt x="95847" y="2442008"/>
                  </a:lnTo>
                  <a:cubicBezTo>
                    <a:pt x="106997" y="2442008"/>
                    <a:pt x="114079" y="2447976"/>
                    <a:pt x="114079" y="2457343"/>
                  </a:cubicBezTo>
                  <a:cubicBezTo>
                    <a:pt x="114079" y="2466434"/>
                    <a:pt x="107221" y="2472127"/>
                    <a:pt x="96181" y="2472127"/>
                  </a:cubicBezTo>
                  <a:cubicBezTo>
                    <a:pt x="86144" y="2472127"/>
                    <a:pt x="79007" y="2466548"/>
                    <a:pt x="78116" y="2457962"/>
                  </a:cubicBezTo>
                  <a:lnTo>
                    <a:pt x="68804" y="2457962"/>
                  </a:lnTo>
                  <a:cubicBezTo>
                    <a:pt x="69529" y="2471851"/>
                    <a:pt x="80569" y="2480999"/>
                    <a:pt x="96459" y="2480999"/>
                  </a:cubicBezTo>
                  <a:cubicBezTo>
                    <a:pt x="112517" y="2480999"/>
                    <a:pt x="124003" y="2471232"/>
                    <a:pt x="124003" y="2457572"/>
                  </a:cubicBezTo>
                  <a:cubicBezTo>
                    <a:pt x="124003" y="2446587"/>
                    <a:pt x="117647" y="2439057"/>
                    <a:pt x="106942" y="2437658"/>
                  </a:cubicBezTo>
                  <a:lnTo>
                    <a:pt x="106942" y="2436763"/>
                  </a:lnTo>
                  <a:cubicBezTo>
                    <a:pt x="115584" y="2434650"/>
                    <a:pt x="120658" y="2427729"/>
                    <a:pt x="120658" y="2418029"/>
                  </a:cubicBezTo>
                  <a:cubicBezTo>
                    <a:pt x="120658" y="2405807"/>
                    <a:pt x="110399" y="2397163"/>
                    <a:pt x="96013" y="2397163"/>
                  </a:cubicBezTo>
                  <a:cubicBezTo>
                    <a:pt x="81126" y="2397163"/>
                    <a:pt x="71313" y="2405807"/>
                    <a:pt x="70365" y="2419752"/>
                  </a:cubicBezTo>
                  <a:lnTo>
                    <a:pt x="79789" y="2419752"/>
                  </a:lnTo>
                  <a:cubicBezTo>
                    <a:pt x="80569" y="2411109"/>
                    <a:pt x="86590" y="2405807"/>
                    <a:pt x="95623" y="2405807"/>
                  </a:cubicBezTo>
                  <a:cubicBezTo>
                    <a:pt x="104712" y="2405807"/>
                    <a:pt x="110733" y="2411223"/>
                    <a:pt x="110733" y="2419419"/>
                  </a:cubicBezTo>
                  <a:cubicBezTo>
                    <a:pt x="110733" y="2427843"/>
                    <a:pt x="104433" y="2433755"/>
                    <a:pt x="95400" y="2433755"/>
                  </a:cubicBezTo>
                  <a:lnTo>
                    <a:pt x="86647" y="2433755"/>
                  </a:lnTo>
                  <a:lnTo>
                    <a:pt x="86647" y="2442008"/>
                  </a:lnTo>
                  <a:close/>
                  <a:moveTo>
                    <a:pt x="56259" y="2679226"/>
                  </a:moveTo>
                  <a:lnTo>
                    <a:pt x="56259" y="2670583"/>
                  </a:lnTo>
                  <a:lnTo>
                    <a:pt x="33621" y="2670583"/>
                  </a:lnTo>
                  <a:lnTo>
                    <a:pt x="33621" y="2598742"/>
                  </a:lnTo>
                  <a:lnTo>
                    <a:pt x="23975" y="2598742"/>
                  </a:lnTo>
                  <a:lnTo>
                    <a:pt x="0" y="2614305"/>
                  </a:lnTo>
                  <a:lnTo>
                    <a:pt x="0" y="2624786"/>
                  </a:lnTo>
                  <a:lnTo>
                    <a:pt x="23027" y="2609898"/>
                  </a:lnTo>
                  <a:lnTo>
                    <a:pt x="23920" y="2609898"/>
                  </a:lnTo>
                  <a:lnTo>
                    <a:pt x="23920" y="2670583"/>
                  </a:lnTo>
                  <a:lnTo>
                    <a:pt x="167" y="2670583"/>
                  </a:lnTo>
                  <a:lnTo>
                    <a:pt x="167" y="2679226"/>
                  </a:lnTo>
                  <a:lnTo>
                    <a:pt x="56259" y="2679226"/>
                  </a:lnTo>
                  <a:close/>
                  <a:moveTo>
                    <a:pt x="105882" y="2679226"/>
                  </a:moveTo>
                  <a:lnTo>
                    <a:pt x="114859" y="2679226"/>
                  </a:lnTo>
                  <a:lnTo>
                    <a:pt x="114859" y="2662216"/>
                  </a:lnTo>
                  <a:lnTo>
                    <a:pt x="127181" y="2662216"/>
                  </a:lnTo>
                  <a:lnTo>
                    <a:pt x="127181" y="2653572"/>
                  </a:lnTo>
                  <a:lnTo>
                    <a:pt x="114915" y="2653572"/>
                  </a:lnTo>
                  <a:lnTo>
                    <a:pt x="114915" y="2630698"/>
                  </a:lnTo>
                  <a:lnTo>
                    <a:pt x="105994" y="2630698"/>
                  </a:lnTo>
                  <a:lnTo>
                    <a:pt x="105994" y="2653677"/>
                  </a:lnTo>
                  <a:lnTo>
                    <a:pt x="79621" y="2653677"/>
                  </a:lnTo>
                  <a:lnTo>
                    <a:pt x="79621" y="2652953"/>
                  </a:lnTo>
                  <a:lnTo>
                    <a:pt x="106552" y="2598742"/>
                  </a:lnTo>
                  <a:lnTo>
                    <a:pt x="96515" y="2598742"/>
                  </a:lnTo>
                  <a:lnTo>
                    <a:pt x="69195" y="2654238"/>
                  </a:lnTo>
                  <a:lnTo>
                    <a:pt x="69195" y="2662216"/>
                  </a:lnTo>
                  <a:lnTo>
                    <a:pt x="105882" y="2662216"/>
                  </a:lnTo>
                  <a:lnTo>
                    <a:pt x="105882" y="2679226"/>
                  </a:lnTo>
                  <a:close/>
                  <a:moveTo>
                    <a:pt x="56259" y="2879129"/>
                  </a:moveTo>
                  <a:lnTo>
                    <a:pt x="56259" y="2870486"/>
                  </a:lnTo>
                  <a:lnTo>
                    <a:pt x="33621" y="2870486"/>
                  </a:lnTo>
                  <a:lnTo>
                    <a:pt x="33621" y="2798645"/>
                  </a:lnTo>
                  <a:lnTo>
                    <a:pt x="23975" y="2798645"/>
                  </a:lnTo>
                  <a:lnTo>
                    <a:pt x="0" y="2814208"/>
                  </a:lnTo>
                  <a:lnTo>
                    <a:pt x="0" y="2824689"/>
                  </a:lnTo>
                  <a:lnTo>
                    <a:pt x="23027" y="2809801"/>
                  </a:lnTo>
                  <a:lnTo>
                    <a:pt x="23920" y="2809801"/>
                  </a:lnTo>
                  <a:lnTo>
                    <a:pt x="23920" y="2870486"/>
                  </a:lnTo>
                  <a:lnTo>
                    <a:pt x="167" y="2870486"/>
                  </a:lnTo>
                  <a:lnTo>
                    <a:pt x="167" y="2879129"/>
                  </a:lnTo>
                  <a:lnTo>
                    <a:pt x="56259" y="2879129"/>
                  </a:lnTo>
                  <a:close/>
                  <a:moveTo>
                    <a:pt x="95790" y="2880748"/>
                  </a:moveTo>
                  <a:cubicBezTo>
                    <a:pt x="112127" y="2880748"/>
                    <a:pt x="123223" y="2869705"/>
                    <a:pt x="123223" y="2853418"/>
                  </a:cubicBezTo>
                  <a:cubicBezTo>
                    <a:pt x="123223" y="2837578"/>
                    <a:pt x="112852" y="2826479"/>
                    <a:pt x="97965" y="2826479"/>
                  </a:cubicBezTo>
                  <a:cubicBezTo>
                    <a:pt x="90884" y="2826479"/>
                    <a:pt x="85141" y="2828982"/>
                    <a:pt x="81182" y="2833780"/>
                  </a:cubicBezTo>
                  <a:lnTo>
                    <a:pt x="80290" y="2833780"/>
                  </a:lnTo>
                  <a:lnTo>
                    <a:pt x="82521" y="2807516"/>
                  </a:lnTo>
                  <a:lnTo>
                    <a:pt x="118763" y="2807516"/>
                  </a:lnTo>
                  <a:lnTo>
                    <a:pt x="118763" y="2798645"/>
                  </a:lnTo>
                  <a:lnTo>
                    <a:pt x="74770" y="2798645"/>
                  </a:lnTo>
                  <a:lnTo>
                    <a:pt x="70700" y="2844099"/>
                  </a:lnTo>
                  <a:lnTo>
                    <a:pt x="80011" y="2844099"/>
                  </a:lnTo>
                  <a:cubicBezTo>
                    <a:pt x="83189" y="2838416"/>
                    <a:pt x="89155" y="2835122"/>
                    <a:pt x="96348" y="2835122"/>
                  </a:cubicBezTo>
                  <a:cubicBezTo>
                    <a:pt x="106663" y="2835122"/>
                    <a:pt x="113633" y="2842595"/>
                    <a:pt x="113633" y="2853637"/>
                  </a:cubicBezTo>
                  <a:cubicBezTo>
                    <a:pt x="113633" y="2864575"/>
                    <a:pt x="106718" y="2871876"/>
                    <a:pt x="96348" y="2871876"/>
                  </a:cubicBezTo>
                  <a:cubicBezTo>
                    <a:pt x="86925" y="2871876"/>
                    <a:pt x="79732" y="2866079"/>
                    <a:pt x="78841" y="2857654"/>
                  </a:cubicBezTo>
                  <a:lnTo>
                    <a:pt x="69362" y="2857654"/>
                  </a:lnTo>
                  <a:cubicBezTo>
                    <a:pt x="70197" y="2871485"/>
                    <a:pt x="80792" y="2880748"/>
                    <a:pt x="95790" y="2880748"/>
                  </a:cubicBezTo>
                  <a:close/>
                  <a:moveTo>
                    <a:pt x="56259" y="3079033"/>
                  </a:moveTo>
                  <a:lnTo>
                    <a:pt x="56259" y="3070389"/>
                  </a:lnTo>
                  <a:lnTo>
                    <a:pt x="33621" y="3070389"/>
                  </a:lnTo>
                  <a:lnTo>
                    <a:pt x="33621" y="2998548"/>
                  </a:lnTo>
                  <a:lnTo>
                    <a:pt x="23975" y="2998548"/>
                  </a:lnTo>
                  <a:lnTo>
                    <a:pt x="0" y="3014112"/>
                  </a:lnTo>
                  <a:lnTo>
                    <a:pt x="0" y="3024592"/>
                  </a:lnTo>
                  <a:lnTo>
                    <a:pt x="23027" y="3009704"/>
                  </a:lnTo>
                  <a:lnTo>
                    <a:pt x="23920" y="3009704"/>
                  </a:lnTo>
                  <a:lnTo>
                    <a:pt x="23920" y="3070389"/>
                  </a:lnTo>
                  <a:lnTo>
                    <a:pt x="167" y="3070389"/>
                  </a:lnTo>
                  <a:lnTo>
                    <a:pt x="167" y="3079033"/>
                  </a:lnTo>
                  <a:lnTo>
                    <a:pt x="56259" y="3079033"/>
                  </a:lnTo>
                  <a:close/>
                  <a:moveTo>
                    <a:pt x="124059" y="3053207"/>
                  </a:moveTo>
                  <a:cubicBezTo>
                    <a:pt x="124059" y="3038538"/>
                    <a:pt x="113465" y="3027667"/>
                    <a:pt x="99136" y="3027667"/>
                  </a:cubicBezTo>
                  <a:cubicBezTo>
                    <a:pt x="94006" y="3027667"/>
                    <a:pt x="88207" y="3030056"/>
                    <a:pt x="85810" y="3033293"/>
                  </a:cubicBezTo>
                  <a:lnTo>
                    <a:pt x="84974" y="3032845"/>
                  </a:lnTo>
                  <a:cubicBezTo>
                    <a:pt x="85364" y="3031960"/>
                    <a:pt x="85141" y="3032179"/>
                    <a:pt x="87594" y="3028724"/>
                  </a:cubicBezTo>
                  <a:lnTo>
                    <a:pt x="109563" y="2998548"/>
                  </a:lnTo>
                  <a:lnTo>
                    <a:pt x="98244" y="2998548"/>
                  </a:lnTo>
                  <a:cubicBezTo>
                    <a:pt x="97686" y="2999385"/>
                    <a:pt x="80959" y="3022812"/>
                    <a:pt x="80234" y="3024040"/>
                  </a:cubicBezTo>
                  <a:cubicBezTo>
                    <a:pt x="72539" y="3035244"/>
                    <a:pt x="69362" y="3043783"/>
                    <a:pt x="69362" y="3053207"/>
                  </a:cubicBezTo>
                  <a:cubicBezTo>
                    <a:pt x="69362" y="3069218"/>
                    <a:pt x="80792" y="3080708"/>
                    <a:pt x="96627" y="3080708"/>
                  </a:cubicBezTo>
                  <a:cubicBezTo>
                    <a:pt x="112573" y="3080708"/>
                    <a:pt x="124059" y="3069161"/>
                    <a:pt x="124059" y="3053207"/>
                  </a:cubicBezTo>
                  <a:close/>
                  <a:moveTo>
                    <a:pt x="96683" y="3071950"/>
                  </a:moveTo>
                  <a:cubicBezTo>
                    <a:pt x="86590" y="3071950"/>
                    <a:pt x="78896" y="3064030"/>
                    <a:pt x="78896" y="3053711"/>
                  </a:cubicBezTo>
                  <a:cubicBezTo>
                    <a:pt x="78896" y="3043336"/>
                    <a:pt x="86590" y="3035416"/>
                    <a:pt x="96683" y="3035416"/>
                  </a:cubicBezTo>
                  <a:cubicBezTo>
                    <a:pt x="106831" y="3035416"/>
                    <a:pt x="114525" y="3043336"/>
                    <a:pt x="114525" y="3053711"/>
                  </a:cubicBezTo>
                  <a:cubicBezTo>
                    <a:pt x="114525" y="3064030"/>
                    <a:pt x="106831" y="3071950"/>
                    <a:pt x="96683" y="3071950"/>
                  </a:cubicBezTo>
                  <a:close/>
                </a:path>
              </a:pathLst>
            </a:custGeom>
            <a:solidFill>
              <a:srgbClr val="586069"/>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sp>
          <p:nvSpPr>
            <p:cNvPr id="3698" name="Google Shape;3698;p192"/>
            <p:cNvSpPr/>
            <p:nvPr/>
          </p:nvSpPr>
          <p:spPr>
            <a:xfrm>
              <a:off x="5262233" y="3483799"/>
              <a:ext cx="263674" cy="262651"/>
            </a:xfrm>
            <a:custGeom>
              <a:avLst/>
              <a:gdLst/>
              <a:ahLst/>
              <a:cxnLst/>
              <a:rect l="l" t="t" r="r" b="b"/>
              <a:pathLst>
                <a:path w="263674" h="262651" extrusionOk="0">
                  <a:moveTo>
                    <a:pt x="1446" y="61633"/>
                  </a:moveTo>
                  <a:lnTo>
                    <a:pt x="10934" y="61633"/>
                  </a:lnTo>
                  <a:lnTo>
                    <a:pt x="10934" y="25992"/>
                  </a:lnTo>
                  <a:cubicBezTo>
                    <a:pt x="10934" y="15673"/>
                    <a:pt x="17623" y="8702"/>
                    <a:pt x="27596" y="8702"/>
                  </a:cubicBezTo>
                  <a:cubicBezTo>
                    <a:pt x="37026" y="8702"/>
                    <a:pt x="41480" y="13832"/>
                    <a:pt x="41480" y="24765"/>
                  </a:cubicBezTo>
                  <a:lnTo>
                    <a:pt x="41480" y="61633"/>
                  </a:lnTo>
                  <a:lnTo>
                    <a:pt x="50967" y="61633"/>
                  </a:lnTo>
                  <a:lnTo>
                    <a:pt x="50967" y="22366"/>
                  </a:lnTo>
                  <a:cubicBezTo>
                    <a:pt x="50967" y="7865"/>
                    <a:pt x="43830" y="0"/>
                    <a:pt x="30670" y="0"/>
                  </a:cubicBezTo>
                  <a:cubicBezTo>
                    <a:pt x="21468" y="0"/>
                    <a:pt x="14550" y="4239"/>
                    <a:pt x="11324" y="11769"/>
                  </a:cubicBezTo>
                  <a:lnTo>
                    <a:pt x="10534" y="11769"/>
                  </a:lnTo>
                  <a:lnTo>
                    <a:pt x="10534" y="1116"/>
                  </a:lnTo>
                  <a:lnTo>
                    <a:pt x="1446" y="1116"/>
                  </a:lnTo>
                  <a:lnTo>
                    <a:pt x="1446" y="61633"/>
                  </a:lnTo>
                  <a:close/>
                  <a:moveTo>
                    <a:pt x="90658" y="62692"/>
                  </a:moveTo>
                  <a:cubicBezTo>
                    <a:pt x="99469" y="62692"/>
                    <a:pt x="106054" y="59068"/>
                    <a:pt x="108947" y="52597"/>
                  </a:cubicBezTo>
                  <a:lnTo>
                    <a:pt x="109899" y="52597"/>
                  </a:lnTo>
                  <a:lnTo>
                    <a:pt x="109899" y="61689"/>
                  </a:lnTo>
                  <a:lnTo>
                    <a:pt x="118929" y="61689"/>
                  </a:lnTo>
                  <a:lnTo>
                    <a:pt x="118929" y="20246"/>
                  </a:lnTo>
                  <a:cubicBezTo>
                    <a:pt x="118929" y="7641"/>
                    <a:pt x="110793" y="390"/>
                    <a:pt x="96576" y="390"/>
                  </a:cubicBezTo>
                  <a:cubicBezTo>
                    <a:pt x="84196" y="390"/>
                    <a:pt x="74823" y="7028"/>
                    <a:pt x="73710" y="16733"/>
                  </a:cubicBezTo>
                  <a:lnTo>
                    <a:pt x="83026" y="16733"/>
                  </a:lnTo>
                  <a:cubicBezTo>
                    <a:pt x="84586" y="11546"/>
                    <a:pt x="89487" y="8589"/>
                    <a:pt x="96462" y="8589"/>
                  </a:cubicBezTo>
                  <a:cubicBezTo>
                    <a:pt x="104884" y="8589"/>
                    <a:pt x="109508" y="12773"/>
                    <a:pt x="109508" y="20359"/>
                  </a:cubicBezTo>
                  <a:lnTo>
                    <a:pt x="109508" y="25825"/>
                  </a:lnTo>
                  <a:lnTo>
                    <a:pt x="92894" y="26661"/>
                  </a:lnTo>
                  <a:cubicBezTo>
                    <a:pt x="79124" y="27386"/>
                    <a:pt x="71426" y="33745"/>
                    <a:pt x="71426" y="44454"/>
                  </a:cubicBezTo>
                  <a:cubicBezTo>
                    <a:pt x="71426" y="55442"/>
                    <a:pt x="79124" y="62692"/>
                    <a:pt x="90658" y="62692"/>
                  </a:cubicBezTo>
                  <a:close/>
                  <a:moveTo>
                    <a:pt x="93398" y="54382"/>
                  </a:moveTo>
                  <a:cubicBezTo>
                    <a:pt x="85757" y="54382"/>
                    <a:pt x="81018" y="50477"/>
                    <a:pt x="81018" y="44120"/>
                  </a:cubicBezTo>
                  <a:cubicBezTo>
                    <a:pt x="81018" y="37816"/>
                    <a:pt x="85481" y="34191"/>
                    <a:pt x="93950" y="33801"/>
                  </a:cubicBezTo>
                  <a:lnTo>
                    <a:pt x="109508" y="33075"/>
                  </a:lnTo>
                  <a:lnTo>
                    <a:pt x="109508" y="40215"/>
                  </a:lnTo>
                  <a:cubicBezTo>
                    <a:pt x="109508" y="48302"/>
                    <a:pt x="102533" y="54382"/>
                    <a:pt x="93398" y="54382"/>
                  </a:cubicBezTo>
                  <a:close/>
                  <a:moveTo>
                    <a:pt x="196540" y="17068"/>
                  </a:moveTo>
                  <a:cubicBezTo>
                    <a:pt x="196540" y="5856"/>
                    <a:pt x="192134" y="0"/>
                    <a:pt x="183722" y="0"/>
                  </a:cubicBezTo>
                  <a:cubicBezTo>
                    <a:pt x="177642" y="0"/>
                    <a:pt x="172789" y="3681"/>
                    <a:pt x="171228" y="9482"/>
                  </a:cubicBezTo>
                  <a:lnTo>
                    <a:pt x="170229" y="9482"/>
                  </a:lnTo>
                  <a:cubicBezTo>
                    <a:pt x="168944" y="3514"/>
                    <a:pt x="164929" y="0"/>
                    <a:pt x="159238" y="0"/>
                  </a:cubicBezTo>
                  <a:cubicBezTo>
                    <a:pt x="153557" y="0"/>
                    <a:pt x="149208" y="3570"/>
                    <a:pt x="147705" y="9650"/>
                  </a:cubicBezTo>
                  <a:lnTo>
                    <a:pt x="146696" y="9650"/>
                  </a:lnTo>
                  <a:lnTo>
                    <a:pt x="146696" y="1116"/>
                  </a:lnTo>
                  <a:lnTo>
                    <a:pt x="138218" y="1116"/>
                  </a:lnTo>
                  <a:lnTo>
                    <a:pt x="138218" y="61633"/>
                  </a:lnTo>
                  <a:lnTo>
                    <a:pt x="146753" y="61633"/>
                  </a:lnTo>
                  <a:lnTo>
                    <a:pt x="146753" y="20804"/>
                  </a:lnTo>
                  <a:cubicBezTo>
                    <a:pt x="146753" y="13275"/>
                    <a:pt x="150103" y="8645"/>
                    <a:pt x="155451" y="8645"/>
                  </a:cubicBezTo>
                  <a:cubicBezTo>
                    <a:pt x="160580" y="8645"/>
                    <a:pt x="163254" y="12494"/>
                    <a:pt x="163254" y="19801"/>
                  </a:cubicBezTo>
                  <a:lnTo>
                    <a:pt x="163254" y="61633"/>
                  </a:lnTo>
                  <a:lnTo>
                    <a:pt x="171733" y="61633"/>
                  </a:lnTo>
                  <a:lnTo>
                    <a:pt x="171733" y="20804"/>
                  </a:lnTo>
                  <a:cubicBezTo>
                    <a:pt x="171733" y="13275"/>
                    <a:pt x="174968" y="8645"/>
                    <a:pt x="180259" y="8645"/>
                  </a:cubicBezTo>
                  <a:cubicBezTo>
                    <a:pt x="185340" y="8645"/>
                    <a:pt x="188014" y="12494"/>
                    <a:pt x="188014" y="19856"/>
                  </a:cubicBezTo>
                  <a:lnTo>
                    <a:pt x="188014" y="61633"/>
                  </a:lnTo>
                  <a:lnTo>
                    <a:pt x="196540" y="61633"/>
                  </a:lnTo>
                  <a:lnTo>
                    <a:pt x="196540" y="17068"/>
                  </a:lnTo>
                  <a:close/>
                  <a:moveTo>
                    <a:pt x="254311" y="46016"/>
                  </a:moveTo>
                  <a:cubicBezTo>
                    <a:pt x="252636" y="51314"/>
                    <a:pt x="247003" y="54550"/>
                    <a:pt x="239362" y="54550"/>
                  </a:cubicBezTo>
                  <a:cubicBezTo>
                    <a:pt x="229046" y="54550"/>
                    <a:pt x="222471" y="47410"/>
                    <a:pt x="222471" y="36310"/>
                  </a:cubicBezTo>
                  <a:lnTo>
                    <a:pt x="222471" y="33856"/>
                  </a:lnTo>
                  <a:lnTo>
                    <a:pt x="263675" y="33856"/>
                  </a:lnTo>
                  <a:lnTo>
                    <a:pt x="263675" y="27944"/>
                  </a:lnTo>
                  <a:cubicBezTo>
                    <a:pt x="263675" y="10430"/>
                    <a:pt x="254416" y="0"/>
                    <a:pt x="238696" y="0"/>
                  </a:cubicBezTo>
                  <a:cubicBezTo>
                    <a:pt x="223308" y="0"/>
                    <a:pt x="213108" y="10486"/>
                    <a:pt x="213108" y="26438"/>
                  </a:cubicBezTo>
                  <a:lnTo>
                    <a:pt x="213108" y="35529"/>
                  </a:lnTo>
                  <a:cubicBezTo>
                    <a:pt x="213108" y="52765"/>
                    <a:pt x="222747" y="62749"/>
                    <a:pt x="239362" y="62749"/>
                  </a:cubicBezTo>
                  <a:cubicBezTo>
                    <a:pt x="252075" y="62749"/>
                    <a:pt x="261667" y="56000"/>
                    <a:pt x="263503" y="46016"/>
                  </a:cubicBezTo>
                  <a:lnTo>
                    <a:pt x="254311" y="46016"/>
                  </a:lnTo>
                  <a:close/>
                  <a:moveTo>
                    <a:pt x="238639" y="8144"/>
                  </a:moveTo>
                  <a:cubicBezTo>
                    <a:pt x="248402" y="8144"/>
                    <a:pt x="254311" y="15116"/>
                    <a:pt x="254311" y="26661"/>
                  </a:cubicBezTo>
                  <a:lnTo>
                    <a:pt x="222471" y="26661"/>
                  </a:lnTo>
                  <a:cubicBezTo>
                    <a:pt x="222471" y="15059"/>
                    <a:pt x="228552" y="8144"/>
                    <a:pt x="238639" y="8144"/>
                  </a:cubicBezTo>
                  <a:close/>
                  <a:moveTo>
                    <a:pt x="26207" y="262652"/>
                  </a:moveTo>
                  <a:cubicBezTo>
                    <a:pt x="42212" y="262652"/>
                    <a:pt x="52413" y="252222"/>
                    <a:pt x="52413" y="235879"/>
                  </a:cubicBezTo>
                  <a:lnTo>
                    <a:pt x="52413" y="226732"/>
                  </a:lnTo>
                  <a:cubicBezTo>
                    <a:pt x="52413" y="210389"/>
                    <a:pt x="42212" y="199958"/>
                    <a:pt x="26207" y="199958"/>
                  </a:cubicBezTo>
                  <a:cubicBezTo>
                    <a:pt x="10201" y="199958"/>
                    <a:pt x="0" y="210389"/>
                    <a:pt x="0" y="226732"/>
                  </a:cubicBezTo>
                  <a:lnTo>
                    <a:pt x="0" y="235879"/>
                  </a:lnTo>
                  <a:cubicBezTo>
                    <a:pt x="0" y="252222"/>
                    <a:pt x="10201" y="262652"/>
                    <a:pt x="26207" y="262652"/>
                  </a:cubicBezTo>
                  <a:close/>
                  <a:moveTo>
                    <a:pt x="26207" y="208326"/>
                  </a:moveTo>
                  <a:cubicBezTo>
                    <a:pt x="36579" y="208326"/>
                    <a:pt x="43050" y="215688"/>
                    <a:pt x="43050" y="227568"/>
                  </a:cubicBezTo>
                  <a:lnTo>
                    <a:pt x="43050" y="234986"/>
                  </a:lnTo>
                  <a:cubicBezTo>
                    <a:pt x="43050" y="246922"/>
                    <a:pt x="36579" y="254229"/>
                    <a:pt x="26207" y="254229"/>
                  </a:cubicBezTo>
                  <a:cubicBezTo>
                    <a:pt x="15834" y="254229"/>
                    <a:pt x="9364" y="246922"/>
                    <a:pt x="9364" y="234986"/>
                  </a:cubicBezTo>
                  <a:lnTo>
                    <a:pt x="9364" y="227568"/>
                  </a:lnTo>
                  <a:cubicBezTo>
                    <a:pt x="9364" y="215688"/>
                    <a:pt x="15834" y="208326"/>
                    <a:pt x="26207" y="208326"/>
                  </a:cubicBezTo>
                  <a:close/>
                  <a:moveTo>
                    <a:pt x="72035" y="261536"/>
                  </a:moveTo>
                  <a:lnTo>
                    <a:pt x="81513" y="261536"/>
                  </a:lnTo>
                  <a:lnTo>
                    <a:pt x="81513" y="225895"/>
                  </a:lnTo>
                  <a:cubicBezTo>
                    <a:pt x="81513" y="215576"/>
                    <a:pt x="88212" y="208605"/>
                    <a:pt x="98185" y="208605"/>
                  </a:cubicBezTo>
                  <a:cubicBezTo>
                    <a:pt x="107615" y="208605"/>
                    <a:pt x="112068" y="213735"/>
                    <a:pt x="112068" y="224668"/>
                  </a:cubicBezTo>
                  <a:lnTo>
                    <a:pt x="112068" y="261536"/>
                  </a:lnTo>
                  <a:lnTo>
                    <a:pt x="121555" y="261536"/>
                  </a:lnTo>
                  <a:lnTo>
                    <a:pt x="121555" y="222269"/>
                  </a:lnTo>
                  <a:cubicBezTo>
                    <a:pt x="121555" y="207768"/>
                    <a:pt x="114419" y="199903"/>
                    <a:pt x="101258" y="199903"/>
                  </a:cubicBezTo>
                  <a:cubicBezTo>
                    <a:pt x="92056" y="199903"/>
                    <a:pt x="85138" y="204142"/>
                    <a:pt x="81903" y="211672"/>
                  </a:cubicBezTo>
                  <a:lnTo>
                    <a:pt x="81123" y="211672"/>
                  </a:lnTo>
                  <a:lnTo>
                    <a:pt x="81123" y="201019"/>
                  </a:lnTo>
                  <a:lnTo>
                    <a:pt x="72035" y="201019"/>
                  </a:lnTo>
                  <a:lnTo>
                    <a:pt x="72035" y="261536"/>
                  </a:lnTo>
                  <a:close/>
                </a:path>
              </a:pathLst>
            </a:custGeom>
            <a:solidFill>
              <a:srgbClr val="6E7681"/>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sp>
          <p:nvSpPr>
            <p:cNvPr id="3699" name="Google Shape;3699;p192"/>
            <p:cNvSpPr/>
            <p:nvPr/>
          </p:nvSpPr>
          <p:spPr>
            <a:xfrm>
              <a:off x="5419521" y="3454516"/>
              <a:ext cx="1798552" cy="291154"/>
            </a:xfrm>
            <a:custGeom>
              <a:avLst/>
              <a:gdLst/>
              <a:ahLst/>
              <a:cxnLst/>
              <a:rect l="l" t="t" r="r" b="b"/>
              <a:pathLst>
                <a:path w="1798552" h="291154" extrusionOk="0">
                  <a:moveTo>
                    <a:pt x="151274" y="48415"/>
                  </a:moveTo>
                  <a:cubicBezTo>
                    <a:pt x="156793" y="48415"/>
                    <a:pt x="161360" y="43729"/>
                    <a:pt x="161360" y="38096"/>
                  </a:cubicBezTo>
                  <a:cubicBezTo>
                    <a:pt x="161360" y="32462"/>
                    <a:pt x="156793" y="27777"/>
                    <a:pt x="151274" y="27777"/>
                  </a:cubicBezTo>
                  <a:cubicBezTo>
                    <a:pt x="145754" y="27777"/>
                    <a:pt x="141177" y="32462"/>
                    <a:pt x="141177" y="38096"/>
                  </a:cubicBezTo>
                  <a:cubicBezTo>
                    <a:pt x="141177" y="43729"/>
                    <a:pt x="145754" y="48415"/>
                    <a:pt x="151274" y="48415"/>
                  </a:cubicBezTo>
                  <a:close/>
                  <a:moveTo>
                    <a:pt x="151274" y="91251"/>
                  </a:moveTo>
                  <a:cubicBezTo>
                    <a:pt x="156793" y="91251"/>
                    <a:pt x="161360" y="86621"/>
                    <a:pt x="161360" y="80932"/>
                  </a:cubicBezTo>
                  <a:cubicBezTo>
                    <a:pt x="161360" y="75299"/>
                    <a:pt x="156793" y="70669"/>
                    <a:pt x="151274" y="70669"/>
                  </a:cubicBezTo>
                  <a:cubicBezTo>
                    <a:pt x="145754" y="70669"/>
                    <a:pt x="141177" y="75299"/>
                    <a:pt x="141177" y="80932"/>
                  </a:cubicBezTo>
                  <a:cubicBezTo>
                    <a:pt x="141177" y="86621"/>
                    <a:pt x="145754" y="91251"/>
                    <a:pt x="151274" y="91251"/>
                  </a:cubicBezTo>
                  <a:close/>
                  <a:moveTo>
                    <a:pt x="313243" y="90916"/>
                  </a:moveTo>
                  <a:lnTo>
                    <a:pt x="323615" y="90916"/>
                  </a:lnTo>
                  <a:lnTo>
                    <a:pt x="297694" y="10430"/>
                  </a:lnTo>
                  <a:lnTo>
                    <a:pt x="287207" y="10430"/>
                  </a:lnTo>
                  <a:lnTo>
                    <a:pt x="261277" y="90916"/>
                  </a:lnTo>
                  <a:lnTo>
                    <a:pt x="271259" y="90916"/>
                  </a:lnTo>
                  <a:lnTo>
                    <a:pt x="278291" y="67824"/>
                  </a:lnTo>
                  <a:lnTo>
                    <a:pt x="306277" y="67824"/>
                  </a:lnTo>
                  <a:lnTo>
                    <a:pt x="313243" y="90916"/>
                  </a:lnTo>
                  <a:close/>
                  <a:moveTo>
                    <a:pt x="292175" y="22255"/>
                  </a:moveTo>
                  <a:lnTo>
                    <a:pt x="292451" y="22255"/>
                  </a:lnTo>
                  <a:lnTo>
                    <a:pt x="303708" y="59403"/>
                  </a:lnTo>
                  <a:lnTo>
                    <a:pt x="280851" y="59403"/>
                  </a:lnTo>
                  <a:lnTo>
                    <a:pt x="292175" y="22255"/>
                  </a:lnTo>
                  <a:close/>
                  <a:moveTo>
                    <a:pt x="359242" y="91920"/>
                  </a:moveTo>
                  <a:cubicBezTo>
                    <a:pt x="367892" y="91920"/>
                    <a:pt x="374239" y="88350"/>
                    <a:pt x="377370" y="81657"/>
                  </a:cubicBezTo>
                  <a:lnTo>
                    <a:pt x="378426" y="81657"/>
                  </a:lnTo>
                  <a:lnTo>
                    <a:pt x="378426" y="90916"/>
                  </a:lnTo>
                  <a:lnTo>
                    <a:pt x="387733" y="90916"/>
                  </a:lnTo>
                  <a:lnTo>
                    <a:pt x="387733" y="6638"/>
                  </a:lnTo>
                  <a:lnTo>
                    <a:pt x="378093" y="6638"/>
                  </a:lnTo>
                  <a:lnTo>
                    <a:pt x="378093" y="39769"/>
                  </a:lnTo>
                  <a:lnTo>
                    <a:pt x="377085" y="39769"/>
                  </a:lnTo>
                  <a:cubicBezTo>
                    <a:pt x="374468" y="33132"/>
                    <a:pt x="367997" y="29394"/>
                    <a:pt x="359242" y="29394"/>
                  </a:cubicBezTo>
                  <a:cubicBezTo>
                    <a:pt x="345254" y="29394"/>
                    <a:pt x="336109" y="39490"/>
                    <a:pt x="336109" y="54996"/>
                  </a:cubicBezTo>
                  <a:lnTo>
                    <a:pt x="336109" y="66263"/>
                  </a:lnTo>
                  <a:cubicBezTo>
                    <a:pt x="336109" y="81824"/>
                    <a:pt x="345254" y="91920"/>
                    <a:pt x="359242" y="91920"/>
                  </a:cubicBezTo>
                  <a:close/>
                  <a:moveTo>
                    <a:pt x="362031" y="83275"/>
                  </a:moveTo>
                  <a:cubicBezTo>
                    <a:pt x="352048" y="83275"/>
                    <a:pt x="345644" y="76079"/>
                    <a:pt x="345644" y="64924"/>
                  </a:cubicBezTo>
                  <a:lnTo>
                    <a:pt x="345644" y="56223"/>
                  </a:lnTo>
                  <a:cubicBezTo>
                    <a:pt x="345644" y="45068"/>
                    <a:pt x="352048" y="37928"/>
                    <a:pt x="362031" y="37928"/>
                  </a:cubicBezTo>
                  <a:cubicBezTo>
                    <a:pt x="371956" y="37928"/>
                    <a:pt x="378369" y="45068"/>
                    <a:pt x="378369" y="56223"/>
                  </a:cubicBezTo>
                  <a:lnTo>
                    <a:pt x="378369" y="64924"/>
                  </a:lnTo>
                  <a:cubicBezTo>
                    <a:pt x="378369" y="76135"/>
                    <a:pt x="371956" y="83275"/>
                    <a:pt x="362031" y="83275"/>
                  </a:cubicBezTo>
                  <a:close/>
                  <a:moveTo>
                    <a:pt x="429831" y="91920"/>
                  </a:moveTo>
                  <a:cubicBezTo>
                    <a:pt x="438471" y="91920"/>
                    <a:pt x="444828" y="88350"/>
                    <a:pt x="447959" y="81657"/>
                  </a:cubicBezTo>
                  <a:lnTo>
                    <a:pt x="449015" y="81657"/>
                  </a:lnTo>
                  <a:lnTo>
                    <a:pt x="449015" y="90916"/>
                  </a:lnTo>
                  <a:lnTo>
                    <a:pt x="458321" y="90916"/>
                  </a:lnTo>
                  <a:lnTo>
                    <a:pt x="458321" y="6638"/>
                  </a:lnTo>
                  <a:lnTo>
                    <a:pt x="448682" y="6638"/>
                  </a:lnTo>
                  <a:lnTo>
                    <a:pt x="448682" y="39769"/>
                  </a:lnTo>
                  <a:lnTo>
                    <a:pt x="447673" y="39769"/>
                  </a:lnTo>
                  <a:cubicBezTo>
                    <a:pt x="445056" y="33132"/>
                    <a:pt x="438586" y="29394"/>
                    <a:pt x="429831" y="29394"/>
                  </a:cubicBezTo>
                  <a:cubicBezTo>
                    <a:pt x="415843" y="29394"/>
                    <a:pt x="406698" y="39490"/>
                    <a:pt x="406698" y="54996"/>
                  </a:cubicBezTo>
                  <a:lnTo>
                    <a:pt x="406698" y="66263"/>
                  </a:lnTo>
                  <a:cubicBezTo>
                    <a:pt x="406698" y="81824"/>
                    <a:pt x="415843" y="91920"/>
                    <a:pt x="429831" y="91920"/>
                  </a:cubicBezTo>
                  <a:close/>
                  <a:moveTo>
                    <a:pt x="432619" y="83275"/>
                  </a:moveTo>
                  <a:cubicBezTo>
                    <a:pt x="422637" y="83275"/>
                    <a:pt x="416233" y="76079"/>
                    <a:pt x="416233" y="64924"/>
                  </a:cubicBezTo>
                  <a:lnTo>
                    <a:pt x="416233" y="56223"/>
                  </a:lnTo>
                  <a:cubicBezTo>
                    <a:pt x="416233" y="45068"/>
                    <a:pt x="422637" y="37928"/>
                    <a:pt x="432619" y="37928"/>
                  </a:cubicBezTo>
                  <a:cubicBezTo>
                    <a:pt x="442544" y="37928"/>
                    <a:pt x="448958" y="45068"/>
                    <a:pt x="448958" y="56223"/>
                  </a:cubicBezTo>
                  <a:lnTo>
                    <a:pt x="448958" y="64924"/>
                  </a:lnTo>
                  <a:cubicBezTo>
                    <a:pt x="448958" y="76135"/>
                    <a:pt x="442544" y="83275"/>
                    <a:pt x="432619" y="83275"/>
                  </a:cubicBezTo>
                  <a:close/>
                  <a:moveTo>
                    <a:pt x="549988" y="90916"/>
                  </a:moveTo>
                  <a:lnTo>
                    <a:pt x="559465" y="90916"/>
                  </a:lnTo>
                  <a:lnTo>
                    <a:pt x="559465" y="55330"/>
                  </a:lnTo>
                  <a:cubicBezTo>
                    <a:pt x="559465" y="45011"/>
                    <a:pt x="566212" y="38040"/>
                    <a:pt x="576194" y="38040"/>
                  </a:cubicBezTo>
                  <a:cubicBezTo>
                    <a:pt x="585672" y="38040"/>
                    <a:pt x="590135" y="43227"/>
                    <a:pt x="590135" y="54103"/>
                  </a:cubicBezTo>
                  <a:lnTo>
                    <a:pt x="590135" y="90916"/>
                  </a:lnTo>
                  <a:lnTo>
                    <a:pt x="599613" y="90916"/>
                  </a:lnTo>
                  <a:lnTo>
                    <a:pt x="599613" y="51705"/>
                  </a:lnTo>
                  <a:cubicBezTo>
                    <a:pt x="599613" y="37259"/>
                    <a:pt x="592476" y="29338"/>
                    <a:pt x="579316" y="29338"/>
                  </a:cubicBezTo>
                  <a:cubicBezTo>
                    <a:pt x="570066" y="29338"/>
                    <a:pt x="563091" y="33578"/>
                    <a:pt x="559913" y="41108"/>
                  </a:cubicBezTo>
                  <a:lnTo>
                    <a:pt x="559132" y="41108"/>
                  </a:lnTo>
                  <a:lnTo>
                    <a:pt x="559132" y="6638"/>
                  </a:lnTo>
                  <a:lnTo>
                    <a:pt x="549988" y="6638"/>
                  </a:lnTo>
                  <a:lnTo>
                    <a:pt x="549988" y="90916"/>
                  </a:lnTo>
                  <a:close/>
                  <a:moveTo>
                    <a:pt x="646450" y="15562"/>
                  </a:moveTo>
                  <a:cubicBezTo>
                    <a:pt x="650913" y="15562"/>
                    <a:pt x="654310" y="12215"/>
                    <a:pt x="654310" y="7753"/>
                  </a:cubicBezTo>
                  <a:cubicBezTo>
                    <a:pt x="654310" y="3347"/>
                    <a:pt x="650913" y="0"/>
                    <a:pt x="646450" y="0"/>
                  </a:cubicBezTo>
                  <a:cubicBezTo>
                    <a:pt x="641987" y="0"/>
                    <a:pt x="638590" y="3347"/>
                    <a:pt x="638590" y="7753"/>
                  </a:cubicBezTo>
                  <a:cubicBezTo>
                    <a:pt x="638590" y="12215"/>
                    <a:pt x="641987" y="15562"/>
                    <a:pt x="646450" y="15562"/>
                  </a:cubicBezTo>
                  <a:close/>
                  <a:moveTo>
                    <a:pt x="671819" y="90916"/>
                  </a:moveTo>
                  <a:lnTo>
                    <a:pt x="671819" y="83051"/>
                  </a:lnTo>
                  <a:lnTo>
                    <a:pt x="651798" y="83051"/>
                  </a:lnTo>
                  <a:lnTo>
                    <a:pt x="651798" y="30399"/>
                  </a:lnTo>
                  <a:lnTo>
                    <a:pt x="621861" y="30399"/>
                  </a:lnTo>
                  <a:lnTo>
                    <a:pt x="621861" y="38263"/>
                  </a:lnTo>
                  <a:lnTo>
                    <a:pt x="642434" y="38263"/>
                  </a:lnTo>
                  <a:lnTo>
                    <a:pt x="642434" y="83051"/>
                  </a:lnTo>
                  <a:lnTo>
                    <a:pt x="621690" y="83051"/>
                  </a:lnTo>
                  <a:lnTo>
                    <a:pt x="621690" y="90916"/>
                  </a:lnTo>
                  <a:lnTo>
                    <a:pt x="671819" y="90916"/>
                  </a:lnTo>
                  <a:close/>
                  <a:moveTo>
                    <a:pt x="714193" y="113617"/>
                  </a:moveTo>
                  <a:cubicBezTo>
                    <a:pt x="730589" y="113617"/>
                    <a:pt x="740286" y="105139"/>
                    <a:pt x="740286" y="90916"/>
                  </a:cubicBezTo>
                  <a:lnTo>
                    <a:pt x="740286" y="30399"/>
                  </a:lnTo>
                  <a:lnTo>
                    <a:pt x="730922" y="30399"/>
                  </a:lnTo>
                  <a:lnTo>
                    <a:pt x="730922" y="39769"/>
                  </a:lnTo>
                  <a:lnTo>
                    <a:pt x="729866" y="39769"/>
                  </a:lnTo>
                  <a:cubicBezTo>
                    <a:pt x="727239" y="33243"/>
                    <a:pt x="720607" y="29394"/>
                    <a:pt x="711852" y="29394"/>
                  </a:cubicBezTo>
                  <a:cubicBezTo>
                    <a:pt x="697693" y="29394"/>
                    <a:pt x="688434" y="39434"/>
                    <a:pt x="688434" y="54996"/>
                  </a:cubicBezTo>
                  <a:lnTo>
                    <a:pt x="688434" y="65872"/>
                  </a:lnTo>
                  <a:cubicBezTo>
                    <a:pt x="688434" y="81378"/>
                    <a:pt x="697636" y="91474"/>
                    <a:pt x="711633" y="91474"/>
                  </a:cubicBezTo>
                  <a:cubicBezTo>
                    <a:pt x="720436" y="91474"/>
                    <a:pt x="727125" y="87625"/>
                    <a:pt x="729809" y="81266"/>
                  </a:cubicBezTo>
                  <a:lnTo>
                    <a:pt x="730808" y="81266"/>
                  </a:lnTo>
                  <a:lnTo>
                    <a:pt x="730808" y="90693"/>
                  </a:lnTo>
                  <a:cubicBezTo>
                    <a:pt x="730808" y="100398"/>
                    <a:pt x="724956" y="105753"/>
                    <a:pt x="714364" y="105753"/>
                  </a:cubicBezTo>
                  <a:cubicBezTo>
                    <a:pt x="706276" y="105753"/>
                    <a:pt x="700195" y="102462"/>
                    <a:pt x="698977" y="97441"/>
                  </a:cubicBezTo>
                  <a:lnTo>
                    <a:pt x="689604" y="97441"/>
                  </a:lnTo>
                  <a:cubicBezTo>
                    <a:pt x="690832" y="107481"/>
                    <a:pt x="700195" y="113617"/>
                    <a:pt x="714193" y="113617"/>
                  </a:cubicBezTo>
                  <a:close/>
                  <a:moveTo>
                    <a:pt x="697969" y="64533"/>
                  </a:moveTo>
                  <a:lnTo>
                    <a:pt x="697969" y="56223"/>
                  </a:lnTo>
                  <a:cubicBezTo>
                    <a:pt x="697969" y="45124"/>
                    <a:pt x="704439" y="37928"/>
                    <a:pt x="714469" y="37928"/>
                  </a:cubicBezTo>
                  <a:cubicBezTo>
                    <a:pt x="724451" y="37928"/>
                    <a:pt x="730865" y="45068"/>
                    <a:pt x="730865" y="56223"/>
                  </a:cubicBezTo>
                  <a:lnTo>
                    <a:pt x="730865" y="64533"/>
                  </a:lnTo>
                  <a:cubicBezTo>
                    <a:pt x="730865" y="75689"/>
                    <a:pt x="724451" y="82884"/>
                    <a:pt x="714469" y="82884"/>
                  </a:cubicBezTo>
                  <a:cubicBezTo>
                    <a:pt x="704439" y="82884"/>
                    <a:pt x="697969" y="75633"/>
                    <a:pt x="697969" y="64533"/>
                  </a:cubicBezTo>
                  <a:close/>
                  <a:moveTo>
                    <a:pt x="761753" y="90916"/>
                  </a:moveTo>
                  <a:lnTo>
                    <a:pt x="771231" y="90916"/>
                  </a:lnTo>
                  <a:lnTo>
                    <a:pt x="771231" y="55330"/>
                  </a:lnTo>
                  <a:cubicBezTo>
                    <a:pt x="771231" y="45011"/>
                    <a:pt x="777978" y="38040"/>
                    <a:pt x="787960" y="38040"/>
                  </a:cubicBezTo>
                  <a:cubicBezTo>
                    <a:pt x="797438" y="38040"/>
                    <a:pt x="801901" y="43227"/>
                    <a:pt x="801901" y="54103"/>
                  </a:cubicBezTo>
                  <a:lnTo>
                    <a:pt x="801901" y="90916"/>
                  </a:lnTo>
                  <a:lnTo>
                    <a:pt x="811379" y="90916"/>
                  </a:lnTo>
                  <a:lnTo>
                    <a:pt x="811379" y="51705"/>
                  </a:lnTo>
                  <a:cubicBezTo>
                    <a:pt x="811379" y="37259"/>
                    <a:pt x="804242" y="29338"/>
                    <a:pt x="791081" y="29338"/>
                  </a:cubicBezTo>
                  <a:cubicBezTo>
                    <a:pt x="781832" y="29338"/>
                    <a:pt x="774857" y="33578"/>
                    <a:pt x="771678" y="41108"/>
                  </a:cubicBezTo>
                  <a:lnTo>
                    <a:pt x="770898" y="41108"/>
                  </a:lnTo>
                  <a:lnTo>
                    <a:pt x="770898" y="6638"/>
                  </a:lnTo>
                  <a:lnTo>
                    <a:pt x="761753" y="6638"/>
                  </a:lnTo>
                  <a:lnTo>
                    <a:pt x="761753" y="90916"/>
                  </a:lnTo>
                  <a:close/>
                  <a:moveTo>
                    <a:pt x="931535" y="29394"/>
                  </a:moveTo>
                  <a:cubicBezTo>
                    <a:pt x="922895" y="29394"/>
                    <a:pt x="916595" y="32964"/>
                    <a:pt x="913417" y="39657"/>
                  </a:cubicBezTo>
                  <a:lnTo>
                    <a:pt x="912408" y="39657"/>
                  </a:lnTo>
                  <a:lnTo>
                    <a:pt x="912408" y="30399"/>
                  </a:lnTo>
                  <a:lnTo>
                    <a:pt x="903045" y="30399"/>
                  </a:lnTo>
                  <a:lnTo>
                    <a:pt x="903045" y="111330"/>
                  </a:lnTo>
                  <a:lnTo>
                    <a:pt x="912684" y="111330"/>
                  </a:lnTo>
                  <a:lnTo>
                    <a:pt x="912684" y="81545"/>
                  </a:lnTo>
                  <a:lnTo>
                    <a:pt x="913750" y="81545"/>
                  </a:lnTo>
                  <a:cubicBezTo>
                    <a:pt x="916367" y="88183"/>
                    <a:pt x="922781" y="91920"/>
                    <a:pt x="931535" y="91920"/>
                  </a:cubicBezTo>
                  <a:cubicBezTo>
                    <a:pt x="945533" y="91920"/>
                    <a:pt x="954678" y="81824"/>
                    <a:pt x="954678" y="66318"/>
                  </a:cubicBezTo>
                  <a:lnTo>
                    <a:pt x="954678" y="55051"/>
                  </a:lnTo>
                  <a:cubicBezTo>
                    <a:pt x="954678" y="39490"/>
                    <a:pt x="945533" y="29394"/>
                    <a:pt x="931535" y="29394"/>
                  </a:cubicBezTo>
                  <a:close/>
                  <a:moveTo>
                    <a:pt x="928804" y="38096"/>
                  </a:moveTo>
                  <a:cubicBezTo>
                    <a:pt x="938786" y="38096"/>
                    <a:pt x="945143" y="45235"/>
                    <a:pt x="945143" y="56390"/>
                  </a:cubicBezTo>
                  <a:lnTo>
                    <a:pt x="945143" y="65091"/>
                  </a:lnTo>
                  <a:cubicBezTo>
                    <a:pt x="945143" y="76247"/>
                    <a:pt x="938786" y="83441"/>
                    <a:pt x="928804" y="83441"/>
                  </a:cubicBezTo>
                  <a:cubicBezTo>
                    <a:pt x="918822" y="83441"/>
                    <a:pt x="912465" y="76302"/>
                    <a:pt x="912465" y="65091"/>
                  </a:cubicBezTo>
                  <a:lnTo>
                    <a:pt x="912465" y="56390"/>
                  </a:lnTo>
                  <a:cubicBezTo>
                    <a:pt x="912465" y="45235"/>
                    <a:pt x="918822" y="38096"/>
                    <a:pt x="928804" y="38096"/>
                  </a:cubicBezTo>
                  <a:close/>
                  <a:moveTo>
                    <a:pt x="995939" y="63808"/>
                  </a:moveTo>
                  <a:cubicBezTo>
                    <a:pt x="995939" y="48415"/>
                    <a:pt x="1003856" y="39155"/>
                    <a:pt x="1017235" y="39155"/>
                  </a:cubicBezTo>
                  <a:cubicBezTo>
                    <a:pt x="1020527" y="39155"/>
                    <a:pt x="1024429" y="39824"/>
                    <a:pt x="1027217" y="40829"/>
                  </a:cubicBezTo>
                  <a:lnTo>
                    <a:pt x="1027217" y="30175"/>
                  </a:lnTo>
                  <a:cubicBezTo>
                    <a:pt x="1025209" y="29338"/>
                    <a:pt x="1021917" y="28836"/>
                    <a:pt x="1018462" y="28836"/>
                  </a:cubicBezTo>
                  <a:cubicBezTo>
                    <a:pt x="1006806" y="28836"/>
                    <a:pt x="999279" y="34637"/>
                    <a:pt x="997052" y="45848"/>
                  </a:cubicBezTo>
                  <a:lnTo>
                    <a:pt x="995824" y="45848"/>
                  </a:lnTo>
                  <a:lnTo>
                    <a:pt x="995824" y="30399"/>
                  </a:lnTo>
                  <a:lnTo>
                    <a:pt x="973243" y="30399"/>
                  </a:lnTo>
                  <a:lnTo>
                    <a:pt x="973243" y="37984"/>
                  </a:lnTo>
                  <a:lnTo>
                    <a:pt x="986680" y="37984"/>
                  </a:lnTo>
                  <a:lnTo>
                    <a:pt x="986680" y="83330"/>
                  </a:lnTo>
                  <a:lnTo>
                    <a:pt x="974471" y="83330"/>
                  </a:lnTo>
                  <a:lnTo>
                    <a:pt x="974471" y="90916"/>
                  </a:lnTo>
                  <a:lnTo>
                    <a:pt x="1014666" y="90916"/>
                  </a:lnTo>
                  <a:lnTo>
                    <a:pt x="1014666" y="83330"/>
                  </a:lnTo>
                  <a:lnTo>
                    <a:pt x="995939" y="83330"/>
                  </a:lnTo>
                  <a:lnTo>
                    <a:pt x="995939" y="63808"/>
                  </a:lnTo>
                  <a:close/>
                  <a:moveTo>
                    <a:pt x="1069981" y="15562"/>
                  </a:moveTo>
                  <a:cubicBezTo>
                    <a:pt x="1074444" y="15562"/>
                    <a:pt x="1077841" y="12215"/>
                    <a:pt x="1077841" y="7753"/>
                  </a:cubicBezTo>
                  <a:cubicBezTo>
                    <a:pt x="1077841" y="3347"/>
                    <a:pt x="1074444" y="0"/>
                    <a:pt x="1069981" y="0"/>
                  </a:cubicBezTo>
                  <a:cubicBezTo>
                    <a:pt x="1065518" y="0"/>
                    <a:pt x="1062121" y="3347"/>
                    <a:pt x="1062121" y="7753"/>
                  </a:cubicBezTo>
                  <a:cubicBezTo>
                    <a:pt x="1062121" y="12215"/>
                    <a:pt x="1065518" y="15562"/>
                    <a:pt x="1069981" y="15562"/>
                  </a:cubicBezTo>
                  <a:close/>
                  <a:moveTo>
                    <a:pt x="1095351" y="90916"/>
                  </a:moveTo>
                  <a:lnTo>
                    <a:pt x="1095351" y="83051"/>
                  </a:lnTo>
                  <a:lnTo>
                    <a:pt x="1075329" y="83051"/>
                  </a:lnTo>
                  <a:lnTo>
                    <a:pt x="1075329" y="30399"/>
                  </a:lnTo>
                  <a:lnTo>
                    <a:pt x="1045392" y="30399"/>
                  </a:lnTo>
                  <a:lnTo>
                    <a:pt x="1045392" y="38263"/>
                  </a:lnTo>
                  <a:lnTo>
                    <a:pt x="1065966" y="38263"/>
                  </a:lnTo>
                  <a:lnTo>
                    <a:pt x="1065966" y="83051"/>
                  </a:lnTo>
                  <a:lnTo>
                    <a:pt x="1045221" y="83051"/>
                  </a:lnTo>
                  <a:lnTo>
                    <a:pt x="1045221" y="90916"/>
                  </a:lnTo>
                  <a:lnTo>
                    <a:pt x="1095351" y="90916"/>
                  </a:lnTo>
                  <a:close/>
                  <a:moveTo>
                    <a:pt x="1139504" y="92032"/>
                  </a:moveTo>
                  <a:cubicBezTo>
                    <a:pt x="1155510" y="92032"/>
                    <a:pt x="1165711" y="81601"/>
                    <a:pt x="1165711" y="65259"/>
                  </a:cubicBezTo>
                  <a:lnTo>
                    <a:pt x="1165711" y="56112"/>
                  </a:lnTo>
                  <a:cubicBezTo>
                    <a:pt x="1165711" y="39769"/>
                    <a:pt x="1155510" y="29338"/>
                    <a:pt x="1139504" y="29338"/>
                  </a:cubicBezTo>
                  <a:cubicBezTo>
                    <a:pt x="1123508" y="29338"/>
                    <a:pt x="1113307" y="39769"/>
                    <a:pt x="1113307" y="56112"/>
                  </a:cubicBezTo>
                  <a:lnTo>
                    <a:pt x="1113307" y="65259"/>
                  </a:lnTo>
                  <a:cubicBezTo>
                    <a:pt x="1113307" y="81601"/>
                    <a:pt x="1123508" y="92032"/>
                    <a:pt x="1139504" y="92032"/>
                  </a:cubicBezTo>
                  <a:close/>
                  <a:moveTo>
                    <a:pt x="1139504" y="37706"/>
                  </a:moveTo>
                  <a:cubicBezTo>
                    <a:pt x="1149876" y="37706"/>
                    <a:pt x="1156347" y="45068"/>
                    <a:pt x="1156347" y="56948"/>
                  </a:cubicBezTo>
                  <a:lnTo>
                    <a:pt x="1156347" y="64366"/>
                  </a:lnTo>
                  <a:cubicBezTo>
                    <a:pt x="1156347" y="76302"/>
                    <a:pt x="1149876" y="83609"/>
                    <a:pt x="1139504" y="83609"/>
                  </a:cubicBezTo>
                  <a:cubicBezTo>
                    <a:pt x="1129141" y="83609"/>
                    <a:pt x="1122671" y="76302"/>
                    <a:pt x="1122671" y="64366"/>
                  </a:cubicBezTo>
                  <a:lnTo>
                    <a:pt x="1122671" y="56948"/>
                  </a:lnTo>
                  <a:cubicBezTo>
                    <a:pt x="1122671" y="45068"/>
                    <a:pt x="1129141" y="37706"/>
                    <a:pt x="1139504" y="37706"/>
                  </a:cubicBezTo>
                  <a:close/>
                  <a:moveTo>
                    <a:pt x="1207695" y="63808"/>
                  </a:moveTo>
                  <a:cubicBezTo>
                    <a:pt x="1207695" y="48415"/>
                    <a:pt x="1215612" y="39155"/>
                    <a:pt x="1229001" y="39155"/>
                  </a:cubicBezTo>
                  <a:cubicBezTo>
                    <a:pt x="1232284" y="39155"/>
                    <a:pt x="1236195" y="39824"/>
                    <a:pt x="1238983" y="40829"/>
                  </a:cubicBezTo>
                  <a:lnTo>
                    <a:pt x="1238983" y="30175"/>
                  </a:lnTo>
                  <a:cubicBezTo>
                    <a:pt x="1236975" y="29338"/>
                    <a:pt x="1233682" y="28836"/>
                    <a:pt x="1230228" y="28836"/>
                  </a:cubicBezTo>
                  <a:cubicBezTo>
                    <a:pt x="1218571" y="28836"/>
                    <a:pt x="1211044" y="34637"/>
                    <a:pt x="1208818" y="45848"/>
                  </a:cubicBezTo>
                  <a:lnTo>
                    <a:pt x="1207590" y="45848"/>
                  </a:lnTo>
                  <a:lnTo>
                    <a:pt x="1207590" y="30399"/>
                  </a:lnTo>
                  <a:lnTo>
                    <a:pt x="1185009" y="30399"/>
                  </a:lnTo>
                  <a:lnTo>
                    <a:pt x="1185009" y="37984"/>
                  </a:lnTo>
                  <a:lnTo>
                    <a:pt x="1198445" y="37984"/>
                  </a:lnTo>
                  <a:lnTo>
                    <a:pt x="1198445" y="83330"/>
                  </a:lnTo>
                  <a:lnTo>
                    <a:pt x="1186237" y="83330"/>
                  </a:lnTo>
                  <a:lnTo>
                    <a:pt x="1186237" y="90916"/>
                  </a:lnTo>
                  <a:lnTo>
                    <a:pt x="1226431" y="90916"/>
                  </a:lnTo>
                  <a:lnTo>
                    <a:pt x="1226431" y="83330"/>
                  </a:lnTo>
                  <a:lnTo>
                    <a:pt x="1207695" y="83330"/>
                  </a:lnTo>
                  <a:lnTo>
                    <a:pt x="1207695" y="63808"/>
                  </a:lnTo>
                  <a:close/>
                  <a:moveTo>
                    <a:pt x="1281747" y="15562"/>
                  </a:moveTo>
                  <a:cubicBezTo>
                    <a:pt x="1286201" y="15562"/>
                    <a:pt x="1289607" y="12215"/>
                    <a:pt x="1289607" y="7753"/>
                  </a:cubicBezTo>
                  <a:cubicBezTo>
                    <a:pt x="1289607" y="3347"/>
                    <a:pt x="1286201" y="0"/>
                    <a:pt x="1281747" y="0"/>
                  </a:cubicBezTo>
                  <a:cubicBezTo>
                    <a:pt x="1277284" y="0"/>
                    <a:pt x="1273887" y="3347"/>
                    <a:pt x="1273887" y="7753"/>
                  </a:cubicBezTo>
                  <a:cubicBezTo>
                    <a:pt x="1273887" y="12215"/>
                    <a:pt x="1277284" y="15562"/>
                    <a:pt x="1281747" y="15562"/>
                  </a:cubicBezTo>
                  <a:close/>
                  <a:moveTo>
                    <a:pt x="1307116" y="90916"/>
                  </a:moveTo>
                  <a:lnTo>
                    <a:pt x="1307116" y="83051"/>
                  </a:lnTo>
                  <a:lnTo>
                    <a:pt x="1287095" y="83051"/>
                  </a:lnTo>
                  <a:lnTo>
                    <a:pt x="1287095" y="30399"/>
                  </a:lnTo>
                  <a:lnTo>
                    <a:pt x="1257158" y="30399"/>
                  </a:lnTo>
                  <a:lnTo>
                    <a:pt x="1257158" y="38263"/>
                  </a:lnTo>
                  <a:lnTo>
                    <a:pt x="1277731" y="38263"/>
                  </a:lnTo>
                  <a:lnTo>
                    <a:pt x="1277731" y="83051"/>
                  </a:lnTo>
                  <a:lnTo>
                    <a:pt x="1256987" y="83051"/>
                  </a:lnTo>
                  <a:lnTo>
                    <a:pt x="1256987" y="90916"/>
                  </a:lnTo>
                  <a:lnTo>
                    <a:pt x="1307116" y="90916"/>
                  </a:lnTo>
                  <a:close/>
                  <a:moveTo>
                    <a:pt x="1340955" y="14167"/>
                  </a:moveTo>
                  <a:lnTo>
                    <a:pt x="1340955" y="30566"/>
                  </a:lnTo>
                  <a:lnTo>
                    <a:pt x="1324845" y="30566"/>
                  </a:lnTo>
                  <a:lnTo>
                    <a:pt x="1324845" y="38654"/>
                  </a:lnTo>
                  <a:lnTo>
                    <a:pt x="1340955" y="38654"/>
                  </a:lnTo>
                  <a:lnTo>
                    <a:pt x="1340955" y="72900"/>
                  </a:lnTo>
                  <a:cubicBezTo>
                    <a:pt x="1340955" y="85505"/>
                    <a:pt x="1347930" y="91195"/>
                    <a:pt x="1362927" y="91195"/>
                  </a:cubicBezTo>
                  <a:cubicBezTo>
                    <a:pt x="1365829" y="91195"/>
                    <a:pt x="1373185" y="90916"/>
                    <a:pt x="1374688" y="90637"/>
                  </a:cubicBezTo>
                  <a:lnTo>
                    <a:pt x="1374688" y="82606"/>
                  </a:lnTo>
                  <a:cubicBezTo>
                    <a:pt x="1373071" y="82772"/>
                    <a:pt x="1367000" y="82940"/>
                    <a:pt x="1363593" y="82940"/>
                  </a:cubicBezTo>
                  <a:cubicBezTo>
                    <a:pt x="1355067" y="82940"/>
                    <a:pt x="1350433" y="79370"/>
                    <a:pt x="1350433" y="72789"/>
                  </a:cubicBezTo>
                  <a:lnTo>
                    <a:pt x="1350433" y="38654"/>
                  </a:lnTo>
                  <a:lnTo>
                    <a:pt x="1374860" y="38654"/>
                  </a:lnTo>
                  <a:lnTo>
                    <a:pt x="1374860" y="30566"/>
                  </a:lnTo>
                  <a:lnTo>
                    <a:pt x="1350328" y="30566"/>
                  </a:lnTo>
                  <a:lnTo>
                    <a:pt x="1350328" y="14167"/>
                  </a:lnTo>
                  <a:lnTo>
                    <a:pt x="1340955" y="14167"/>
                  </a:lnTo>
                  <a:close/>
                  <a:moveTo>
                    <a:pt x="1404911" y="112446"/>
                  </a:moveTo>
                  <a:cubicBezTo>
                    <a:pt x="1416120" y="112446"/>
                    <a:pt x="1421192" y="108039"/>
                    <a:pt x="1426493" y="93147"/>
                  </a:cubicBezTo>
                  <a:lnTo>
                    <a:pt x="1449293" y="30399"/>
                  </a:lnTo>
                  <a:lnTo>
                    <a:pt x="1439206" y="30399"/>
                  </a:lnTo>
                  <a:lnTo>
                    <a:pt x="1422306" y="81044"/>
                  </a:lnTo>
                  <a:lnTo>
                    <a:pt x="1421582" y="81044"/>
                  </a:lnTo>
                  <a:lnTo>
                    <a:pt x="1404635" y="30399"/>
                  </a:lnTo>
                  <a:lnTo>
                    <a:pt x="1394320" y="30399"/>
                  </a:lnTo>
                  <a:lnTo>
                    <a:pt x="1416568" y="91306"/>
                  </a:lnTo>
                  <a:lnTo>
                    <a:pt x="1415502" y="94597"/>
                  </a:lnTo>
                  <a:cubicBezTo>
                    <a:pt x="1412999" y="101625"/>
                    <a:pt x="1409878" y="104190"/>
                    <a:pt x="1404187" y="104190"/>
                  </a:cubicBezTo>
                  <a:cubicBezTo>
                    <a:pt x="1403293" y="104190"/>
                    <a:pt x="1401561" y="104135"/>
                    <a:pt x="1400838" y="103968"/>
                  </a:cubicBezTo>
                  <a:lnTo>
                    <a:pt x="1400838" y="112278"/>
                  </a:lnTo>
                  <a:cubicBezTo>
                    <a:pt x="1401675" y="112390"/>
                    <a:pt x="1403521" y="112446"/>
                    <a:pt x="1404911" y="112446"/>
                  </a:cubicBezTo>
                  <a:close/>
                  <a:moveTo>
                    <a:pt x="1566833" y="91920"/>
                  </a:moveTo>
                  <a:cubicBezTo>
                    <a:pt x="1580821" y="91920"/>
                    <a:pt x="1589966" y="81824"/>
                    <a:pt x="1589966" y="66263"/>
                  </a:cubicBezTo>
                  <a:lnTo>
                    <a:pt x="1589966" y="54996"/>
                  </a:lnTo>
                  <a:cubicBezTo>
                    <a:pt x="1589966" y="39490"/>
                    <a:pt x="1580821" y="29394"/>
                    <a:pt x="1566833" y="29394"/>
                  </a:cubicBezTo>
                  <a:cubicBezTo>
                    <a:pt x="1558078" y="29394"/>
                    <a:pt x="1551664" y="33132"/>
                    <a:pt x="1548990" y="39769"/>
                  </a:cubicBezTo>
                  <a:lnTo>
                    <a:pt x="1547981" y="39769"/>
                  </a:lnTo>
                  <a:lnTo>
                    <a:pt x="1547981" y="6638"/>
                  </a:lnTo>
                  <a:lnTo>
                    <a:pt x="1538342" y="6638"/>
                  </a:lnTo>
                  <a:lnTo>
                    <a:pt x="1538342" y="90916"/>
                  </a:lnTo>
                  <a:lnTo>
                    <a:pt x="1547648" y="90916"/>
                  </a:lnTo>
                  <a:lnTo>
                    <a:pt x="1547648" y="81657"/>
                  </a:lnTo>
                  <a:lnTo>
                    <a:pt x="1548705" y="81657"/>
                  </a:lnTo>
                  <a:cubicBezTo>
                    <a:pt x="1551826" y="88350"/>
                    <a:pt x="1558183" y="91920"/>
                    <a:pt x="1566833" y="91920"/>
                  </a:cubicBezTo>
                  <a:close/>
                  <a:moveTo>
                    <a:pt x="1564044" y="83275"/>
                  </a:moveTo>
                  <a:cubicBezTo>
                    <a:pt x="1554119" y="83275"/>
                    <a:pt x="1547763" y="76135"/>
                    <a:pt x="1547763" y="64924"/>
                  </a:cubicBezTo>
                  <a:lnTo>
                    <a:pt x="1547763" y="56223"/>
                  </a:lnTo>
                  <a:cubicBezTo>
                    <a:pt x="1547763" y="45068"/>
                    <a:pt x="1554119" y="37928"/>
                    <a:pt x="1564044" y="37928"/>
                  </a:cubicBezTo>
                  <a:cubicBezTo>
                    <a:pt x="1574074" y="37928"/>
                    <a:pt x="1580431" y="45068"/>
                    <a:pt x="1580431" y="56223"/>
                  </a:cubicBezTo>
                  <a:lnTo>
                    <a:pt x="1580431" y="64924"/>
                  </a:lnTo>
                  <a:cubicBezTo>
                    <a:pt x="1580431" y="76079"/>
                    <a:pt x="1574074" y="83275"/>
                    <a:pt x="1564044" y="83275"/>
                  </a:cubicBezTo>
                  <a:close/>
                  <a:moveTo>
                    <a:pt x="1658385" y="30399"/>
                  </a:moveTo>
                  <a:lnTo>
                    <a:pt x="1648907" y="30399"/>
                  </a:lnTo>
                  <a:lnTo>
                    <a:pt x="1648907" y="66039"/>
                  </a:lnTo>
                  <a:cubicBezTo>
                    <a:pt x="1648907" y="76358"/>
                    <a:pt x="1642217" y="83330"/>
                    <a:pt x="1632235" y="83330"/>
                  </a:cubicBezTo>
                  <a:cubicBezTo>
                    <a:pt x="1622805" y="83330"/>
                    <a:pt x="1618351" y="78199"/>
                    <a:pt x="1618351" y="67266"/>
                  </a:cubicBezTo>
                  <a:lnTo>
                    <a:pt x="1618351" y="30399"/>
                  </a:lnTo>
                  <a:lnTo>
                    <a:pt x="1608874" y="30399"/>
                  </a:lnTo>
                  <a:lnTo>
                    <a:pt x="1608874" y="69665"/>
                  </a:lnTo>
                  <a:cubicBezTo>
                    <a:pt x="1608874" y="84167"/>
                    <a:pt x="1616010" y="92032"/>
                    <a:pt x="1629161" y="92032"/>
                  </a:cubicBezTo>
                  <a:cubicBezTo>
                    <a:pt x="1638363" y="92032"/>
                    <a:pt x="1645281" y="87793"/>
                    <a:pt x="1648516" y="80263"/>
                  </a:cubicBezTo>
                  <a:lnTo>
                    <a:pt x="1649297" y="80263"/>
                  </a:lnTo>
                  <a:lnTo>
                    <a:pt x="1649297" y="90916"/>
                  </a:lnTo>
                  <a:lnTo>
                    <a:pt x="1658385" y="90916"/>
                  </a:lnTo>
                  <a:lnTo>
                    <a:pt x="1658385" y="30399"/>
                  </a:lnTo>
                  <a:close/>
                  <a:moveTo>
                    <a:pt x="1702433" y="113617"/>
                  </a:moveTo>
                  <a:cubicBezTo>
                    <a:pt x="1718820" y="113617"/>
                    <a:pt x="1728526" y="105139"/>
                    <a:pt x="1728526" y="90916"/>
                  </a:cubicBezTo>
                  <a:lnTo>
                    <a:pt x="1728526" y="30399"/>
                  </a:lnTo>
                  <a:lnTo>
                    <a:pt x="1719153" y="30399"/>
                  </a:lnTo>
                  <a:lnTo>
                    <a:pt x="1719153" y="39769"/>
                  </a:lnTo>
                  <a:lnTo>
                    <a:pt x="1718096" y="39769"/>
                  </a:lnTo>
                  <a:cubicBezTo>
                    <a:pt x="1715480" y="33243"/>
                    <a:pt x="1708838" y="29394"/>
                    <a:pt x="1700092" y="29394"/>
                  </a:cubicBezTo>
                  <a:cubicBezTo>
                    <a:pt x="1685923" y="29394"/>
                    <a:pt x="1676674" y="39434"/>
                    <a:pt x="1676674" y="54996"/>
                  </a:cubicBezTo>
                  <a:lnTo>
                    <a:pt x="1676674" y="65872"/>
                  </a:lnTo>
                  <a:cubicBezTo>
                    <a:pt x="1676674" y="81378"/>
                    <a:pt x="1685866" y="91474"/>
                    <a:pt x="1699864" y="91474"/>
                  </a:cubicBezTo>
                  <a:cubicBezTo>
                    <a:pt x="1708676" y="91474"/>
                    <a:pt x="1715365" y="87625"/>
                    <a:pt x="1718039" y="81266"/>
                  </a:cubicBezTo>
                  <a:lnTo>
                    <a:pt x="1719048" y="81266"/>
                  </a:lnTo>
                  <a:lnTo>
                    <a:pt x="1719048" y="90693"/>
                  </a:lnTo>
                  <a:cubicBezTo>
                    <a:pt x="1719048" y="100398"/>
                    <a:pt x="1713196" y="105753"/>
                    <a:pt x="1702595" y="105753"/>
                  </a:cubicBezTo>
                  <a:cubicBezTo>
                    <a:pt x="1694516" y="105753"/>
                    <a:pt x="1688435" y="102462"/>
                    <a:pt x="1687208" y="97441"/>
                  </a:cubicBezTo>
                  <a:lnTo>
                    <a:pt x="1677844" y="97441"/>
                  </a:lnTo>
                  <a:cubicBezTo>
                    <a:pt x="1679072" y="107481"/>
                    <a:pt x="1688435" y="113617"/>
                    <a:pt x="1702433" y="113617"/>
                  </a:cubicBezTo>
                  <a:close/>
                  <a:moveTo>
                    <a:pt x="1686209" y="64533"/>
                  </a:moveTo>
                  <a:lnTo>
                    <a:pt x="1686209" y="56223"/>
                  </a:lnTo>
                  <a:cubicBezTo>
                    <a:pt x="1686209" y="45124"/>
                    <a:pt x="1692670" y="37928"/>
                    <a:pt x="1702709" y="37928"/>
                  </a:cubicBezTo>
                  <a:cubicBezTo>
                    <a:pt x="1712691" y="37928"/>
                    <a:pt x="1719105" y="45068"/>
                    <a:pt x="1719105" y="56223"/>
                  </a:cubicBezTo>
                  <a:lnTo>
                    <a:pt x="1719105" y="64533"/>
                  </a:lnTo>
                  <a:cubicBezTo>
                    <a:pt x="1719105" y="75689"/>
                    <a:pt x="1712691" y="82884"/>
                    <a:pt x="1702709" y="82884"/>
                  </a:cubicBezTo>
                  <a:cubicBezTo>
                    <a:pt x="1692670" y="82884"/>
                    <a:pt x="1686209" y="75633"/>
                    <a:pt x="1686209" y="64533"/>
                  </a:cubicBezTo>
                  <a:close/>
                  <a:moveTo>
                    <a:pt x="1752782" y="46741"/>
                  </a:moveTo>
                  <a:cubicBezTo>
                    <a:pt x="1752782" y="55330"/>
                    <a:pt x="1758187" y="60852"/>
                    <a:pt x="1769111" y="63363"/>
                  </a:cubicBezTo>
                  <a:lnTo>
                    <a:pt x="1778094" y="65426"/>
                  </a:lnTo>
                  <a:cubicBezTo>
                    <a:pt x="1785783" y="67155"/>
                    <a:pt x="1788742" y="69720"/>
                    <a:pt x="1788742" y="74517"/>
                  </a:cubicBezTo>
                  <a:cubicBezTo>
                    <a:pt x="1788742" y="80318"/>
                    <a:pt x="1783499" y="84055"/>
                    <a:pt x="1775248" y="84055"/>
                  </a:cubicBezTo>
                  <a:cubicBezTo>
                    <a:pt x="1767446" y="84055"/>
                    <a:pt x="1762088" y="80821"/>
                    <a:pt x="1760699" y="75243"/>
                  </a:cubicBezTo>
                  <a:lnTo>
                    <a:pt x="1751050" y="75243"/>
                  </a:lnTo>
                  <a:cubicBezTo>
                    <a:pt x="1752106" y="85617"/>
                    <a:pt x="1761194" y="92032"/>
                    <a:pt x="1774916" y="92032"/>
                  </a:cubicBezTo>
                  <a:cubicBezTo>
                    <a:pt x="1789246" y="92032"/>
                    <a:pt x="1798553" y="84781"/>
                    <a:pt x="1798553" y="73625"/>
                  </a:cubicBezTo>
                  <a:cubicBezTo>
                    <a:pt x="1798553" y="64869"/>
                    <a:pt x="1793205" y="59737"/>
                    <a:pt x="1781434" y="57060"/>
                  </a:cubicBezTo>
                  <a:lnTo>
                    <a:pt x="1772908" y="55108"/>
                  </a:lnTo>
                  <a:cubicBezTo>
                    <a:pt x="1765323" y="53434"/>
                    <a:pt x="1762202" y="50812"/>
                    <a:pt x="1762202" y="46183"/>
                  </a:cubicBezTo>
                  <a:cubicBezTo>
                    <a:pt x="1762202" y="40661"/>
                    <a:pt x="1767160" y="37092"/>
                    <a:pt x="1774858" y="37092"/>
                  </a:cubicBezTo>
                  <a:cubicBezTo>
                    <a:pt x="1781938" y="37092"/>
                    <a:pt x="1787010" y="40326"/>
                    <a:pt x="1788133" y="45625"/>
                  </a:cubicBezTo>
                  <a:lnTo>
                    <a:pt x="1797268" y="45625"/>
                  </a:lnTo>
                  <a:cubicBezTo>
                    <a:pt x="1796155" y="35529"/>
                    <a:pt x="1787629" y="29227"/>
                    <a:pt x="1775030" y="29227"/>
                  </a:cubicBezTo>
                  <a:cubicBezTo>
                    <a:pt x="1761698" y="29227"/>
                    <a:pt x="1752782" y="36255"/>
                    <a:pt x="1752782" y="46741"/>
                  </a:cubicBezTo>
                  <a:close/>
                  <a:moveTo>
                    <a:pt x="10096" y="248318"/>
                  </a:moveTo>
                  <a:cubicBezTo>
                    <a:pt x="15616" y="248318"/>
                    <a:pt x="20183" y="243632"/>
                    <a:pt x="20183" y="237999"/>
                  </a:cubicBezTo>
                  <a:cubicBezTo>
                    <a:pt x="20183" y="232365"/>
                    <a:pt x="15616" y="227680"/>
                    <a:pt x="10096" y="227680"/>
                  </a:cubicBezTo>
                  <a:cubicBezTo>
                    <a:pt x="4577" y="227680"/>
                    <a:pt x="0" y="232365"/>
                    <a:pt x="0" y="237999"/>
                  </a:cubicBezTo>
                  <a:cubicBezTo>
                    <a:pt x="0" y="243632"/>
                    <a:pt x="4577" y="248318"/>
                    <a:pt x="10096" y="248318"/>
                  </a:cubicBezTo>
                  <a:close/>
                  <a:moveTo>
                    <a:pt x="10096" y="291154"/>
                  </a:moveTo>
                  <a:cubicBezTo>
                    <a:pt x="15616" y="291154"/>
                    <a:pt x="20183" y="286524"/>
                    <a:pt x="20183" y="280835"/>
                  </a:cubicBezTo>
                  <a:cubicBezTo>
                    <a:pt x="20183" y="275202"/>
                    <a:pt x="15616" y="270572"/>
                    <a:pt x="10096" y="270572"/>
                  </a:cubicBezTo>
                  <a:cubicBezTo>
                    <a:pt x="4577" y="270572"/>
                    <a:pt x="0" y="275202"/>
                    <a:pt x="0" y="280835"/>
                  </a:cubicBezTo>
                  <a:cubicBezTo>
                    <a:pt x="0" y="286524"/>
                    <a:pt x="4577" y="291154"/>
                    <a:pt x="10096" y="291154"/>
                  </a:cubicBezTo>
                  <a:close/>
                </a:path>
              </a:pathLst>
            </a:custGeom>
            <a:solidFill>
              <a:srgbClr val="FFFFFF"/>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sp>
          <p:nvSpPr>
            <p:cNvPr id="3700" name="Google Shape;3700;p192"/>
            <p:cNvSpPr/>
            <p:nvPr/>
          </p:nvSpPr>
          <p:spPr>
            <a:xfrm>
              <a:off x="4796385" y="2821973"/>
              <a:ext cx="5385971" cy="3940946"/>
            </a:xfrm>
            <a:custGeom>
              <a:avLst/>
              <a:gdLst/>
              <a:ahLst/>
              <a:cxnLst/>
              <a:rect l="l" t="t" r="r" b="b"/>
              <a:pathLst>
                <a:path w="5385971" h="3940946" extrusionOk="0">
                  <a:moveTo>
                    <a:pt x="66611" y="19038"/>
                  </a:moveTo>
                  <a:lnTo>
                    <a:pt x="5319360" y="19038"/>
                  </a:lnTo>
                  <a:lnTo>
                    <a:pt x="5319360" y="0"/>
                  </a:lnTo>
                  <a:lnTo>
                    <a:pt x="66611" y="0"/>
                  </a:lnTo>
                  <a:lnTo>
                    <a:pt x="66611" y="19038"/>
                  </a:lnTo>
                  <a:close/>
                  <a:moveTo>
                    <a:pt x="5366940" y="66634"/>
                  </a:moveTo>
                  <a:lnTo>
                    <a:pt x="5366940" y="3874313"/>
                  </a:lnTo>
                  <a:lnTo>
                    <a:pt x="5385971" y="3874313"/>
                  </a:lnTo>
                  <a:lnTo>
                    <a:pt x="5385971" y="66634"/>
                  </a:lnTo>
                  <a:lnTo>
                    <a:pt x="5366940" y="66634"/>
                  </a:lnTo>
                  <a:close/>
                  <a:moveTo>
                    <a:pt x="5319360" y="3921909"/>
                  </a:moveTo>
                  <a:lnTo>
                    <a:pt x="66611" y="3921909"/>
                  </a:lnTo>
                  <a:lnTo>
                    <a:pt x="66611" y="3940947"/>
                  </a:lnTo>
                  <a:lnTo>
                    <a:pt x="5319360" y="3940947"/>
                  </a:lnTo>
                  <a:lnTo>
                    <a:pt x="5319360" y="3921909"/>
                  </a:lnTo>
                  <a:close/>
                  <a:moveTo>
                    <a:pt x="19032" y="3874313"/>
                  </a:moveTo>
                  <a:lnTo>
                    <a:pt x="19032" y="66634"/>
                  </a:lnTo>
                  <a:lnTo>
                    <a:pt x="0" y="66634"/>
                  </a:lnTo>
                  <a:lnTo>
                    <a:pt x="0" y="3874313"/>
                  </a:lnTo>
                  <a:lnTo>
                    <a:pt x="19032" y="3874313"/>
                  </a:lnTo>
                  <a:close/>
                  <a:moveTo>
                    <a:pt x="66611" y="3921909"/>
                  </a:moveTo>
                  <a:cubicBezTo>
                    <a:pt x="40334" y="3921909"/>
                    <a:pt x="19032" y="3900595"/>
                    <a:pt x="19032" y="3874313"/>
                  </a:cubicBezTo>
                  <a:lnTo>
                    <a:pt x="0" y="3874313"/>
                  </a:lnTo>
                  <a:cubicBezTo>
                    <a:pt x="0" y="3911114"/>
                    <a:pt x="29823" y="3940947"/>
                    <a:pt x="66611" y="3940947"/>
                  </a:cubicBezTo>
                  <a:lnTo>
                    <a:pt x="66611" y="3921909"/>
                  </a:lnTo>
                  <a:close/>
                  <a:moveTo>
                    <a:pt x="5366940" y="3874313"/>
                  </a:moveTo>
                  <a:cubicBezTo>
                    <a:pt x="5366940" y="3900595"/>
                    <a:pt x="5345634" y="3921909"/>
                    <a:pt x="5319360" y="3921909"/>
                  </a:cubicBezTo>
                  <a:lnTo>
                    <a:pt x="5319360" y="3940947"/>
                  </a:lnTo>
                  <a:cubicBezTo>
                    <a:pt x="5356149" y="3940947"/>
                    <a:pt x="5385971" y="3911114"/>
                    <a:pt x="5385971" y="3874313"/>
                  </a:cubicBezTo>
                  <a:lnTo>
                    <a:pt x="5366940" y="3874313"/>
                  </a:lnTo>
                  <a:close/>
                  <a:moveTo>
                    <a:pt x="5319360" y="19038"/>
                  </a:moveTo>
                  <a:cubicBezTo>
                    <a:pt x="5345634" y="19038"/>
                    <a:pt x="5366940" y="40348"/>
                    <a:pt x="5366940" y="66634"/>
                  </a:cubicBezTo>
                  <a:lnTo>
                    <a:pt x="5385971" y="66634"/>
                  </a:lnTo>
                  <a:cubicBezTo>
                    <a:pt x="5385971" y="29833"/>
                    <a:pt x="5356149" y="0"/>
                    <a:pt x="5319360" y="0"/>
                  </a:cubicBezTo>
                  <a:lnTo>
                    <a:pt x="5319360" y="19038"/>
                  </a:lnTo>
                  <a:close/>
                  <a:moveTo>
                    <a:pt x="66611" y="0"/>
                  </a:moveTo>
                  <a:cubicBezTo>
                    <a:pt x="29823" y="0"/>
                    <a:pt x="0" y="29833"/>
                    <a:pt x="0" y="66634"/>
                  </a:cubicBezTo>
                  <a:lnTo>
                    <a:pt x="19032" y="66634"/>
                  </a:lnTo>
                  <a:cubicBezTo>
                    <a:pt x="19032" y="40348"/>
                    <a:pt x="40334" y="19038"/>
                    <a:pt x="66611" y="19038"/>
                  </a:cubicBezTo>
                  <a:lnTo>
                    <a:pt x="66611" y="0"/>
                  </a:lnTo>
                  <a:close/>
                </a:path>
              </a:pathLst>
            </a:custGeom>
            <a:solidFill>
              <a:srgbClr val="000000">
                <a:alpha val="29800"/>
              </a:srgbClr>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grpSp>
      <p:sp>
        <p:nvSpPr>
          <p:cNvPr id="3701" name="Google Shape;3701;p192"/>
          <p:cNvSpPr/>
          <p:nvPr/>
        </p:nvSpPr>
        <p:spPr>
          <a:xfrm>
            <a:off x="5435599" y="1041400"/>
            <a:ext cx="5626000" cy="404800"/>
          </a:xfrm>
          <a:prstGeom prst="rect">
            <a:avLst/>
          </a:prstGeom>
          <a:solidFill>
            <a:srgbClr val="161B2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702" name="Google Shape;3702;p192"/>
          <p:cNvSpPr/>
          <p:nvPr/>
        </p:nvSpPr>
        <p:spPr>
          <a:xfrm>
            <a:off x="6353605" y="1500675"/>
            <a:ext cx="3759200" cy="298800"/>
          </a:xfrm>
          <a:prstGeom prst="rect">
            <a:avLst/>
          </a:prstGeom>
          <a:solidFill>
            <a:srgbClr val="161B2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grpSp>
        <p:nvGrpSpPr>
          <p:cNvPr id="3703" name="Google Shape;3703;p192"/>
          <p:cNvGrpSpPr/>
          <p:nvPr/>
        </p:nvGrpSpPr>
        <p:grpSpPr>
          <a:xfrm>
            <a:off x="12253600" y="1"/>
            <a:ext cx="3438989" cy="3424452"/>
            <a:chOff x="22170399" y="777240"/>
            <a:chExt cx="6877978" cy="6848903"/>
          </a:xfrm>
        </p:grpSpPr>
        <p:grpSp>
          <p:nvGrpSpPr>
            <p:cNvPr id="3704" name="Google Shape;3704;p192"/>
            <p:cNvGrpSpPr/>
            <p:nvPr/>
          </p:nvGrpSpPr>
          <p:grpSpPr>
            <a:xfrm>
              <a:off x="22170399" y="777240"/>
              <a:ext cx="6877978" cy="6848903"/>
              <a:chOff x="22155159" y="0"/>
              <a:chExt cx="6877978" cy="6848903"/>
            </a:xfrm>
          </p:grpSpPr>
          <p:sp>
            <p:nvSpPr>
              <p:cNvPr id="3705" name="Google Shape;3705;p192"/>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706" name="Google Shape;3706;p192"/>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707" name="Google Shape;3707;p192"/>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708" name="Google Shape;3708;p192"/>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709" name="Google Shape;3709;p192"/>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710" name="Google Shape;3710;p192"/>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711" name="Google Shape;3711;p192"/>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712" name="Google Shape;3712;p192"/>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713" name="Google Shape;3713;p192"/>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714" name="Google Shape;3714;p192"/>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715" name="Google Shape;3715;p192"/>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716" name="Google Shape;3716;p192"/>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717" name="Google Shape;3717;p192"/>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718" name="Google Shape;3718;p192"/>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719" name="Google Shape;3719;p192"/>
          <p:cNvSpPr txBox="1">
            <a:spLocks noGrp="1"/>
          </p:cNvSpPr>
          <p:nvPr>
            <p:ph type="subTitle" idx="1"/>
          </p:nvPr>
        </p:nvSpPr>
        <p:spPr>
          <a:xfrm>
            <a:off x="597408" y="3023616"/>
            <a:ext cx="4096400" cy="3900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720" name="Google Shape;3720;p192"/>
          <p:cNvSpPr txBox="1">
            <a:spLocks noGrp="1"/>
          </p:cNvSpPr>
          <p:nvPr>
            <p:ph type="subTitle" idx="2"/>
          </p:nvPr>
        </p:nvSpPr>
        <p:spPr>
          <a:xfrm>
            <a:off x="597408" y="3348736"/>
            <a:ext cx="40964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721" name="Google Shape;3721;p192"/>
          <p:cNvSpPr txBox="1">
            <a:spLocks noGrp="1"/>
          </p:cNvSpPr>
          <p:nvPr>
            <p:ph type="subTitle" idx="3"/>
          </p:nvPr>
        </p:nvSpPr>
        <p:spPr>
          <a:xfrm>
            <a:off x="5608320" y="1109472"/>
            <a:ext cx="4096400" cy="3292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3722" name="Google Shape;3722;p192"/>
          <p:cNvSpPr txBox="1">
            <a:spLocks noGrp="1"/>
          </p:cNvSpPr>
          <p:nvPr>
            <p:ph type="subTitle" idx="4"/>
          </p:nvPr>
        </p:nvSpPr>
        <p:spPr>
          <a:xfrm>
            <a:off x="6352032" y="1560576"/>
            <a:ext cx="5303600" cy="3292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1pPr>
            <a:lvl2pPr lvl="1"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2pPr>
            <a:lvl3pPr lvl="2"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3pPr>
            <a:lvl4pPr lvl="3"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4pPr>
            <a:lvl5pPr lvl="4"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5pPr>
            <a:lvl6pPr lvl="5"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6pPr>
            <a:lvl7pPr lvl="6"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7pPr>
            <a:lvl8pPr lvl="7"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8pPr>
            <a:lvl9pPr lvl="8"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9pPr>
          </a:lstStyle>
          <a:p>
            <a:endParaRPr/>
          </a:p>
        </p:txBody>
      </p:sp>
      <p:sp>
        <p:nvSpPr>
          <p:cNvPr id="3723" name="Google Shape;3723;p192"/>
          <p:cNvSpPr txBox="1">
            <a:spLocks noGrp="1"/>
          </p:cNvSpPr>
          <p:nvPr>
            <p:ph type="subTitle" idx="5"/>
          </p:nvPr>
        </p:nvSpPr>
        <p:spPr>
          <a:xfrm>
            <a:off x="6352032" y="1853184"/>
            <a:ext cx="5303600" cy="3682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1pPr>
            <a:lvl2pPr lvl="1"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2pPr>
            <a:lvl3pPr lvl="2"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3pPr>
            <a:lvl4pPr lvl="3"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4pPr>
            <a:lvl5pPr lvl="4"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5pPr>
            <a:lvl6pPr lvl="5"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6pPr>
            <a:lvl7pPr lvl="6"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7pPr>
            <a:lvl8pPr lvl="7"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8pPr>
            <a:lvl9pPr lvl="8"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9pPr>
          </a:lstStyle>
          <a:p>
            <a:endParaRPr/>
          </a:p>
        </p:txBody>
      </p:sp>
    </p:spTree>
    <p:extLst>
      <p:ext uri="{BB962C8B-B14F-4D97-AF65-F5344CB8AC3E}">
        <p14:creationId xmlns:p14="http://schemas.microsoft.com/office/powerpoint/2010/main" val="410841669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matchingName="58. Code snippet_2">
  <p:cSld name="58. Code snippet_2">
    <p:spTree>
      <p:nvGrpSpPr>
        <p:cNvPr id="1" name="Shape 3724"/>
        <p:cNvGrpSpPr/>
        <p:nvPr/>
      </p:nvGrpSpPr>
      <p:grpSpPr>
        <a:xfrm>
          <a:off x="0" y="0"/>
          <a:ext cx="0" cy="0"/>
          <a:chOff x="0" y="0"/>
          <a:chExt cx="0" cy="0"/>
        </a:xfrm>
      </p:grpSpPr>
      <p:pic>
        <p:nvPicPr>
          <p:cNvPr id="3725" name="Google Shape;3725;p193"/>
          <p:cNvPicPr preferRelativeResize="0"/>
          <p:nvPr/>
        </p:nvPicPr>
        <p:blipFill rotWithShape="1">
          <a:blip r:embed="rId2">
            <a:alphaModFix/>
          </a:blip>
          <a:srcRect/>
          <a:stretch/>
        </p:blipFill>
        <p:spPr>
          <a:xfrm>
            <a:off x="-2078540" y="-1167400"/>
            <a:ext cx="6858000" cy="6858000"/>
          </a:xfrm>
          <a:prstGeom prst="rect">
            <a:avLst/>
          </a:prstGeom>
          <a:noFill/>
          <a:ln>
            <a:noFill/>
          </a:ln>
        </p:spPr>
      </p:pic>
      <p:grpSp>
        <p:nvGrpSpPr>
          <p:cNvPr id="3726" name="Google Shape;3726;p193"/>
          <p:cNvGrpSpPr/>
          <p:nvPr/>
        </p:nvGrpSpPr>
        <p:grpSpPr>
          <a:xfrm>
            <a:off x="319744" y="884480"/>
            <a:ext cx="6568731" cy="4806377"/>
            <a:chOff x="4796385" y="2821973"/>
            <a:chExt cx="5385971" cy="3940946"/>
          </a:xfrm>
        </p:grpSpPr>
        <p:sp>
          <p:nvSpPr>
            <p:cNvPr id="3727" name="Google Shape;3727;p193"/>
            <p:cNvSpPr/>
            <p:nvPr/>
          </p:nvSpPr>
          <p:spPr>
            <a:xfrm>
              <a:off x="4805901" y="2831493"/>
              <a:ext cx="5366939" cy="3921908"/>
            </a:xfrm>
            <a:custGeom>
              <a:avLst/>
              <a:gdLst/>
              <a:ahLst/>
              <a:cxnLst/>
              <a:rect l="l" t="t" r="r" b="b"/>
              <a:pathLst>
                <a:path w="5366939" h="3921908" extrusionOk="0">
                  <a:moveTo>
                    <a:pt x="0" y="57115"/>
                  </a:moveTo>
                  <a:cubicBezTo>
                    <a:pt x="0" y="25571"/>
                    <a:pt x="25562" y="0"/>
                    <a:pt x="57095" y="0"/>
                  </a:cubicBezTo>
                  <a:lnTo>
                    <a:pt x="5309845" y="0"/>
                  </a:lnTo>
                  <a:cubicBezTo>
                    <a:pt x="5341380" y="0"/>
                    <a:pt x="5366940" y="25571"/>
                    <a:pt x="5366940" y="57115"/>
                  </a:cubicBezTo>
                  <a:lnTo>
                    <a:pt x="5366940" y="3864794"/>
                  </a:lnTo>
                  <a:cubicBezTo>
                    <a:pt x="5366940" y="3896340"/>
                    <a:pt x="5341380" y="3921909"/>
                    <a:pt x="5309845" y="3921909"/>
                  </a:cubicBezTo>
                  <a:lnTo>
                    <a:pt x="57095" y="3921909"/>
                  </a:lnTo>
                  <a:cubicBezTo>
                    <a:pt x="25562" y="3921909"/>
                    <a:pt x="0" y="3896340"/>
                    <a:pt x="0" y="3864794"/>
                  </a:cubicBezTo>
                  <a:lnTo>
                    <a:pt x="0" y="57115"/>
                  </a:lnTo>
                  <a:close/>
                </a:path>
              </a:pathLst>
            </a:custGeom>
            <a:solidFill>
              <a:srgbClr val="161B22"/>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sp>
          <p:nvSpPr>
            <p:cNvPr id="3728" name="Google Shape;3728;p193"/>
            <p:cNvSpPr/>
            <p:nvPr/>
          </p:nvSpPr>
          <p:spPr>
            <a:xfrm>
              <a:off x="4971313" y="3047906"/>
              <a:ext cx="2361341" cy="147696"/>
            </a:xfrm>
            <a:custGeom>
              <a:avLst/>
              <a:gdLst/>
              <a:ahLst/>
              <a:cxnLst/>
              <a:rect l="l" t="t" r="r" b="b"/>
              <a:pathLst>
                <a:path w="2361341" h="147696" extrusionOk="0">
                  <a:moveTo>
                    <a:pt x="11895" y="118246"/>
                  </a:moveTo>
                  <a:cubicBezTo>
                    <a:pt x="18958" y="118246"/>
                    <a:pt x="23790" y="113263"/>
                    <a:pt x="23790" y="106645"/>
                  </a:cubicBezTo>
                  <a:cubicBezTo>
                    <a:pt x="23790" y="100100"/>
                    <a:pt x="18958" y="95118"/>
                    <a:pt x="11895" y="95118"/>
                  </a:cubicBezTo>
                  <a:cubicBezTo>
                    <a:pt x="4906" y="95118"/>
                    <a:pt x="0" y="100100"/>
                    <a:pt x="0" y="106645"/>
                  </a:cubicBezTo>
                  <a:cubicBezTo>
                    <a:pt x="0" y="113263"/>
                    <a:pt x="4906" y="118246"/>
                    <a:pt x="11895" y="118246"/>
                  </a:cubicBezTo>
                  <a:close/>
                  <a:moveTo>
                    <a:pt x="80216" y="147696"/>
                  </a:moveTo>
                  <a:cubicBezTo>
                    <a:pt x="103931" y="147696"/>
                    <a:pt x="118948" y="135871"/>
                    <a:pt x="118948" y="117205"/>
                  </a:cubicBezTo>
                  <a:lnTo>
                    <a:pt x="118948" y="35473"/>
                  </a:lnTo>
                  <a:lnTo>
                    <a:pt x="101180" y="35473"/>
                  </a:lnTo>
                  <a:lnTo>
                    <a:pt x="101180" y="48488"/>
                  </a:lnTo>
                  <a:lnTo>
                    <a:pt x="99916" y="48488"/>
                  </a:lnTo>
                  <a:cubicBezTo>
                    <a:pt x="95456" y="39638"/>
                    <a:pt x="85791" y="34135"/>
                    <a:pt x="74715" y="34135"/>
                  </a:cubicBezTo>
                  <a:cubicBezTo>
                    <a:pt x="53973" y="34135"/>
                    <a:pt x="41111" y="50347"/>
                    <a:pt x="41111" y="75261"/>
                  </a:cubicBezTo>
                  <a:cubicBezTo>
                    <a:pt x="41111" y="99654"/>
                    <a:pt x="53899" y="115569"/>
                    <a:pt x="74417" y="115569"/>
                  </a:cubicBezTo>
                  <a:cubicBezTo>
                    <a:pt x="85717" y="115569"/>
                    <a:pt x="94564" y="110809"/>
                    <a:pt x="99247" y="102033"/>
                  </a:cubicBezTo>
                  <a:lnTo>
                    <a:pt x="100511" y="102033"/>
                  </a:lnTo>
                  <a:lnTo>
                    <a:pt x="100511" y="117502"/>
                  </a:lnTo>
                  <a:cubicBezTo>
                    <a:pt x="100511" y="127840"/>
                    <a:pt x="93152" y="133938"/>
                    <a:pt x="80514" y="133938"/>
                  </a:cubicBezTo>
                  <a:cubicBezTo>
                    <a:pt x="70402" y="133938"/>
                    <a:pt x="63861" y="130294"/>
                    <a:pt x="62671" y="124567"/>
                  </a:cubicBezTo>
                  <a:lnTo>
                    <a:pt x="44159" y="124567"/>
                  </a:lnTo>
                  <a:cubicBezTo>
                    <a:pt x="45647" y="138549"/>
                    <a:pt x="59326" y="147696"/>
                    <a:pt x="80216" y="147696"/>
                  </a:cubicBezTo>
                  <a:close/>
                  <a:moveTo>
                    <a:pt x="80216" y="100918"/>
                  </a:moveTo>
                  <a:cubicBezTo>
                    <a:pt x="67354" y="100918"/>
                    <a:pt x="60069" y="90953"/>
                    <a:pt x="60069" y="75186"/>
                  </a:cubicBezTo>
                  <a:cubicBezTo>
                    <a:pt x="60069" y="59495"/>
                    <a:pt x="67354" y="49529"/>
                    <a:pt x="80216" y="49529"/>
                  </a:cubicBezTo>
                  <a:cubicBezTo>
                    <a:pt x="93002" y="49529"/>
                    <a:pt x="100809" y="59495"/>
                    <a:pt x="100809" y="75261"/>
                  </a:cubicBezTo>
                  <a:cubicBezTo>
                    <a:pt x="100809" y="90953"/>
                    <a:pt x="93077" y="100918"/>
                    <a:pt x="80216" y="100918"/>
                  </a:cubicBezTo>
                  <a:close/>
                  <a:moveTo>
                    <a:pt x="150990" y="21864"/>
                  </a:moveTo>
                  <a:cubicBezTo>
                    <a:pt x="157086" y="21864"/>
                    <a:pt x="162067" y="17030"/>
                    <a:pt x="162067" y="10932"/>
                  </a:cubicBezTo>
                  <a:cubicBezTo>
                    <a:pt x="162067" y="4908"/>
                    <a:pt x="157086" y="0"/>
                    <a:pt x="150990" y="0"/>
                  </a:cubicBezTo>
                  <a:cubicBezTo>
                    <a:pt x="144968" y="0"/>
                    <a:pt x="139988" y="4908"/>
                    <a:pt x="139988" y="10932"/>
                  </a:cubicBezTo>
                  <a:cubicBezTo>
                    <a:pt x="139988" y="17030"/>
                    <a:pt x="144968" y="21864"/>
                    <a:pt x="150990" y="21864"/>
                  </a:cubicBezTo>
                  <a:close/>
                  <a:moveTo>
                    <a:pt x="141846" y="116759"/>
                  </a:moveTo>
                  <a:lnTo>
                    <a:pt x="160209" y="116759"/>
                  </a:lnTo>
                  <a:lnTo>
                    <a:pt x="160209" y="35473"/>
                  </a:lnTo>
                  <a:lnTo>
                    <a:pt x="141846" y="35473"/>
                  </a:lnTo>
                  <a:lnTo>
                    <a:pt x="141846" y="116759"/>
                  </a:lnTo>
                  <a:close/>
                  <a:moveTo>
                    <a:pt x="188977" y="15543"/>
                  </a:moveTo>
                  <a:lnTo>
                    <a:pt x="188977" y="35994"/>
                  </a:lnTo>
                  <a:lnTo>
                    <a:pt x="176121" y="35994"/>
                  </a:lnTo>
                  <a:lnTo>
                    <a:pt x="176121" y="50347"/>
                  </a:lnTo>
                  <a:lnTo>
                    <a:pt x="188977" y="50347"/>
                  </a:lnTo>
                  <a:lnTo>
                    <a:pt x="188977" y="95192"/>
                  </a:lnTo>
                  <a:cubicBezTo>
                    <a:pt x="188977" y="110883"/>
                    <a:pt x="196409" y="117131"/>
                    <a:pt x="215070" y="117131"/>
                  </a:cubicBezTo>
                  <a:cubicBezTo>
                    <a:pt x="218638" y="117131"/>
                    <a:pt x="222064" y="116833"/>
                    <a:pt x="224738" y="116312"/>
                  </a:cubicBezTo>
                  <a:lnTo>
                    <a:pt x="224738" y="102183"/>
                  </a:lnTo>
                  <a:cubicBezTo>
                    <a:pt x="222511" y="102406"/>
                    <a:pt x="221093" y="102554"/>
                    <a:pt x="218495" y="102554"/>
                  </a:cubicBezTo>
                  <a:cubicBezTo>
                    <a:pt x="210759" y="102554"/>
                    <a:pt x="207343" y="98910"/>
                    <a:pt x="207343" y="90804"/>
                  </a:cubicBezTo>
                  <a:lnTo>
                    <a:pt x="207343" y="50347"/>
                  </a:lnTo>
                  <a:lnTo>
                    <a:pt x="224738" y="50347"/>
                  </a:lnTo>
                  <a:lnTo>
                    <a:pt x="224738" y="35994"/>
                  </a:lnTo>
                  <a:lnTo>
                    <a:pt x="207343" y="35994"/>
                  </a:lnTo>
                  <a:lnTo>
                    <a:pt x="207343" y="15543"/>
                  </a:lnTo>
                  <a:lnTo>
                    <a:pt x="188977" y="15543"/>
                  </a:lnTo>
                  <a:close/>
                  <a:moveTo>
                    <a:pt x="243922" y="116759"/>
                  </a:moveTo>
                  <a:lnTo>
                    <a:pt x="262354" y="116759"/>
                  </a:lnTo>
                  <a:lnTo>
                    <a:pt x="262354" y="69535"/>
                  </a:lnTo>
                  <a:cubicBezTo>
                    <a:pt x="262354" y="57636"/>
                    <a:pt x="269120" y="49678"/>
                    <a:pt x="281243" y="49678"/>
                  </a:cubicBezTo>
                  <a:cubicBezTo>
                    <a:pt x="291939" y="49678"/>
                    <a:pt x="297591" y="56074"/>
                    <a:pt x="297591" y="68642"/>
                  </a:cubicBezTo>
                  <a:lnTo>
                    <a:pt x="297591" y="116759"/>
                  </a:lnTo>
                  <a:lnTo>
                    <a:pt x="316033" y="116759"/>
                  </a:lnTo>
                  <a:lnTo>
                    <a:pt x="316033" y="64329"/>
                  </a:lnTo>
                  <a:cubicBezTo>
                    <a:pt x="316033" y="44992"/>
                    <a:pt x="305470" y="33986"/>
                    <a:pt x="288075" y="33986"/>
                  </a:cubicBezTo>
                  <a:cubicBezTo>
                    <a:pt x="275962" y="33986"/>
                    <a:pt x="267264" y="39489"/>
                    <a:pt x="263391" y="48637"/>
                  </a:cubicBezTo>
                  <a:lnTo>
                    <a:pt x="262059" y="48637"/>
                  </a:lnTo>
                  <a:lnTo>
                    <a:pt x="262059" y="4015"/>
                  </a:lnTo>
                  <a:lnTo>
                    <a:pt x="243922" y="4015"/>
                  </a:lnTo>
                  <a:lnTo>
                    <a:pt x="243922" y="116759"/>
                  </a:lnTo>
                  <a:close/>
                  <a:moveTo>
                    <a:pt x="408660" y="35473"/>
                  </a:moveTo>
                  <a:lnTo>
                    <a:pt x="390228" y="35473"/>
                  </a:lnTo>
                  <a:lnTo>
                    <a:pt x="390228" y="82847"/>
                  </a:lnTo>
                  <a:cubicBezTo>
                    <a:pt x="390228" y="95118"/>
                    <a:pt x="383681" y="102554"/>
                    <a:pt x="371710" y="102554"/>
                  </a:cubicBezTo>
                  <a:cubicBezTo>
                    <a:pt x="360710" y="102554"/>
                    <a:pt x="355581" y="96456"/>
                    <a:pt x="355581" y="83814"/>
                  </a:cubicBezTo>
                  <a:lnTo>
                    <a:pt x="355581" y="35473"/>
                  </a:lnTo>
                  <a:lnTo>
                    <a:pt x="337139" y="35473"/>
                  </a:lnTo>
                  <a:lnTo>
                    <a:pt x="337139" y="88275"/>
                  </a:lnTo>
                  <a:cubicBezTo>
                    <a:pt x="337139" y="107314"/>
                    <a:pt x="347549" y="118395"/>
                    <a:pt x="365315" y="118395"/>
                  </a:cubicBezTo>
                  <a:cubicBezTo>
                    <a:pt x="377734" y="118395"/>
                    <a:pt x="385689" y="113115"/>
                    <a:pt x="389628" y="103818"/>
                  </a:cubicBezTo>
                  <a:lnTo>
                    <a:pt x="390894" y="103818"/>
                  </a:lnTo>
                  <a:lnTo>
                    <a:pt x="390894" y="116759"/>
                  </a:lnTo>
                  <a:lnTo>
                    <a:pt x="408660" y="116759"/>
                  </a:lnTo>
                  <a:lnTo>
                    <a:pt x="408660" y="35473"/>
                  </a:lnTo>
                  <a:close/>
                  <a:moveTo>
                    <a:pt x="476461" y="118097"/>
                  </a:moveTo>
                  <a:cubicBezTo>
                    <a:pt x="496977" y="118097"/>
                    <a:pt x="509842" y="101959"/>
                    <a:pt x="509842" y="76154"/>
                  </a:cubicBezTo>
                  <a:cubicBezTo>
                    <a:pt x="509842" y="50199"/>
                    <a:pt x="497053" y="34135"/>
                    <a:pt x="476461" y="34135"/>
                  </a:cubicBezTo>
                  <a:cubicBezTo>
                    <a:pt x="465308" y="34135"/>
                    <a:pt x="455944" y="39564"/>
                    <a:pt x="451710" y="48414"/>
                  </a:cubicBezTo>
                  <a:lnTo>
                    <a:pt x="450444" y="48414"/>
                  </a:lnTo>
                  <a:lnTo>
                    <a:pt x="450444" y="4015"/>
                  </a:lnTo>
                  <a:lnTo>
                    <a:pt x="432002" y="4015"/>
                  </a:lnTo>
                  <a:lnTo>
                    <a:pt x="432002" y="116759"/>
                  </a:lnTo>
                  <a:lnTo>
                    <a:pt x="449769" y="116759"/>
                  </a:lnTo>
                  <a:lnTo>
                    <a:pt x="449769" y="103893"/>
                  </a:lnTo>
                  <a:lnTo>
                    <a:pt x="451034" y="103893"/>
                  </a:lnTo>
                  <a:cubicBezTo>
                    <a:pt x="455649" y="112817"/>
                    <a:pt x="465089" y="118097"/>
                    <a:pt x="476461" y="118097"/>
                  </a:cubicBezTo>
                  <a:close/>
                  <a:moveTo>
                    <a:pt x="470665" y="49529"/>
                  </a:moveTo>
                  <a:cubicBezTo>
                    <a:pt x="483226" y="49529"/>
                    <a:pt x="490887" y="59569"/>
                    <a:pt x="490887" y="76154"/>
                  </a:cubicBezTo>
                  <a:cubicBezTo>
                    <a:pt x="490887" y="92738"/>
                    <a:pt x="483302" y="102777"/>
                    <a:pt x="470665" y="102777"/>
                  </a:cubicBezTo>
                  <a:cubicBezTo>
                    <a:pt x="458028" y="102777"/>
                    <a:pt x="450149" y="92588"/>
                    <a:pt x="450149" y="76154"/>
                  </a:cubicBezTo>
                  <a:cubicBezTo>
                    <a:pt x="450149" y="59718"/>
                    <a:pt x="458095" y="49529"/>
                    <a:pt x="470665" y="49529"/>
                  </a:cubicBezTo>
                  <a:close/>
                  <a:moveTo>
                    <a:pt x="534079" y="139739"/>
                  </a:moveTo>
                  <a:lnTo>
                    <a:pt x="572590" y="4015"/>
                  </a:lnTo>
                  <a:lnTo>
                    <a:pt x="556004" y="4015"/>
                  </a:lnTo>
                  <a:lnTo>
                    <a:pt x="517426" y="139739"/>
                  </a:lnTo>
                  <a:lnTo>
                    <a:pt x="534079" y="139739"/>
                  </a:lnTo>
                  <a:close/>
                  <a:moveTo>
                    <a:pt x="693317" y="35473"/>
                  </a:moveTo>
                  <a:lnTo>
                    <a:pt x="674952" y="35473"/>
                  </a:lnTo>
                  <a:lnTo>
                    <a:pt x="661496" y="96530"/>
                  </a:lnTo>
                  <a:lnTo>
                    <a:pt x="660240" y="96530"/>
                  </a:lnTo>
                  <a:lnTo>
                    <a:pt x="644472" y="35473"/>
                  </a:lnTo>
                  <a:lnTo>
                    <a:pt x="626859" y="35473"/>
                  </a:lnTo>
                  <a:lnTo>
                    <a:pt x="611243" y="96530"/>
                  </a:lnTo>
                  <a:lnTo>
                    <a:pt x="609977" y="96530"/>
                  </a:lnTo>
                  <a:lnTo>
                    <a:pt x="596446" y="35473"/>
                  </a:lnTo>
                  <a:lnTo>
                    <a:pt x="577861" y="35473"/>
                  </a:lnTo>
                  <a:lnTo>
                    <a:pt x="599872" y="116759"/>
                  </a:lnTo>
                  <a:lnTo>
                    <a:pt x="619056" y="116759"/>
                  </a:lnTo>
                  <a:lnTo>
                    <a:pt x="634814" y="57859"/>
                  </a:lnTo>
                  <a:lnTo>
                    <a:pt x="636079" y="57859"/>
                  </a:lnTo>
                  <a:lnTo>
                    <a:pt x="651914" y="116759"/>
                  </a:lnTo>
                  <a:lnTo>
                    <a:pt x="671317" y="116759"/>
                  </a:lnTo>
                  <a:lnTo>
                    <a:pt x="693317" y="35473"/>
                  </a:lnTo>
                  <a:close/>
                  <a:moveTo>
                    <a:pt x="741268" y="118395"/>
                  </a:moveTo>
                  <a:cubicBezTo>
                    <a:pt x="765581" y="118395"/>
                    <a:pt x="780378" y="102480"/>
                    <a:pt x="780378" y="76079"/>
                  </a:cubicBezTo>
                  <a:cubicBezTo>
                    <a:pt x="780378" y="49827"/>
                    <a:pt x="765505" y="33912"/>
                    <a:pt x="741268" y="33912"/>
                  </a:cubicBezTo>
                  <a:cubicBezTo>
                    <a:pt x="717107" y="33912"/>
                    <a:pt x="702167" y="49902"/>
                    <a:pt x="702167" y="76079"/>
                  </a:cubicBezTo>
                  <a:cubicBezTo>
                    <a:pt x="702167" y="102480"/>
                    <a:pt x="716888" y="118395"/>
                    <a:pt x="741268" y="118395"/>
                  </a:cubicBezTo>
                  <a:close/>
                  <a:moveTo>
                    <a:pt x="741268" y="103298"/>
                  </a:moveTo>
                  <a:cubicBezTo>
                    <a:pt x="728412" y="103298"/>
                    <a:pt x="721047" y="93333"/>
                    <a:pt x="721047" y="76154"/>
                  </a:cubicBezTo>
                  <a:cubicBezTo>
                    <a:pt x="721047" y="58974"/>
                    <a:pt x="728412" y="49009"/>
                    <a:pt x="741268" y="49009"/>
                  </a:cubicBezTo>
                  <a:cubicBezTo>
                    <a:pt x="754057" y="49009"/>
                    <a:pt x="761413" y="58974"/>
                    <a:pt x="761413" y="76154"/>
                  </a:cubicBezTo>
                  <a:cubicBezTo>
                    <a:pt x="761413" y="93333"/>
                    <a:pt x="754133" y="103298"/>
                    <a:pt x="741268" y="103298"/>
                  </a:cubicBezTo>
                  <a:close/>
                  <a:moveTo>
                    <a:pt x="798962" y="116759"/>
                  </a:moveTo>
                  <a:lnTo>
                    <a:pt x="817395" y="116759"/>
                  </a:lnTo>
                  <a:lnTo>
                    <a:pt x="817395" y="69535"/>
                  </a:lnTo>
                  <a:cubicBezTo>
                    <a:pt x="817395" y="58081"/>
                    <a:pt x="825721" y="50645"/>
                    <a:pt x="837692" y="50645"/>
                  </a:cubicBezTo>
                  <a:cubicBezTo>
                    <a:pt x="840813" y="50645"/>
                    <a:pt x="845723" y="51166"/>
                    <a:pt x="847132" y="51686"/>
                  </a:cubicBezTo>
                  <a:lnTo>
                    <a:pt x="847132" y="34878"/>
                  </a:lnTo>
                  <a:cubicBezTo>
                    <a:pt x="845428" y="34433"/>
                    <a:pt x="842155" y="34135"/>
                    <a:pt x="839481" y="34135"/>
                  </a:cubicBezTo>
                  <a:cubicBezTo>
                    <a:pt x="828994" y="34135"/>
                    <a:pt x="820221" y="40084"/>
                    <a:pt x="817994" y="48117"/>
                  </a:cubicBezTo>
                  <a:lnTo>
                    <a:pt x="816728" y="48117"/>
                  </a:lnTo>
                  <a:lnTo>
                    <a:pt x="816728" y="35473"/>
                  </a:lnTo>
                  <a:lnTo>
                    <a:pt x="798962" y="35473"/>
                  </a:lnTo>
                  <a:lnTo>
                    <a:pt x="798962" y="116759"/>
                  </a:lnTo>
                  <a:close/>
                  <a:moveTo>
                    <a:pt x="882740" y="68790"/>
                  </a:moveTo>
                  <a:lnTo>
                    <a:pt x="881484" y="68790"/>
                  </a:lnTo>
                  <a:lnTo>
                    <a:pt x="881484" y="4015"/>
                  </a:lnTo>
                  <a:lnTo>
                    <a:pt x="863042" y="4015"/>
                  </a:lnTo>
                  <a:lnTo>
                    <a:pt x="863042" y="116759"/>
                  </a:lnTo>
                  <a:lnTo>
                    <a:pt x="881484" y="116759"/>
                  </a:lnTo>
                  <a:lnTo>
                    <a:pt x="881484" y="88201"/>
                  </a:lnTo>
                  <a:lnTo>
                    <a:pt x="888021" y="81657"/>
                  </a:lnTo>
                  <a:lnTo>
                    <a:pt x="914114" y="116759"/>
                  </a:lnTo>
                  <a:lnTo>
                    <a:pt x="936419" y="116759"/>
                  </a:lnTo>
                  <a:lnTo>
                    <a:pt x="901771" y="70353"/>
                  </a:lnTo>
                  <a:lnTo>
                    <a:pt x="934192" y="35473"/>
                  </a:lnTo>
                  <a:lnTo>
                    <a:pt x="912781" y="35473"/>
                  </a:lnTo>
                  <a:lnTo>
                    <a:pt x="882740" y="68790"/>
                  </a:lnTo>
                  <a:close/>
                  <a:moveTo>
                    <a:pt x="955527" y="116759"/>
                  </a:moveTo>
                  <a:lnTo>
                    <a:pt x="973892" y="116759"/>
                  </a:lnTo>
                  <a:lnTo>
                    <a:pt x="973892" y="50347"/>
                  </a:lnTo>
                  <a:lnTo>
                    <a:pt x="991354" y="50347"/>
                  </a:lnTo>
                  <a:lnTo>
                    <a:pt x="991354" y="35994"/>
                  </a:lnTo>
                  <a:lnTo>
                    <a:pt x="973664" y="35994"/>
                  </a:lnTo>
                  <a:lnTo>
                    <a:pt x="973664" y="28483"/>
                  </a:lnTo>
                  <a:cubicBezTo>
                    <a:pt x="973664" y="20749"/>
                    <a:pt x="977080" y="16881"/>
                    <a:pt x="985787" y="16881"/>
                  </a:cubicBezTo>
                  <a:cubicBezTo>
                    <a:pt x="988385" y="16881"/>
                    <a:pt x="990611" y="17104"/>
                    <a:pt x="992106" y="17328"/>
                  </a:cubicBezTo>
                  <a:lnTo>
                    <a:pt x="992106" y="4015"/>
                  </a:lnTo>
                  <a:cubicBezTo>
                    <a:pt x="989127" y="3495"/>
                    <a:pt x="985787" y="3272"/>
                    <a:pt x="981838" y="3272"/>
                  </a:cubicBezTo>
                  <a:cubicBezTo>
                    <a:pt x="963777" y="3272"/>
                    <a:pt x="955527" y="11230"/>
                    <a:pt x="955527" y="27442"/>
                  </a:cubicBezTo>
                  <a:lnTo>
                    <a:pt x="955527" y="35994"/>
                  </a:lnTo>
                  <a:lnTo>
                    <a:pt x="942214" y="35994"/>
                  </a:lnTo>
                  <a:lnTo>
                    <a:pt x="942214" y="50347"/>
                  </a:lnTo>
                  <a:lnTo>
                    <a:pt x="955527" y="50347"/>
                  </a:lnTo>
                  <a:lnTo>
                    <a:pt x="955527" y="116759"/>
                  </a:lnTo>
                  <a:close/>
                  <a:moveTo>
                    <a:pt x="1009948" y="116759"/>
                  </a:moveTo>
                  <a:lnTo>
                    <a:pt x="1028380" y="116759"/>
                  </a:lnTo>
                  <a:lnTo>
                    <a:pt x="1028380" y="4015"/>
                  </a:lnTo>
                  <a:lnTo>
                    <a:pt x="1009948" y="4015"/>
                  </a:lnTo>
                  <a:lnTo>
                    <a:pt x="1009948" y="116759"/>
                  </a:lnTo>
                  <a:close/>
                  <a:moveTo>
                    <a:pt x="1086817" y="118395"/>
                  </a:moveTo>
                  <a:cubicBezTo>
                    <a:pt x="1111120" y="118395"/>
                    <a:pt x="1125917" y="102480"/>
                    <a:pt x="1125917" y="76079"/>
                  </a:cubicBezTo>
                  <a:cubicBezTo>
                    <a:pt x="1125917" y="49827"/>
                    <a:pt x="1111054" y="33912"/>
                    <a:pt x="1086817" y="33912"/>
                  </a:cubicBezTo>
                  <a:cubicBezTo>
                    <a:pt x="1062656" y="33912"/>
                    <a:pt x="1047707" y="49902"/>
                    <a:pt x="1047707" y="76079"/>
                  </a:cubicBezTo>
                  <a:cubicBezTo>
                    <a:pt x="1047707" y="102480"/>
                    <a:pt x="1062428" y="118395"/>
                    <a:pt x="1086817" y="118395"/>
                  </a:cubicBezTo>
                  <a:close/>
                  <a:moveTo>
                    <a:pt x="1086817" y="103298"/>
                  </a:moveTo>
                  <a:cubicBezTo>
                    <a:pt x="1073951" y="103298"/>
                    <a:pt x="1066596" y="93333"/>
                    <a:pt x="1066596" y="76154"/>
                  </a:cubicBezTo>
                  <a:cubicBezTo>
                    <a:pt x="1066596" y="58974"/>
                    <a:pt x="1073951" y="49009"/>
                    <a:pt x="1086817" y="49009"/>
                  </a:cubicBezTo>
                  <a:cubicBezTo>
                    <a:pt x="1099606" y="49009"/>
                    <a:pt x="1106962" y="58974"/>
                    <a:pt x="1106962" y="76154"/>
                  </a:cubicBezTo>
                  <a:cubicBezTo>
                    <a:pt x="1106962" y="93333"/>
                    <a:pt x="1099673" y="103298"/>
                    <a:pt x="1086817" y="103298"/>
                  </a:cubicBezTo>
                  <a:close/>
                  <a:moveTo>
                    <a:pt x="1250147" y="35473"/>
                  </a:moveTo>
                  <a:lnTo>
                    <a:pt x="1231781" y="35473"/>
                  </a:lnTo>
                  <a:lnTo>
                    <a:pt x="1218326" y="96530"/>
                  </a:lnTo>
                  <a:lnTo>
                    <a:pt x="1217060" y="96530"/>
                  </a:lnTo>
                  <a:lnTo>
                    <a:pt x="1201302" y="35473"/>
                  </a:lnTo>
                  <a:lnTo>
                    <a:pt x="1183679" y="35473"/>
                  </a:lnTo>
                  <a:lnTo>
                    <a:pt x="1168073" y="96530"/>
                  </a:lnTo>
                  <a:lnTo>
                    <a:pt x="1166807" y="96530"/>
                  </a:lnTo>
                  <a:lnTo>
                    <a:pt x="1153275" y="35473"/>
                  </a:lnTo>
                  <a:lnTo>
                    <a:pt x="1134691" y="35473"/>
                  </a:lnTo>
                  <a:lnTo>
                    <a:pt x="1156701" y="116759"/>
                  </a:lnTo>
                  <a:lnTo>
                    <a:pt x="1175876" y="116759"/>
                  </a:lnTo>
                  <a:lnTo>
                    <a:pt x="1191634" y="57859"/>
                  </a:lnTo>
                  <a:lnTo>
                    <a:pt x="1192899" y="57859"/>
                  </a:lnTo>
                  <a:lnTo>
                    <a:pt x="1208734" y="116759"/>
                  </a:lnTo>
                  <a:lnTo>
                    <a:pt x="1228137" y="116759"/>
                  </a:lnTo>
                  <a:lnTo>
                    <a:pt x="1250147" y="35473"/>
                  </a:lnTo>
                  <a:close/>
                  <a:moveTo>
                    <a:pt x="1262184" y="58676"/>
                  </a:moveTo>
                  <a:cubicBezTo>
                    <a:pt x="1262184" y="70873"/>
                    <a:pt x="1269550" y="78013"/>
                    <a:pt x="1285165" y="81582"/>
                  </a:cubicBezTo>
                  <a:lnTo>
                    <a:pt x="1299582" y="84928"/>
                  </a:lnTo>
                  <a:cubicBezTo>
                    <a:pt x="1307318" y="86714"/>
                    <a:pt x="1310810" y="89688"/>
                    <a:pt x="1310810" y="94299"/>
                  </a:cubicBezTo>
                  <a:cubicBezTo>
                    <a:pt x="1310810" y="100472"/>
                    <a:pt x="1304340" y="104711"/>
                    <a:pt x="1295052" y="104711"/>
                  </a:cubicBezTo>
                  <a:cubicBezTo>
                    <a:pt x="1285831" y="104711"/>
                    <a:pt x="1280103" y="100993"/>
                    <a:pt x="1278323" y="94968"/>
                  </a:cubicBezTo>
                  <a:lnTo>
                    <a:pt x="1260110" y="94968"/>
                  </a:lnTo>
                  <a:cubicBezTo>
                    <a:pt x="1261518" y="109619"/>
                    <a:pt x="1274308" y="118395"/>
                    <a:pt x="1294605" y="118395"/>
                  </a:cubicBezTo>
                  <a:cubicBezTo>
                    <a:pt x="1314893" y="118395"/>
                    <a:pt x="1329243" y="108057"/>
                    <a:pt x="1329243" y="92514"/>
                  </a:cubicBezTo>
                  <a:cubicBezTo>
                    <a:pt x="1329243" y="80541"/>
                    <a:pt x="1322030" y="73922"/>
                    <a:pt x="1306500" y="70353"/>
                  </a:cubicBezTo>
                  <a:lnTo>
                    <a:pt x="1292150" y="67155"/>
                  </a:lnTo>
                  <a:cubicBezTo>
                    <a:pt x="1283966" y="65221"/>
                    <a:pt x="1280103" y="62320"/>
                    <a:pt x="1280103" y="57710"/>
                  </a:cubicBezTo>
                  <a:cubicBezTo>
                    <a:pt x="1280103" y="51686"/>
                    <a:pt x="1286421" y="47596"/>
                    <a:pt x="1294824" y="47596"/>
                  </a:cubicBezTo>
                  <a:cubicBezTo>
                    <a:pt x="1303445" y="47596"/>
                    <a:pt x="1308879" y="51314"/>
                    <a:pt x="1310211" y="57041"/>
                  </a:cubicBezTo>
                  <a:lnTo>
                    <a:pt x="1327539" y="57041"/>
                  </a:lnTo>
                  <a:cubicBezTo>
                    <a:pt x="1326197" y="42390"/>
                    <a:pt x="1314084" y="33912"/>
                    <a:pt x="1294748" y="33912"/>
                  </a:cubicBezTo>
                  <a:cubicBezTo>
                    <a:pt x="1275573" y="33912"/>
                    <a:pt x="1262184" y="44101"/>
                    <a:pt x="1262184" y="58676"/>
                  </a:cubicBezTo>
                  <a:close/>
                  <a:moveTo>
                    <a:pt x="1353632" y="139739"/>
                  </a:moveTo>
                  <a:lnTo>
                    <a:pt x="1392142" y="4015"/>
                  </a:lnTo>
                  <a:lnTo>
                    <a:pt x="1375566" y="4015"/>
                  </a:lnTo>
                  <a:lnTo>
                    <a:pt x="1336979" y="139739"/>
                  </a:lnTo>
                  <a:lnTo>
                    <a:pt x="1353632" y="139739"/>
                  </a:lnTo>
                  <a:close/>
                  <a:moveTo>
                    <a:pt x="1448267" y="34135"/>
                  </a:moveTo>
                  <a:cubicBezTo>
                    <a:pt x="1437114" y="34135"/>
                    <a:pt x="1427675" y="39712"/>
                    <a:pt x="1422993" y="48934"/>
                  </a:cubicBezTo>
                  <a:lnTo>
                    <a:pt x="1421727" y="48934"/>
                  </a:lnTo>
                  <a:lnTo>
                    <a:pt x="1421727" y="35473"/>
                  </a:lnTo>
                  <a:lnTo>
                    <a:pt x="1403961" y="35473"/>
                  </a:lnTo>
                  <a:lnTo>
                    <a:pt x="1403961" y="143754"/>
                  </a:lnTo>
                  <a:lnTo>
                    <a:pt x="1422393" y="143754"/>
                  </a:lnTo>
                  <a:lnTo>
                    <a:pt x="1422393" y="104413"/>
                  </a:lnTo>
                  <a:lnTo>
                    <a:pt x="1423659" y="104413"/>
                  </a:lnTo>
                  <a:cubicBezTo>
                    <a:pt x="1427827" y="113040"/>
                    <a:pt x="1436819" y="118097"/>
                    <a:pt x="1448495" y="118097"/>
                  </a:cubicBezTo>
                  <a:cubicBezTo>
                    <a:pt x="1469011" y="118097"/>
                    <a:pt x="1481801" y="101959"/>
                    <a:pt x="1481801" y="76154"/>
                  </a:cubicBezTo>
                  <a:cubicBezTo>
                    <a:pt x="1481801" y="50124"/>
                    <a:pt x="1468859" y="34135"/>
                    <a:pt x="1448267" y="34135"/>
                  </a:cubicBezTo>
                  <a:close/>
                  <a:moveTo>
                    <a:pt x="1442472" y="102777"/>
                  </a:moveTo>
                  <a:cubicBezTo>
                    <a:pt x="1429901" y="102777"/>
                    <a:pt x="1422098" y="92588"/>
                    <a:pt x="1422022" y="76154"/>
                  </a:cubicBezTo>
                  <a:cubicBezTo>
                    <a:pt x="1422098" y="59718"/>
                    <a:pt x="1429977" y="49529"/>
                    <a:pt x="1442548" y="49529"/>
                  </a:cubicBezTo>
                  <a:cubicBezTo>
                    <a:pt x="1455185" y="49529"/>
                    <a:pt x="1462836" y="59495"/>
                    <a:pt x="1462836" y="76154"/>
                  </a:cubicBezTo>
                  <a:cubicBezTo>
                    <a:pt x="1462836" y="92812"/>
                    <a:pt x="1455251" y="102777"/>
                    <a:pt x="1442472" y="102777"/>
                  </a:cubicBezTo>
                  <a:close/>
                  <a:moveTo>
                    <a:pt x="1500309" y="116759"/>
                  </a:moveTo>
                  <a:lnTo>
                    <a:pt x="1518741" y="116759"/>
                  </a:lnTo>
                  <a:lnTo>
                    <a:pt x="1518741" y="69535"/>
                  </a:lnTo>
                  <a:cubicBezTo>
                    <a:pt x="1518741" y="58081"/>
                    <a:pt x="1527067" y="50645"/>
                    <a:pt x="1539039" y="50645"/>
                  </a:cubicBezTo>
                  <a:cubicBezTo>
                    <a:pt x="1542160" y="50645"/>
                    <a:pt x="1547070" y="51166"/>
                    <a:pt x="1548478" y="51686"/>
                  </a:cubicBezTo>
                  <a:lnTo>
                    <a:pt x="1548478" y="34878"/>
                  </a:lnTo>
                  <a:cubicBezTo>
                    <a:pt x="1546775" y="34433"/>
                    <a:pt x="1543501" y="34135"/>
                    <a:pt x="1540827" y="34135"/>
                  </a:cubicBezTo>
                  <a:cubicBezTo>
                    <a:pt x="1530341" y="34135"/>
                    <a:pt x="1521567" y="40084"/>
                    <a:pt x="1519341" y="48117"/>
                  </a:cubicBezTo>
                  <a:lnTo>
                    <a:pt x="1518075" y="48117"/>
                  </a:lnTo>
                  <a:lnTo>
                    <a:pt x="1518075" y="35473"/>
                  </a:lnTo>
                  <a:lnTo>
                    <a:pt x="1500309" y="35473"/>
                  </a:lnTo>
                  <a:lnTo>
                    <a:pt x="1500309" y="116759"/>
                  </a:lnTo>
                  <a:close/>
                  <a:moveTo>
                    <a:pt x="1573020" y="21864"/>
                  </a:moveTo>
                  <a:cubicBezTo>
                    <a:pt x="1579110" y="21864"/>
                    <a:pt x="1584096" y="17030"/>
                    <a:pt x="1584096" y="10932"/>
                  </a:cubicBezTo>
                  <a:cubicBezTo>
                    <a:pt x="1584096" y="4908"/>
                    <a:pt x="1579110" y="0"/>
                    <a:pt x="1573020" y="0"/>
                  </a:cubicBezTo>
                  <a:cubicBezTo>
                    <a:pt x="1566996" y="0"/>
                    <a:pt x="1562010" y="4908"/>
                    <a:pt x="1562010" y="10932"/>
                  </a:cubicBezTo>
                  <a:cubicBezTo>
                    <a:pt x="1562010" y="17030"/>
                    <a:pt x="1566996" y="21864"/>
                    <a:pt x="1573020" y="21864"/>
                  </a:cubicBezTo>
                  <a:close/>
                  <a:moveTo>
                    <a:pt x="1563875" y="116759"/>
                  </a:moveTo>
                  <a:lnTo>
                    <a:pt x="1582231" y="116759"/>
                  </a:lnTo>
                  <a:lnTo>
                    <a:pt x="1582231" y="35473"/>
                  </a:lnTo>
                  <a:lnTo>
                    <a:pt x="1563875" y="35473"/>
                  </a:lnTo>
                  <a:lnTo>
                    <a:pt x="1563875" y="116759"/>
                  </a:lnTo>
                  <a:close/>
                  <a:moveTo>
                    <a:pt x="1640221" y="118395"/>
                  </a:moveTo>
                  <a:cubicBezTo>
                    <a:pt x="1664533" y="118395"/>
                    <a:pt x="1679321" y="102480"/>
                    <a:pt x="1679321" y="76079"/>
                  </a:cubicBezTo>
                  <a:cubicBezTo>
                    <a:pt x="1679321" y="49827"/>
                    <a:pt x="1664457" y="33912"/>
                    <a:pt x="1640221" y="33912"/>
                  </a:cubicBezTo>
                  <a:cubicBezTo>
                    <a:pt x="1616060" y="33912"/>
                    <a:pt x="1601120" y="49902"/>
                    <a:pt x="1601120" y="76079"/>
                  </a:cubicBezTo>
                  <a:cubicBezTo>
                    <a:pt x="1601120" y="102480"/>
                    <a:pt x="1615841" y="118395"/>
                    <a:pt x="1640221" y="118395"/>
                  </a:cubicBezTo>
                  <a:close/>
                  <a:moveTo>
                    <a:pt x="1640221" y="103298"/>
                  </a:moveTo>
                  <a:cubicBezTo>
                    <a:pt x="1627355" y="103298"/>
                    <a:pt x="1619999" y="93333"/>
                    <a:pt x="1619999" y="76154"/>
                  </a:cubicBezTo>
                  <a:cubicBezTo>
                    <a:pt x="1619999" y="58974"/>
                    <a:pt x="1627355" y="49009"/>
                    <a:pt x="1640221" y="49009"/>
                  </a:cubicBezTo>
                  <a:cubicBezTo>
                    <a:pt x="1653010" y="49009"/>
                    <a:pt x="1660366" y="58974"/>
                    <a:pt x="1660366" y="76154"/>
                  </a:cubicBezTo>
                  <a:cubicBezTo>
                    <a:pt x="1660366" y="93333"/>
                    <a:pt x="1653086" y="103298"/>
                    <a:pt x="1640221" y="103298"/>
                  </a:cubicBezTo>
                  <a:close/>
                  <a:moveTo>
                    <a:pt x="1697906" y="116759"/>
                  </a:moveTo>
                  <a:lnTo>
                    <a:pt x="1716347" y="116759"/>
                  </a:lnTo>
                  <a:lnTo>
                    <a:pt x="1716347" y="69535"/>
                  </a:lnTo>
                  <a:cubicBezTo>
                    <a:pt x="1716347" y="58081"/>
                    <a:pt x="1724674" y="50645"/>
                    <a:pt x="1736645" y="50645"/>
                  </a:cubicBezTo>
                  <a:cubicBezTo>
                    <a:pt x="1739766" y="50645"/>
                    <a:pt x="1744676" y="51166"/>
                    <a:pt x="1746084" y="51686"/>
                  </a:cubicBezTo>
                  <a:lnTo>
                    <a:pt x="1746084" y="34878"/>
                  </a:lnTo>
                  <a:cubicBezTo>
                    <a:pt x="1744372" y="34433"/>
                    <a:pt x="1741107" y="34135"/>
                    <a:pt x="1738424" y="34135"/>
                  </a:cubicBezTo>
                  <a:cubicBezTo>
                    <a:pt x="1727947" y="34135"/>
                    <a:pt x="1719174" y="40084"/>
                    <a:pt x="1716937" y="48117"/>
                  </a:cubicBezTo>
                  <a:lnTo>
                    <a:pt x="1715681" y="48117"/>
                  </a:lnTo>
                  <a:lnTo>
                    <a:pt x="1715681" y="35473"/>
                  </a:lnTo>
                  <a:lnTo>
                    <a:pt x="1697906" y="35473"/>
                  </a:lnTo>
                  <a:lnTo>
                    <a:pt x="1697906" y="116759"/>
                  </a:lnTo>
                  <a:close/>
                  <a:moveTo>
                    <a:pt x="1770616" y="21864"/>
                  </a:moveTo>
                  <a:cubicBezTo>
                    <a:pt x="1776716" y="21864"/>
                    <a:pt x="1781693" y="17030"/>
                    <a:pt x="1781693" y="10932"/>
                  </a:cubicBezTo>
                  <a:cubicBezTo>
                    <a:pt x="1781693" y="4908"/>
                    <a:pt x="1776716" y="0"/>
                    <a:pt x="1770616" y="0"/>
                  </a:cubicBezTo>
                  <a:cubicBezTo>
                    <a:pt x="1764593" y="0"/>
                    <a:pt x="1759616" y="4908"/>
                    <a:pt x="1759616" y="10932"/>
                  </a:cubicBezTo>
                  <a:cubicBezTo>
                    <a:pt x="1759616" y="17030"/>
                    <a:pt x="1764593" y="21864"/>
                    <a:pt x="1770616" y="21864"/>
                  </a:cubicBezTo>
                  <a:close/>
                  <a:moveTo>
                    <a:pt x="1761472" y="116759"/>
                  </a:moveTo>
                  <a:lnTo>
                    <a:pt x="1779837" y="116759"/>
                  </a:lnTo>
                  <a:lnTo>
                    <a:pt x="1779837" y="35473"/>
                  </a:lnTo>
                  <a:lnTo>
                    <a:pt x="1761472" y="35473"/>
                  </a:lnTo>
                  <a:lnTo>
                    <a:pt x="1761472" y="116759"/>
                  </a:lnTo>
                  <a:close/>
                  <a:moveTo>
                    <a:pt x="1808604" y="15543"/>
                  </a:moveTo>
                  <a:lnTo>
                    <a:pt x="1808604" y="35994"/>
                  </a:lnTo>
                  <a:lnTo>
                    <a:pt x="1795748" y="35994"/>
                  </a:lnTo>
                  <a:lnTo>
                    <a:pt x="1795748" y="50347"/>
                  </a:lnTo>
                  <a:lnTo>
                    <a:pt x="1808604" y="50347"/>
                  </a:lnTo>
                  <a:lnTo>
                    <a:pt x="1808604" y="95192"/>
                  </a:lnTo>
                  <a:cubicBezTo>
                    <a:pt x="1808604" y="110883"/>
                    <a:pt x="1816045" y="117131"/>
                    <a:pt x="1834705" y="117131"/>
                  </a:cubicBezTo>
                  <a:cubicBezTo>
                    <a:pt x="1838265" y="117131"/>
                    <a:pt x="1841690" y="116833"/>
                    <a:pt x="1844364" y="116312"/>
                  </a:cubicBezTo>
                  <a:lnTo>
                    <a:pt x="1844364" y="102183"/>
                  </a:lnTo>
                  <a:cubicBezTo>
                    <a:pt x="1842137" y="102406"/>
                    <a:pt x="1840720" y="102554"/>
                    <a:pt x="1838122" y="102554"/>
                  </a:cubicBezTo>
                  <a:cubicBezTo>
                    <a:pt x="1830385" y="102554"/>
                    <a:pt x="1826969" y="98910"/>
                    <a:pt x="1826969" y="90804"/>
                  </a:cubicBezTo>
                  <a:lnTo>
                    <a:pt x="1826969" y="50347"/>
                  </a:lnTo>
                  <a:lnTo>
                    <a:pt x="1844364" y="50347"/>
                  </a:lnTo>
                  <a:lnTo>
                    <a:pt x="1844364" y="35994"/>
                  </a:lnTo>
                  <a:lnTo>
                    <a:pt x="1826969" y="35994"/>
                  </a:lnTo>
                  <a:lnTo>
                    <a:pt x="1826969" y="15543"/>
                  </a:lnTo>
                  <a:lnTo>
                    <a:pt x="1808604" y="15543"/>
                  </a:lnTo>
                  <a:close/>
                  <a:moveTo>
                    <a:pt x="1872169" y="21864"/>
                  </a:moveTo>
                  <a:cubicBezTo>
                    <a:pt x="1878269" y="21864"/>
                    <a:pt x="1883246" y="17030"/>
                    <a:pt x="1883246" y="10932"/>
                  </a:cubicBezTo>
                  <a:cubicBezTo>
                    <a:pt x="1883246" y="4908"/>
                    <a:pt x="1878269" y="0"/>
                    <a:pt x="1872169" y="0"/>
                  </a:cubicBezTo>
                  <a:cubicBezTo>
                    <a:pt x="1866146" y="0"/>
                    <a:pt x="1861169" y="4908"/>
                    <a:pt x="1861169" y="10932"/>
                  </a:cubicBezTo>
                  <a:cubicBezTo>
                    <a:pt x="1861169" y="17030"/>
                    <a:pt x="1866146" y="21864"/>
                    <a:pt x="1872169" y="21864"/>
                  </a:cubicBezTo>
                  <a:close/>
                  <a:moveTo>
                    <a:pt x="1863025" y="116759"/>
                  </a:moveTo>
                  <a:lnTo>
                    <a:pt x="1881390" y="116759"/>
                  </a:lnTo>
                  <a:lnTo>
                    <a:pt x="1881390" y="35473"/>
                  </a:lnTo>
                  <a:lnTo>
                    <a:pt x="1863025" y="35473"/>
                  </a:lnTo>
                  <a:lnTo>
                    <a:pt x="1863025" y="116759"/>
                  </a:lnTo>
                  <a:close/>
                  <a:moveTo>
                    <a:pt x="1902430" y="116759"/>
                  </a:moveTo>
                  <a:lnTo>
                    <a:pt x="1968298" y="116759"/>
                  </a:lnTo>
                  <a:lnTo>
                    <a:pt x="1968298" y="102257"/>
                  </a:lnTo>
                  <a:lnTo>
                    <a:pt x="1925991" y="102257"/>
                  </a:lnTo>
                  <a:lnTo>
                    <a:pt x="1925991" y="100993"/>
                  </a:lnTo>
                  <a:lnTo>
                    <a:pt x="1967623" y="47819"/>
                  </a:lnTo>
                  <a:lnTo>
                    <a:pt x="1967623" y="35473"/>
                  </a:lnTo>
                  <a:lnTo>
                    <a:pt x="1902801" y="35473"/>
                  </a:lnTo>
                  <a:lnTo>
                    <a:pt x="1902801" y="49976"/>
                  </a:lnTo>
                  <a:lnTo>
                    <a:pt x="1945622" y="49976"/>
                  </a:lnTo>
                  <a:lnTo>
                    <a:pt x="1945622" y="51314"/>
                  </a:lnTo>
                  <a:lnTo>
                    <a:pt x="1902430" y="105455"/>
                  </a:lnTo>
                  <a:lnTo>
                    <a:pt x="1902430" y="116759"/>
                  </a:lnTo>
                  <a:close/>
                  <a:moveTo>
                    <a:pt x="2039962" y="94523"/>
                  </a:moveTo>
                  <a:cubicBezTo>
                    <a:pt x="2037288" y="100621"/>
                    <a:pt x="2030960" y="104042"/>
                    <a:pt x="2021825" y="104042"/>
                  </a:cubicBezTo>
                  <a:cubicBezTo>
                    <a:pt x="2009702" y="104042"/>
                    <a:pt x="2001899" y="95415"/>
                    <a:pt x="2001452" y="81657"/>
                  </a:cubicBezTo>
                  <a:lnTo>
                    <a:pt x="2001452" y="80689"/>
                  </a:lnTo>
                  <a:lnTo>
                    <a:pt x="2058252" y="80689"/>
                  </a:lnTo>
                  <a:lnTo>
                    <a:pt x="2058252" y="74815"/>
                  </a:lnTo>
                  <a:cubicBezTo>
                    <a:pt x="2058252" y="49307"/>
                    <a:pt x="2044349" y="33912"/>
                    <a:pt x="2021150" y="33912"/>
                  </a:cubicBezTo>
                  <a:cubicBezTo>
                    <a:pt x="1997588" y="33912"/>
                    <a:pt x="1982943" y="50347"/>
                    <a:pt x="1982943" y="76451"/>
                  </a:cubicBezTo>
                  <a:cubicBezTo>
                    <a:pt x="1982943" y="102480"/>
                    <a:pt x="1997360" y="118395"/>
                    <a:pt x="2021302" y="118395"/>
                  </a:cubicBezTo>
                  <a:cubicBezTo>
                    <a:pt x="2040476" y="118395"/>
                    <a:pt x="2054084" y="109173"/>
                    <a:pt x="2057433" y="94523"/>
                  </a:cubicBezTo>
                  <a:lnTo>
                    <a:pt x="2039962" y="94523"/>
                  </a:lnTo>
                  <a:close/>
                  <a:moveTo>
                    <a:pt x="2021074" y="48265"/>
                  </a:moveTo>
                  <a:cubicBezTo>
                    <a:pt x="2032159" y="48265"/>
                    <a:pt x="2039439" y="56074"/>
                    <a:pt x="2039810" y="68419"/>
                  </a:cubicBezTo>
                  <a:lnTo>
                    <a:pt x="2001528" y="68419"/>
                  </a:lnTo>
                  <a:cubicBezTo>
                    <a:pt x="2002346" y="56222"/>
                    <a:pt x="2010073" y="48265"/>
                    <a:pt x="2021074" y="48265"/>
                  </a:cubicBezTo>
                  <a:close/>
                  <a:moveTo>
                    <a:pt x="2090511" y="118246"/>
                  </a:moveTo>
                  <a:cubicBezTo>
                    <a:pt x="2097571" y="118246"/>
                    <a:pt x="2102406" y="113263"/>
                    <a:pt x="2102406" y="106645"/>
                  </a:cubicBezTo>
                  <a:cubicBezTo>
                    <a:pt x="2102406" y="100100"/>
                    <a:pt x="2097571" y="95118"/>
                    <a:pt x="2090511" y="95118"/>
                  </a:cubicBezTo>
                  <a:cubicBezTo>
                    <a:pt x="2083526" y="95118"/>
                    <a:pt x="2078616" y="100100"/>
                    <a:pt x="2078616" y="106645"/>
                  </a:cubicBezTo>
                  <a:cubicBezTo>
                    <a:pt x="2078616" y="113263"/>
                    <a:pt x="2083526" y="118246"/>
                    <a:pt x="2090511" y="118246"/>
                  </a:cubicBezTo>
                  <a:close/>
                  <a:moveTo>
                    <a:pt x="2125082" y="146209"/>
                  </a:moveTo>
                  <a:cubicBezTo>
                    <a:pt x="2143295" y="146209"/>
                    <a:pt x="2151993" y="139589"/>
                    <a:pt x="2158911" y="119585"/>
                  </a:cubicBezTo>
                  <a:lnTo>
                    <a:pt x="2188276" y="35473"/>
                  </a:lnTo>
                  <a:lnTo>
                    <a:pt x="2168797" y="35473"/>
                  </a:lnTo>
                  <a:lnTo>
                    <a:pt x="2149842" y="99282"/>
                  </a:lnTo>
                  <a:lnTo>
                    <a:pt x="2148576" y="99282"/>
                  </a:lnTo>
                  <a:lnTo>
                    <a:pt x="2129545" y="35473"/>
                  </a:lnTo>
                  <a:lnTo>
                    <a:pt x="2109323" y="35473"/>
                  </a:lnTo>
                  <a:lnTo>
                    <a:pt x="2138394" y="117056"/>
                  </a:lnTo>
                  <a:lnTo>
                    <a:pt x="2137424" y="120849"/>
                  </a:lnTo>
                  <a:cubicBezTo>
                    <a:pt x="2135045" y="128509"/>
                    <a:pt x="2130658" y="131484"/>
                    <a:pt x="2122855" y="131484"/>
                  </a:cubicBezTo>
                  <a:cubicBezTo>
                    <a:pt x="2121589" y="131484"/>
                    <a:pt x="2118839" y="131410"/>
                    <a:pt x="2117802" y="131260"/>
                  </a:cubicBezTo>
                  <a:lnTo>
                    <a:pt x="2117802" y="145911"/>
                  </a:lnTo>
                  <a:cubicBezTo>
                    <a:pt x="2118982" y="146134"/>
                    <a:pt x="2123968" y="146209"/>
                    <a:pt x="2125082" y="146209"/>
                  </a:cubicBezTo>
                  <a:close/>
                  <a:moveTo>
                    <a:pt x="2204187" y="116759"/>
                  </a:moveTo>
                  <a:lnTo>
                    <a:pt x="2222619" y="116759"/>
                  </a:lnTo>
                  <a:lnTo>
                    <a:pt x="2222619" y="67304"/>
                  </a:lnTo>
                  <a:cubicBezTo>
                    <a:pt x="2222619" y="57189"/>
                    <a:pt x="2229385" y="49529"/>
                    <a:pt x="2238530" y="49529"/>
                  </a:cubicBezTo>
                  <a:cubicBezTo>
                    <a:pt x="2247598" y="49529"/>
                    <a:pt x="2253251" y="55032"/>
                    <a:pt x="2253251" y="64031"/>
                  </a:cubicBezTo>
                  <a:lnTo>
                    <a:pt x="2253251" y="116759"/>
                  </a:lnTo>
                  <a:lnTo>
                    <a:pt x="2271169" y="116759"/>
                  </a:lnTo>
                  <a:lnTo>
                    <a:pt x="2271169" y="65965"/>
                  </a:lnTo>
                  <a:cubicBezTo>
                    <a:pt x="2271169" y="56669"/>
                    <a:pt x="2277488" y="49529"/>
                    <a:pt x="2287079" y="49529"/>
                  </a:cubicBezTo>
                  <a:cubicBezTo>
                    <a:pt x="2296966" y="49529"/>
                    <a:pt x="2301943" y="54810"/>
                    <a:pt x="2301943" y="65370"/>
                  </a:cubicBezTo>
                  <a:lnTo>
                    <a:pt x="2301943" y="116759"/>
                  </a:lnTo>
                  <a:lnTo>
                    <a:pt x="2320309" y="116759"/>
                  </a:lnTo>
                  <a:lnTo>
                    <a:pt x="2320309" y="60833"/>
                  </a:lnTo>
                  <a:cubicBezTo>
                    <a:pt x="2320309" y="43952"/>
                    <a:pt x="2310498" y="33912"/>
                    <a:pt x="2294216" y="33912"/>
                  </a:cubicBezTo>
                  <a:cubicBezTo>
                    <a:pt x="2282912" y="33912"/>
                    <a:pt x="2273548" y="39712"/>
                    <a:pt x="2269532" y="48562"/>
                  </a:cubicBezTo>
                  <a:lnTo>
                    <a:pt x="2268267" y="48562"/>
                  </a:lnTo>
                  <a:cubicBezTo>
                    <a:pt x="2264850" y="39564"/>
                    <a:pt x="2257038" y="33912"/>
                    <a:pt x="2245819" y="33912"/>
                  </a:cubicBezTo>
                  <a:cubicBezTo>
                    <a:pt x="2235037" y="33912"/>
                    <a:pt x="2226711" y="39415"/>
                    <a:pt x="2223219" y="48562"/>
                  </a:cubicBezTo>
                  <a:lnTo>
                    <a:pt x="2221953" y="48562"/>
                  </a:lnTo>
                  <a:lnTo>
                    <a:pt x="2221953" y="35473"/>
                  </a:lnTo>
                  <a:lnTo>
                    <a:pt x="2204187" y="35473"/>
                  </a:lnTo>
                  <a:lnTo>
                    <a:pt x="2204187" y="116759"/>
                  </a:lnTo>
                  <a:close/>
                  <a:moveTo>
                    <a:pt x="2342909" y="116759"/>
                  </a:moveTo>
                  <a:lnTo>
                    <a:pt x="2361341" y="116759"/>
                  </a:lnTo>
                  <a:lnTo>
                    <a:pt x="2361341" y="4015"/>
                  </a:lnTo>
                  <a:lnTo>
                    <a:pt x="2342909" y="4015"/>
                  </a:lnTo>
                  <a:lnTo>
                    <a:pt x="2342909" y="116759"/>
                  </a:lnTo>
                  <a:close/>
                </a:path>
              </a:pathLst>
            </a:custGeom>
            <a:solidFill>
              <a:srgbClr val="FAFBFC"/>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sp>
          <p:nvSpPr>
            <p:cNvPr id="3729" name="Google Shape;3729;p193"/>
            <p:cNvSpPr/>
            <p:nvPr/>
          </p:nvSpPr>
          <p:spPr>
            <a:xfrm>
              <a:off x="4969138" y="3464946"/>
              <a:ext cx="127181" cy="3080707"/>
            </a:xfrm>
            <a:custGeom>
              <a:avLst/>
              <a:gdLst/>
              <a:ahLst/>
              <a:cxnLst/>
              <a:rect l="l" t="t" r="r" b="b"/>
              <a:pathLst>
                <a:path w="127181" h="3080707" extrusionOk="0">
                  <a:moveTo>
                    <a:pt x="126847" y="80486"/>
                  </a:moveTo>
                  <a:lnTo>
                    <a:pt x="126847" y="71840"/>
                  </a:lnTo>
                  <a:lnTo>
                    <a:pt x="104210" y="71840"/>
                  </a:lnTo>
                  <a:lnTo>
                    <a:pt x="104210" y="0"/>
                  </a:lnTo>
                  <a:lnTo>
                    <a:pt x="94564" y="0"/>
                  </a:lnTo>
                  <a:lnTo>
                    <a:pt x="70589" y="15562"/>
                  </a:lnTo>
                  <a:lnTo>
                    <a:pt x="70589" y="26047"/>
                  </a:lnTo>
                  <a:lnTo>
                    <a:pt x="93616" y="11156"/>
                  </a:lnTo>
                  <a:lnTo>
                    <a:pt x="94508" y="11156"/>
                  </a:lnTo>
                  <a:lnTo>
                    <a:pt x="94508" y="71840"/>
                  </a:lnTo>
                  <a:lnTo>
                    <a:pt x="70755" y="71840"/>
                  </a:lnTo>
                  <a:lnTo>
                    <a:pt x="70755" y="80486"/>
                  </a:lnTo>
                  <a:lnTo>
                    <a:pt x="126847" y="80486"/>
                  </a:lnTo>
                  <a:close/>
                  <a:moveTo>
                    <a:pt x="70811" y="222548"/>
                  </a:moveTo>
                  <a:lnTo>
                    <a:pt x="70811" y="222883"/>
                  </a:lnTo>
                  <a:lnTo>
                    <a:pt x="80290" y="222883"/>
                  </a:lnTo>
                  <a:lnTo>
                    <a:pt x="80290" y="222548"/>
                  </a:lnTo>
                  <a:cubicBezTo>
                    <a:pt x="80290" y="213066"/>
                    <a:pt x="86423" y="206875"/>
                    <a:pt x="95679" y="206875"/>
                  </a:cubicBezTo>
                  <a:cubicBezTo>
                    <a:pt x="105046" y="206875"/>
                    <a:pt x="111123" y="212565"/>
                    <a:pt x="111123" y="221210"/>
                  </a:cubicBezTo>
                  <a:cubicBezTo>
                    <a:pt x="111123" y="227569"/>
                    <a:pt x="108670" y="231863"/>
                    <a:pt x="98467" y="243297"/>
                  </a:cubicBezTo>
                  <a:lnTo>
                    <a:pt x="71258" y="273585"/>
                  </a:lnTo>
                  <a:lnTo>
                    <a:pt x="71258" y="280389"/>
                  </a:lnTo>
                  <a:lnTo>
                    <a:pt x="122164" y="280389"/>
                  </a:lnTo>
                  <a:lnTo>
                    <a:pt x="122164" y="271465"/>
                  </a:lnTo>
                  <a:lnTo>
                    <a:pt x="85308" y="271465"/>
                  </a:lnTo>
                  <a:lnTo>
                    <a:pt x="85308" y="270517"/>
                  </a:lnTo>
                  <a:lnTo>
                    <a:pt x="104265" y="249879"/>
                  </a:lnTo>
                  <a:cubicBezTo>
                    <a:pt x="117090" y="235879"/>
                    <a:pt x="120881" y="229186"/>
                    <a:pt x="120881" y="220820"/>
                  </a:cubicBezTo>
                  <a:cubicBezTo>
                    <a:pt x="120881" y="207378"/>
                    <a:pt x="110733" y="198230"/>
                    <a:pt x="95958" y="198230"/>
                  </a:cubicBezTo>
                  <a:cubicBezTo>
                    <a:pt x="81294" y="198230"/>
                    <a:pt x="70811" y="208381"/>
                    <a:pt x="70811" y="222548"/>
                  </a:cubicBezTo>
                  <a:close/>
                  <a:moveTo>
                    <a:pt x="86647" y="442977"/>
                  </a:moveTo>
                  <a:lnTo>
                    <a:pt x="95847" y="442977"/>
                  </a:lnTo>
                  <a:cubicBezTo>
                    <a:pt x="106997" y="442977"/>
                    <a:pt x="114079" y="448945"/>
                    <a:pt x="114079" y="458312"/>
                  </a:cubicBezTo>
                  <a:cubicBezTo>
                    <a:pt x="114079" y="467403"/>
                    <a:pt x="107221" y="473096"/>
                    <a:pt x="96181" y="473096"/>
                  </a:cubicBezTo>
                  <a:cubicBezTo>
                    <a:pt x="86144" y="473096"/>
                    <a:pt x="79007" y="467517"/>
                    <a:pt x="78116" y="458931"/>
                  </a:cubicBezTo>
                  <a:lnTo>
                    <a:pt x="68804" y="458931"/>
                  </a:lnTo>
                  <a:cubicBezTo>
                    <a:pt x="69529" y="472819"/>
                    <a:pt x="80569" y="481967"/>
                    <a:pt x="96459" y="481967"/>
                  </a:cubicBezTo>
                  <a:cubicBezTo>
                    <a:pt x="112517" y="481967"/>
                    <a:pt x="124003" y="472201"/>
                    <a:pt x="124003" y="458541"/>
                  </a:cubicBezTo>
                  <a:cubicBezTo>
                    <a:pt x="124003" y="447555"/>
                    <a:pt x="117647" y="440026"/>
                    <a:pt x="106942" y="438626"/>
                  </a:cubicBezTo>
                  <a:lnTo>
                    <a:pt x="106942" y="437732"/>
                  </a:lnTo>
                  <a:cubicBezTo>
                    <a:pt x="115584" y="435618"/>
                    <a:pt x="120658" y="428698"/>
                    <a:pt x="120658" y="418998"/>
                  </a:cubicBezTo>
                  <a:cubicBezTo>
                    <a:pt x="120658" y="406775"/>
                    <a:pt x="110399" y="398132"/>
                    <a:pt x="96013" y="398132"/>
                  </a:cubicBezTo>
                  <a:cubicBezTo>
                    <a:pt x="81126" y="398132"/>
                    <a:pt x="71313" y="406775"/>
                    <a:pt x="70365" y="420721"/>
                  </a:cubicBezTo>
                  <a:lnTo>
                    <a:pt x="79789" y="420721"/>
                  </a:lnTo>
                  <a:cubicBezTo>
                    <a:pt x="80569" y="412077"/>
                    <a:pt x="86590" y="406775"/>
                    <a:pt x="95623" y="406775"/>
                  </a:cubicBezTo>
                  <a:cubicBezTo>
                    <a:pt x="104712" y="406775"/>
                    <a:pt x="110733" y="412192"/>
                    <a:pt x="110733" y="420388"/>
                  </a:cubicBezTo>
                  <a:cubicBezTo>
                    <a:pt x="110733" y="428812"/>
                    <a:pt x="104433" y="434724"/>
                    <a:pt x="95400" y="434724"/>
                  </a:cubicBezTo>
                  <a:lnTo>
                    <a:pt x="86647" y="434724"/>
                  </a:lnTo>
                  <a:lnTo>
                    <a:pt x="86647" y="442977"/>
                  </a:lnTo>
                  <a:close/>
                  <a:moveTo>
                    <a:pt x="105882" y="680195"/>
                  </a:moveTo>
                  <a:lnTo>
                    <a:pt x="114859" y="680195"/>
                  </a:lnTo>
                  <a:lnTo>
                    <a:pt x="114859" y="663184"/>
                  </a:lnTo>
                  <a:lnTo>
                    <a:pt x="127181" y="663184"/>
                  </a:lnTo>
                  <a:lnTo>
                    <a:pt x="127181" y="654541"/>
                  </a:lnTo>
                  <a:lnTo>
                    <a:pt x="114915" y="654541"/>
                  </a:lnTo>
                  <a:lnTo>
                    <a:pt x="114915" y="631666"/>
                  </a:lnTo>
                  <a:lnTo>
                    <a:pt x="105994" y="631666"/>
                  </a:lnTo>
                  <a:lnTo>
                    <a:pt x="105994" y="654646"/>
                  </a:lnTo>
                  <a:lnTo>
                    <a:pt x="79621" y="654646"/>
                  </a:lnTo>
                  <a:lnTo>
                    <a:pt x="79621" y="653922"/>
                  </a:lnTo>
                  <a:lnTo>
                    <a:pt x="106552" y="599710"/>
                  </a:lnTo>
                  <a:lnTo>
                    <a:pt x="96515" y="599710"/>
                  </a:lnTo>
                  <a:lnTo>
                    <a:pt x="69195" y="655207"/>
                  </a:lnTo>
                  <a:lnTo>
                    <a:pt x="69195" y="663184"/>
                  </a:lnTo>
                  <a:lnTo>
                    <a:pt x="105882" y="663184"/>
                  </a:lnTo>
                  <a:lnTo>
                    <a:pt x="105882" y="680195"/>
                  </a:lnTo>
                  <a:close/>
                  <a:moveTo>
                    <a:pt x="95790" y="881716"/>
                  </a:moveTo>
                  <a:cubicBezTo>
                    <a:pt x="112127" y="881716"/>
                    <a:pt x="123223" y="870674"/>
                    <a:pt x="123223" y="854387"/>
                  </a:cubicBezTo>
                  <a:cubicBezTo>
                    <a:pt x="123223" y="838547"/>
                    <a:pt x="112852" y="827447"/>
                    <a:pt x="97965" y="827447"/>
                  </a:cubicBezTo>
                  <a:cubicBezTo>
                    <a:pt x="90884" y="827447"/>
                    <a:pt x="85141" y="829951"/>
                    <a:pt x="81182" y="834749"/>
                  </a:cubicBezTo>
                  <a:lnTo>
                    <a:pt x="80290" y="834749"/>
                  </a:lnTo>
                  <a:lnTo>
                    <a:pt x="82521" y="808485"/>
                  </a:lnTo>
                  <a:lnTo>
                    <a:pt x="118763" y="808485"/>
                  </a:lnTo>
                  <a:lnTo>
                    <a:pt x="118763" y="799613"/>
                  </a:lnTo>
                  <a:lnTo>
                    <a:pt x="74770" y="799613"/>
                  </a:lnTo>
                  <a:lnTo>
                    <a:pt x="70700" y="845068"/>
                  </a:lnTo>
                  <a:lnTo>
                    <a:pt x="80011" y="845068"/>
                  </a:lnTo>
                  <a:cubicBezTo>
                    <a:pt x="83189" y="839385"/>
                    <a:pt x="89155" y="836091"/>
                    <a:pt x="96348" y="836091"/>
                  </a:cubicBezTo>
                  <a:cubicBezTo>
                    <a:pt x="106663" y="836091"/>
                    <a:pt x="113633" y="843564"/>
                    <a:pt x="113633" y="854606"/>
                  </a:cubicBezTo>
                  <a:cubicBezTo>
                    <a:pt x="113633" y="865543"/>
                    <a:pt x="106718" y="872845"/>
                    <a:pt x="96348" y="872845"/>
                  </a:cubicBezTo>
                  <a:cubicBezTo>
                    <a:pt x="86925" y="872845"/>
                    <a:pt x="79732" y="867047"/>
                    <a:pt x="78841" y="858623"/>
                  </a:cubicBezTo>
                  <a:lnTo>
                    <a:pt x="69362" y="858623"/>
                  </a:lnTo>
                  <a:cubicBezTo>
                    <a:pt x="70197" y="872454"/>
                    <a:pt x="80792" y="881716"/>
                    <a:pt x="95790" y="881716"/>
                  </a:cubicBezTo>
                  <a:close/>
                  <a:moveTo>
                    <a:pt x="124059" y="1054176"/>
                  </a:moveTo>
                  <a:cubicBezTo>
                    <a:pt x="124059" y="1039507"/>
                    <a:pt x="113465" y="1028636"/>
                    <a:pt x="99136" y="1028636"/>
                  </a:cubicBezTo>
                  <a:cubicBezTo>
                    <a:pt x="94006" y="1028636"/>
                    <a:pt x="88207" y="1031025"/>
                    <a:pt x="85810" y="1034262"/>
                  </a:cubicBezTo>
                  <a:lnTo>
                    <a:pt x="84974" y="1033814"/>
                  </a:lnTo>
                  <a:cubicBezTo>
                    <a:pt x="85364" y="1032929"/>
                    <a:pt x="85141" y="1033148"/>
                    <a:pt x="87594" y="1029692"/>
                  </a:cubicBezTo>
                  <a:lnTo>
                    <a:pt x="109563" y="999517"/>
                  </a:lnTo>
                  <a:lnTo>
                    <a:pt x="98244" y="999517"/>
                  </a:lnTo>
                  <a:cubicBezTo>
                    <a:pt x="97686" y="1000354"/>
                    <a:pt x="80959" y="1023781"/>
                    <a:pt x="80234" y="1025009"/>
                  </a:cubicBezTo>
                  <a:cubicBezTo>
                    <a:pt x="72539" y="1036213"/>
                    <a:pt x="69362" y="1044752"/>
                    <a:pt x="69362" y="1054176"/>
                  </a:cubicBezTo>
                  <a:cubicBezTo>
                    <a:pt x="69362" y="1070187"/>
                    <a:pt x="80792" y="1081677"/>
                    <a:pt x="96627" y="1081677"/>
                  </a:cubicBezTo>
                  <a:cubicBezTo>
                    <a:pt x="112573" y="1081677"/>
                    <a:pt x="124059" y="1070130"/>
                    <a:pt x="124059" y="1054176"/>
                  </a:cubicBezTo>
                  <a:close/>
                  <a:moveTo>
                    <a:pt x="96683" y="1072919"/>
                  </a:moveTo>
                  <a:cubicBezTo>
                    <a:pt x="86590" y="1072919"/>
                    <a:pt x="78896" y="1064999"/>
                    <a:pt x="78896" y="1054680"/>
                  </a:cubicBezTo>
                  <a:cubicBezTo>
                    <a:pt x="78896" y="1044304"/>
                    <a:pt x="86590" y="1036384"/>
                    <a:pt x="96683" y="1036384"/>
                  </a:cubicBezTo>
                  <a:cubicBezTo>
                    <a:pt x="106831" y="1036384"/>
                    <a:pt x="114525" y="1044304"/>
                    <a:pt x="114525" y="1054680"/>
                  </a:cubicBezTo>
                  <a:cubicBezTo>
                    <a:pt x="114525" y="1064999"/>
                    <a:pt x="106831" y="1072919"/>
                    <a:pt x="96683" y="1072919"/>
                  </a:cubicBezTo>
                  <a:close/>
                  <a:moveTo>
                    <a:pt x="77168" y="1279904"/>
                  </a:moveTo>
                  <a:lnTo>
                    <a:pt x="87650" y="1279904"/>
                  </a:lnTo>
                  <a:lnTo>
                    <a:pt x="123724" y="1208511"/>
                  </a:lnTo>
                  <a:lnTo>
                    <a:pt x="123724" y="1199420"/>
                  </a:lnTo>
                  <a:lnTo>
                    <a:pt x="70031" y="1199420"/>
                  </a:lnTo>
                  <a:lnTo>
                    <a:pt x="70031" y="1208234"/>
                  </a:lnTo>
                  <a:lnTo>
                    <a:pt x="113689" y="1208234"/>
                  </a:lnTo>
                  <a:lnTo>
                    <a:pt x="113689" y="1208958"/>
                  </a:lnTo>
                  <a:lnTo>
                    <a:pt x="77168" y="1279904"/>
                  </a:lnTo>
                  <a:close/>
                  <a:moveTo>
                    <a:pt x="96738" y="1481597"/>
                  </a:moveTo>
                  <a:cubicBezTo>
                    <a:pt x="113465" y="1481597"/>
                    <a:pt x="125063" y="1472002"/>
                    <a:pt x="125063" y="1458275"/>
                  </a:cubicBezTo>
                  <a:cubicBezTo>
                    <a:pt x="125063" y="1448128"/>
                    <a:pt x="118428" y="1439817"/>
                    <a:pt x="108670" y="1437752"/>
                  </a:cubicBezTo>
                  <a:lnTo>
                    <a:pt x="108670" y="1436857"/>
                  </a:lnTo>
                  <a:cubicBezTo>
                    <a:pt x="116866" y="1434572"/>
                    <a:pt x="121829" y="1427709"/>
                    <a:pt x="121829" y="1418951"/>
                  </a:cubicBezTo>
                  <a:cubicBezTo>
                    <a:pt x="121829" y="1406405"/>
                    <a:pt x="111402" y="1397533"/>
                    <a:pt x="96738" y="1397533"/>
                  </a:cubicBezTo>
                  <a:cubicBezTo>
                    <a:pt x="82074" y="1397533"/>
                    <a:pt x="71592" y="1406405"/>
                    <a:pt x="71592" y="1418951"/>
                  </a:cubicBezTo>
                  <a:cubicBezTo>
                    <a:pt x="71592" y="1427709"/>
                    <a:pt x="76665" y="1434629"/>
                    <a:pt x="84750" y="1436857"/>
                  </a:cubicBezTo>
                  <a:lnTo>
                    <a:pt x="84750" y="1437752"/>
                  </a:lnTo>
                  <a:cubicBezTo>
                    <a:pt x="74826" y="1440151"/>
                    <a:pt x="68358" y="1448289"/>
                    <a:pt x="68358" y="1458275"/>
                  </a:cubicBezTo>
                  <a:cubicBezTo>
                    <a:pt x="68358" y="1472002"/>
                    <a:pt x="80011" y="1481597"/>
                    <a:pt x="96738" y="1481597"/>
                  </a:cubicBezTo>
                  <a:close/>
                  <a:moveTo>
                    <a:pt x="96738" y="1433516"/>
                  </a:moveTo>
                  <a:cubicBezTo>
                    <a:pt x="87427" y="1433516"/>
                    <a:pt x="81238" y="1428042"/>
                    <a:pt x="81238" y="1419789"/>
                  </a:cubicBezTo>
                  <a:cubicBezTo>
                    <a:pt x="81238" y="1411593"/>
                    <a:pt x="87427" y="1406129"/>
                    <a:pt x="96738" y="1406129"/>
                  </a:cubicBezTo>
                  <a:cubicBezTo>
                    <a:pt x="106049" y="1406129"/>
                    <a:pt x="112183" y="1411593"/>
                    <a:pt x="112183" y="1419789"/>
                  </a:cubicBezTo>
                  <a:cubicBezTo>
                    <a:pt x="112183" y="1428042"/>
                    <a:pt x="106049" y="1433516"/>
                    <a:pt x="96738" y="1433516"/>
                  </a:cubicBezTo>
                  <a:close/>
                  <a:moveTo>
                    <a:pt x="96738" y="1473058"/>
                  </a:moveTo>
                  <a:cubicBezTo>
                    <a:pt x="85810" y="1473058"/>
                    <a:pt x="78283" y="1466700"/>
                    <a:pt x="78283" y="1457495"/>
                  </a:cubicBezTo>
                  <a:cubicBezTo>
                    <a:pt x="78283" y="1448289"/>
                    <a:pt x="85810" y="1441931"/>
                    <a:pt x="96738" y="1441931"/>
                  </a:cubicBezTo>
                  <a:cubicBezTo>
                    <a:pt x="107667" y="1441931"/>
                    <a:pt x="115194" y="1448289"/>
                    <a:pt x="115194" y="1457495"/>
                  </a:cubicBezTo>
                  <a:cubicBezTo>
                    <a:pt x="115194" y="1466700"/>
                    <a:pt x="107667" y="1473058"/>
                    <a:pt x="96738" y="1473058"/>
                  </a:cubicBezTo>
                  <a:close/>
                  <a:moveTo>
                    <a:pt x="68971" y="1625051"/>
                  </a:moveTo>
                  <a:cubicBezTo>
                    <a:pt x="68971" y="1639778"/>
                    <a:pt x="79510" y="1650591"/>
                    <a:pt x="93895" y="1650591"/>
                  </a:cubicBezTo>
                  <a:cubicBezTo>
                    <a:pt x="98969" y="1650591"/>
                    <a:pt x="104655" y="1648193"/>
                    <a:pt x="107053" y="1644966"/>
                  </a:cubicBezTo>
                  <a:lnTo>
                    <a:pt x="107890" y="1645403"/>
                  </a:lnTo>
                  <a:cubicBezTo>
                    <a:pt x="107388" y="1646298"/>
                    <a:pt x="106997" y="1647022"/>
                    <a:pt x="105158" y="1649535"/>
                  </a:cubicBezTo>
                  <a:lnTo>
                    <a:pt x="83245" y="1679711"/>
                  </a:lnTo>
                  <a:lnTo>
                    <a:pt x="94508" y="1679711"/>
                  </a:lnTo>
                  <a:cubicBezTo>
                    <a:pt x="95121" y="1678873"/>
                    <a:pt x="111792" y="1655446"/>
                    <a:pt x="112517" y="1654218"/>
                  </a:cubicBezTo>
                  <a:cubicBezTo>
                    <a:pt x="120435" y="1642729"/>
                    <a:pt x="123669" y="1634199"/>
                    <a:pt x="123669" y="1625051"/>
                  </a:cubicBezTo>
                  <a:cubicBezTo>
                    <a:pt x="123669" y="1608983"/>
                    <a:pt x="112239" y="1597551"/>
                    <a:pt x="96348" y="1597551"/>
                  </a:cubicBezTo>
                  <a:cubicBezTo>
                    <a:pt x="80457" y="1597551"/>
                    <a:pt x="68971" y="1609097"/>
                    <a:pt x="68971" y="1625051"/>
                  </a:cubicBezTo>
                  <a:close/>
                  <a:moveTo>
                    <a:pt x="96292" y="1606308"/>
                  </a:moveTo>
                  <a:cubicBezTo>
                    <a:pt x="106440" y="1606308"/>
                    <a:pt x="114134" y="1614228"/>
                    <a:pt x="114134" y="1624547"/>
                  </a:cubicBezTo>
                  <a:cubicBezTo>
                    <a:pt x="114134" y="1634923"/>
                    <a:pt x="106440" y="1642843"/>
                    <a:pt x="96292" y="1642843"/>
                  </a:cubicBezTo>
                  <a:cubicBezTo>
                    <a:pt x="86200" y="1642843"/>
                    <a:pt x="78506" y="1634923"/>
                    <a:pt x="78506" y="1624547"/>
                  </a:cubicBezTo>
                  <a:cubicBezTo>
                    <a:pt x="78506" y="1614228"/>
                    <a:pt x="86200" y="1606308"/>
                    <a:pt x="96292" y="1606308"/>
                  </a:cubicBezTo>
                  <a:close/>
                  <a:moveTo>
                    <a:pt x="56259" y="1879614"/>
                  </a:moveTo>
                  <a:lnTo>
                    <a:pt x="56259" y="1870970"/>
                  </a:lnTo>
                  <a:lnTo>
                    <a:pt x="33621" y="1870970"/>
                  </a:lnTo>
                  <a:lnTo>
                    <a:pt x="33621" y="1799129"/>
                  </a:lnTo>
                  <a:lnTo>
                    <a:pt x="23975" y="1799129"/>
                  </a:lnTo>
                  <a:lnTo>
                    <a:pt x="0" y="1814693"/>
                  </a:lnTo>
                  <a:lnTo>
                    <a:pt x="0" y="1825174"/>
                  </a:lnTo>
                  <a:lnTo>
                    <a:pt x="23027" y="1810286"/>
                  </a:lnTo>
                  <a:lnTo>
                    <a:pt x="23920" y="1810286"/>
                  </a:lnTo>
                  <a:lnTo>
                    <a:pt x="23920" y="1870970"/>
                  </a:lnTo>
                  <a:lnTo>
                    <a:pt x="167" y="1870970"/>
                  </a:lnTo>
                  <a:lnTo>
                    <a:pt x="167" y="1879614"/>
                  </a:lnTo>
                  <a:lnTo>
                    <a:pt x="56259" y="1879614"/>
                  </a:lnTo>
                  <a:close/>
                  <a:moveTo>
                    <a:pt x="96515" y="1881451"/>
                  </a:moveTo>
                  <a:cubicBezTo>
                    <a:pt x="113968" y="1881451"/>
                    <a:pt x="123669" y="1866506"/>
                    <a:pt x="123669" y="1839395"/>
                  </a:cubicBezTo>
                  <a:cubicBezTo>
                    <a:pt x="123669" y="1812294"/>
                    <a:pt x="113968" y="1797339"/>
                    <a:pt x="96515" y="1797339"/>
                  </a:cubicBezTo>
                  <a:cubicBezTo>
                    <a:pt x="79007" y="1797339"/>
                    <a:pt x="69362" y="1812294"/>
                    <a:pt x="69362" y="1839395"/>
                  </a:cubicBezTo>
                  <a:cubicBezTo>
                    <a:pt x="69362" y="1866506"/>
                    <a:pt x="79007" y="1881451"/>
                    <a:pt x="96515" y="1881451"/>
                  </a:cubicBezTo>
                  <a:close/>
                  <a:moveTo>
                    <a:pt x="79120" y="1839395"/>
                  </a:moveTo>
                  <a:cubicBezTo>
                    <a:pt x="79120" y="1817539"/>
                    <a:pt x="85141" y="1806040"/>
                    <a:pt x="96515" y="1806040"/>
                  </a:cubicBezTo>
                  <a:cubicBezTo>
                    <a:pt x="104099" y="1806040"/>
                    <a:pt x="109339" y="1811180"/>
                    <a:pt x="111960" y="1821156"/>
                  </a:cubicBezTo>
                  <a:lnTo>
                    <a:pt x="79510" y="1848267"/>
                  </a:lnTo>
                  <a:cubicBezTo>
                    <a:pt x="79286" y="1845535"/>
                    <a:pt x="79120" y="1842575"/>
                    <a:pt x="79120" y="1839395"/>
                  </a:cubicBezTo>
                  <a:close/>
                  <a:moveTo>
                    <a:pt x="96515" y="1872750"/>
                  </a:moveTo>
                  <a:cubicBezTo>
                    <a:pt x="88932" y="1872750"/>
                    <a:pt x="83747" y="1867620"/>
                    <a:pt x="81126" y="1857748"/>
                  </a:cubicBezTo>
                  <a:lnTo>
                    <a:pt x="113465" y="1830419"/>
                  </a:lnTo>
                  <a:cubicBezTo>
                    <a:pt x="113744" y="1833208"/>
                    <a:pt x="113855" y="1836168"/>
                    <a:pt x="113855" y="1839395"/>
                  </a:cubicBezTo>
                  <a:cubicBezTo>
                    <a:pt x="113855" y="1861204"/>
                    <a:pt x="107890" y="1872750"/>
                    <a:pt x="96515" y="1872750"/>
                  </a:cubicBezTo>
                  <a:close/>
                  <a:moveTo>
                    <a:pt x="56259" y="2079517"/>
                  </a:moveTo>
                  <a:lnTo>
                    <a:pt x="56259" y="2070874"/>
                  </a:lnTo>
                  <a:lnTo>
                    <a:pt x="33621" y="2070874"/>
                  </a:lnTo>
                  <a:lnTo>
                    <a:pt x="33621" y="1999032"/>
                  </a:lnTo>
                  <a:lnTo>
                    <a:pt x="23975" y="1999032"/>
                  </a:lnTo>
                  <a:lnTo>
                    <a:pt x="0" y="2014596"/>
                  </a:lnTo>
                  <a:lnTo>
                    <a:pt x="0" y="2025077"/>
                  </a:lnTo>
                  <a:lnTo>
                    <a:pt x="23027" y="2010189"/>
                  </a:lnTo>
                  <a:lnTo>
                    <a:pt x="23920" y="2010189"/>
                  </a:lnTo>
                  <a:lnTo>
                    <a:pt x="23920" y="2070874"/>
                  </a:lnTo>
                  <a:lnTo>
                    <a:pt x="167" y="2070874"/>
                  </a:lnTo>
                  <a:lnTo>
                    <a:pt x="167" y="2079517"/>
                  </a:lnTo>
                  <a:lnTo>
                    <a:pt x="56259" y="2079517"/>
                  </a:lnTo>
                  <a:close/>
                  <a:moveTo>
                    <a:pt x="126847" y="2079517"/>
                  </a:moveTo>
                  <a:lnTo>
                    <a:pt x="126847" y="2070874"/>
                  </a:lnTo>
                  <a:lnTo>
                    <a:pt x="104210" y="2070874"/>
                  </a:lnTo>
                  <a:lnTo>
                    <a:pt x="104210" y="1999032"/>
                  </a:lnTo>
                  <a:lnTo>
                    <a:pt x="94564" y="1999032"/>
                  </a:lnTo>
                  <a:lnTo>
                    <a:pt x="70589" y="2014596"/>
                  </a:lnTo>
                  <a:lnTo>
                    <a:pt x="70589" y="2025077"/>
                  </a:lnTo>
                  <a:lnTo>
                    <a:pt x="93616" y="2010189"/>
                  </a:lnTo>
                  <a:lnTo>
                    <a:pt x="94508" y="2010189"/>
                  </a:lnTo>
                  <a:lnTo>
                    <a:pt x="94508" y="2070874"/>
                  </a:lnTo>
                  <a:lnTo>
                    <a:pt x="70755" y="2070874"/>
                  </a:lnTo>
                  <a:lnTo>
                    <a:pt x="70755" y="2079517"/>
                  </a:lnTo>
                  <a:lnTo>
                    <a:pt x="126847" y="2079517"/>
                  </a:lnTo>
                  <a:close/>
                  <a:moveTo>
                    <a:pt x="56259" y="2279420"/>
                  </a:moveTo>
                  <a:lnTo>
                    <a:pt x="56259" y="2270777"/>
                  </a:lnTo>
                  <a:lnTo>
                    <a:pt x="33621" y="2270777"/>
                  </a:lnTo>
                  <a:lnTo>
                    <a:pt x="33621" y="2198935"/>
                  </a:lnTo>
                  <a:lnTo>
                    <a:pt x="23975" y="2198935"/>
                  </a:lnTo>
                  <a:lnTo>
                    <a:pt x="0" y="2214499"/>
                  </a:lnTo>
                  <a:lnTo>
                    <a:pt x="0" y="2224980"/>
                  </a:lnTo>
                  <a:lnTo>
                    <a:pt x="23027" y="2210092"/>
                  </a:lnTo>
                  <a:lnTo>
                    <a:pt x="23920" y="2210092"/>
                  </a:lnTo>
                  <a:lnTo>
                    <a:pt x="23920" y="2270777"/>
                  </a:lnTo>
                  <a:lnTo>
                    <a:pt x="167" y="2270777"/>
                  </a:lnTo>
                  <a:lnTo>
                    <a:pt x="167" y="2279420"/>
                  </a:lnTo>
                  <a:lnTo>
                    <a:pt x="56259" y="2279420"/>
                  </a:lnTo>
                  <a:close/>
                  <a:moveTo>
                    <a:pt x="70811" y="2221582"/>
                  </a:moveTo>
                  <a:lnTo>
                    <a:pt x="70811" y="2221915"/>
                  </a:lnTo>
                  <a:lnTo>
                    <a:pt x="80290" y="2221915"/>
                  </a:lnTo>
                  <a:lnTo>
                    <a:pt x="80290" y="2221582"/>
                  </a:lnTo>
                  <a:cubicBezTo>
                    <a:pt x="80290" y="2212100"/>
                    <a:pt x="86423" y="2205903"/>
                    <a:pt x="95679" y="2205903"/>
                  </a:cubicBezTo>
                  <a:cubicBezTo>
                    <a:pt x="105046" y="2205903"/>
                    <a:pt x="111123" y="2211596"/>
                    <a:pt x="111123" y="2220239"/>
                  </a:cubicBezTo>
                  <a:cubicBezTo>
                    <a:pt x="111123" y="2226598"/>
                    <a:pt x="108670" y="2230891"/>
                    <a:pt x="98467" y="2242333"/>
                  </a:cubicBezTo>
                  <a:lnTo>
                    <a:pt x="71258" y="2272614"/>
                  </a:lnTo>
                  <a:lnTo>
                    <a:pt x="71258" y="2279420"/>
                  </a:lnTo>
                  <a:lnTo>
                    <a:pt x="122164" y="2279420"/>
                  </a:lnTo>
                  <a:lnTo>
                    <a:pt x="122164" y="2270491"/>
                  </a:lnTo>
                  <a:lnTo>
                    <a:pt x="85308" y="2270491"/>
                  </a:lnTo>
                  <a:lnTo>
                    <a:pt x="85308" y="2269549"/>
                  </a:lnTo>
                  <a:lnTo>
                    <a:pt x="104265" y="2248911"/>
                  </a:lnTo>
                  <a:cubicBezTo>
                    <a:pt x="117090" y="2234908"/>
                    <a:pt x="120881" y="2228216"/>
                    <a:pt x="120881" y="2219849"/>
                  </a:cubicBezTo>
                  <a:cubicBezTo>
                    <a:pt x="120881" y="2206408"/>
                    <a:pt x="110733" y="2197260"/>
                    <a:pt x="95958" y="2197260"/>
                  </a:cubicBezTo>
                  <a:cubicBezTo>
                    <a:pt x="81294" y="2197260"/>
                    <a:pt x="70811" y="2207417"/>
                    <a:pt x="70811" y="2221582"/>
                  </a:cubicBezTo>
                  <a:close/>
                  <a:moveTo>
                    <a:pt x="56259" y="2479323"/>
                  </a:moveTo>
                  <a:lnTo>
                    <a:pt x="56259" y="2470680"/>
                  </a:lnTo>
                  <a:lnTo>
                    <a:pt x="33621" y="2470680"/>
                  </a:lnTo>
                  <a:lnTo>
                    <a:pt x="33621" y="2398839"/>
                  </a:lnTo>
                  <a:lnTo>
                    <a:pt x="23975" y="2398839"/>
                  </a:lnTo>
                  <a:lnTo>
                    <a:pt x="0" y="2414402"/>
                  </a:lnTo>
                  <a:lnTo>
                    <a:pt x="0" y="2424883"/>
                  </a:lnTo>
                  <a:lnTo>
                    <a:pt x="23027" y="2409995"/>
                  </a:lnTo>
                  <a:lnTo>
                    <a:pt x="23920" y="2409995"/>
                  </a:lnTo>
                  <a:lnTo>
                    <a:pt x="23920" y="2470680"/>
                  </a:lnTo>
                  <a:lnTo>
                    <a:pt x="167" y="2470680"/>
                  </a:lnTo>
                  <a:lnTo>
                    <a:pt x="167" y="2479323"/>
                  </a:lnTo>
                  <a:lnTo>
                    <a:pt x="56259" y="2479323"/>
                  </a:lnTo>
                  <a:close/>
                  <a:moveTo>
                    <a:pt x="86647" y="2442008"/>
                  </a:moveTo>
                  <a:lnTo>
                    <a:pt x="95847" y="2442008"/>
                  </a:lnTo>
                  <a:cubicBezTo>
                    <a:pt x="106997" y="2442008"/>
                    <a:pt x="114079" y="2447976"/>
                    <a:pt x="114079" y="2457343"/>
                  </a:cubicBezTo>
                  <a:cubicBezTo>
                    <a:pt x="114079" y="2466434"/>
                    <a:pt x="107221" y="2472127"/>
                    <a:pt x="96181" y="2472127"/>
                  </a:cubicBezTo>
                  <a:cubicBezTo>
                    <a:pt x="86144" y="2472127"/>
                    <a:pt x="79007" y="2466548"/>
                    <a:pt x="78116" y="2457962"/>
                  </a:cubicBezTo>
                  <a:lnTo>
                    <a:pt x="68804" y="2457962"/>
                  </a:lnTo>
                  <a:cubicBezTo>
                    <a:pt x="69529" y="2471851"/>
                    <a:pt x="80569" y="2480999"/>
                    <a:pt x="96459" y="2480999"/>
                  </a:cubicBezTo>
                  <a:cubicBezTo>
                    <a:pt x="112517" y="2480999"/>
                    <a:pt x="124003" y="2471232"/>
                    <a:pt x="124003" y="2457572"/>
                  </a:cubicBezTo>
                  <a:cubicBezTo>
                    <a:pt x="124003" y="2446587"/>
                    <a:pt x="117647" y="2439057"/>
                    <a:pt x="106942" y="2437658"/>
                  </a:cubicBezTo>
                  <a:lnTo>
                    <a:pt x="106942" y="2436763"/>
                  </a:lnTo>
                  <a:cubicBezTo>
                    <a:pt x="115584" y="2434650"/>
                    <a:pt x="120658" y="2427729"/>
                    <a:pt x="120658" y="2418029"/>
                  </a:cubicBezTo>
                  <a:cubicBezTo>
                    <a:pt x="120658" y="2405807"/>
                    <a:pt x="110399" y="2397163"/>
                    <a:pt x="96013" y="2397163"/>
                  </a:cubicBezTo>
                  <a:cubicBezTo>
                    <a:pt x="81126" y="2397163"/>
                    <a:pt x="71313" y="2405807"/>
                    <a:pt x="70365" y="2419752"/>
                  </a:cubicBezTo>
                  <a:lnTo>
                    <a:pt x="79789" y="2419752"/>
                  </a:lnTo>
                  <a:cubicBezTo>
                    <a:pt x="80569" y="2411109"/>
                    <a:pt x="86590" y="2405807"/>
                    <a:pt x="95623" y="2405807"/>
                  </a:cubicBezTo>
                  <a:cubicBezTo>
                    <a:pt x="104712" y="2405807"/>
                    <a:pt x="110733" y="2411223"/>
                    <a:pt x="110733" y="2419419"/>
                  </a:cubicBezTo>
                  <a:cubicBezTo>
                    <a:pt x="110733" y="2427843"/>
                    <a:pt x="104433" y="2433755"/>
                    <a:pt x="95400" y="2433755"/>
                  </a:cubicBezTo>
                  <a:lnTo>
                    <a:pt x="86647" y="2433755"/>
                  </a:lnTo>
                  <a:lnTo>
                    <a:pt x="86647" y="2442008"/>
                  </a:lnTo>
                  <a:close/>
                  <a:moveTo>
                    <a:pt x="56259" y="2679226"/>
                  </a:moveTo>
                  <a:lnTo>
                    <a:pt x="56259" y="2670583"/>
                  </a:lnTo>
                  <a:lnTo>
                    <a:pt x="33621" y="2670583"/>
                  </a:lnTo>
                  <a:lnTo>
                    <a:pt x="33621" y="2598742"/>
                  </a:lnTo>
                  <a:lnTo>
                    <a:pt x="23975" y="2598742"/>
                  </a:lnTo>
                  <a:lnTo>
                    <a:pt x="0" y="2614305"/>
                  </a:lnTo>
                  <a:lnTo>
                    <a:pt x="0" y="2624786"/>
                  </a:lnTo>
                  <a:lnTo>
                    <a:pt x="23027" y="2609898"/>
                  </a:lnTo>
                  <a:lnTo>
                    <a:pt x="23920" y="2609898"/>
                  </a:lnTo>
                  <a:lnTo>
                    <a:pt x="23920" y="2670583"/>
                  </a:lnTo>
                  <a:lnTo>
                    <a:pt x="167" y="2670583"/>
                  </a:lnTo>
                  <a:lnTo>
                    <a:pt x="167" y="2679226"/>
                  </a:lnTo>
                  <a:lnTo>
                    <a:pt x="56259" y="2679226"/>
                  </a:lnTo>
                  <a:close/>
                  <a:moveTo>
                    <a:pt x="105882" y="2679226"/>
                  </a:moveTo>
                  <a:lnTo>
                    <a:pt x="114859" y="2679226"/>
                  </a:lnTo>
                  <a:lnTo>
                    <a:pt x="114859" y="2662216"/>
                  </a:lnTo>
                  <a:lnTo>
                    <a:pt x="127181" y="2662216"/>
                  </a:lnTo>
                  <a:lnTo>
                    <a:pt x="127181" y="2653572"/>
                  </a:lnTo>
                  <a:lnTo>
                    <a:pt x="114915" y="2653572"/>
                  </a:lnTo>
                  <a:lnTo>
                    <a:pt x="114915" y="2630698"/>
                  </a:lnTo>
                  <a:lnTo>
                    <a:pt x="105994" y="2630698"/>
                  </a:lnTo>
                  <a:lnTo>
                    <a:pt x="105994" y="2653677"/>
                  </a:lnTo>
                  <a:lnTo>
                    <a:pt x="79621" y="2653677"/>
                  </a:lnTo>
                  <a:lnTo>
                    <a:pt x="79621" y="2652953"/>
                  </a:lnTo>
                  <a:lnTo>
                    <a:pt x="106552" y="2598742"/>
                  </a:lnTo>
                  <a:lnTo>
                    <a:pt x="96515" y="2598742"/>
                  </a:lnTo>
                  <a:lnTo>
                    <a:pt x="69195" y="2654238"/>
                  </a:lnTo>
                  <a:lnTo>
                    <a:pt x="69195" y="2662216"/>
                  </a:lnTo>
                  <a:lnTo>
                    <a:pt x="105882" y="2662216"/>
                  </a:lnTo>
                  <a:lnTo>
                    <a:pt x="105882" y="2679226"/>
                  </a:lnTo>
                  <a:close/>
                  <a:moveTo>
                    <a:pt x="56259" y="2879129"/>
                  </a:moveTo>
                  <a:lnTo>
                    <a:pt x="56259" y="2870486"/>
                  </a:lnTo>
                  <a:lnTo>
                    <a:pt x="33621" y="2870486"/>
                  </a:lnTo>
                  <a:lnTo>
                    <a:pt x="33621" y="2798645"/>
                  </a:lnTo>
                  <a:lnTo>
                    <a:pt x="23975" y="2798645"/>
                  </a:lnTo>
                  <a:lnTo>
                    <a:pt x="0" y="2814208"/>
                  </a:lnTo>
                  <a:lnTo>
                    <a:pt x="0" y="2824689"/>
                  </a:lnTo>
                  <a:lnTo>
                    <a:pt x="23027" y="2809801"/>
                  </a:lnTo>
                  <a:lnTo>
                    <a:pt x="23920" y="2809801"/>
                  </a:lnTo>
                  <a:lnTo>
                    <a:pt x="23920" y="2870486"/>
                  </a:lnTo>
                  <a:lnTo>
                    <a:pt x="167" y="2870486"/>
                  </a:lnTo>
                  <a:lnTo>
                    <a:pt x="167" y="2879129"/>
                  </a:lnTo>
                  <a:lnTo>
                    <a:pt x="56259" y="2879129"/>
                  </a:lnTo>
                  <a:close/>
                  <a:moveTo>
                    <a:pt x="95790" y="2880748"/>
                  </a:moveTo>
                  <a:cubicBezTo>
                    <a:pt x="112127" y="2880748"/>
                    <a:pt x="123223" y="2869705"/>
                    <a:pt x="123223" y="2853418"/>
                  </a:cubicBezTo>
                  <a:cubicBezTo>
                    <a:pt x="123223" y="2837578"/>
                    <a:pt x="112852" y="2826479"/>
                    <a:pt x="97965" y="2826479"/>
                  </a:cubicBezTo>
                  <a:cubicBezTo>
                    <a:pt x="90884" y="2826479"/>
                    <a:pt x="85141" y="2828982"/>
                    <a:pt x="81182" y="2833780"/>
                  </a:cubicBezTo>
                  <a:lnTo>
                    <a:pt x="80290" y="2833780"/>
                  </a:lnTo>
                  <a:lnTo>
                    <a:pt x="82521" y="2807516"/>
                  </a:lnTo>
                  <a:lnTo>
                    <a:pt x="118763" y="2807516"/>
                  </a:lnTo>
                  <a:lnTo>
                    <a:pt x="118763" y="2798645"/>
                  </a:lnTo>
                  <a:lnTo>
                    <a:pt x="74770" y="2798645"/>
                  </a:lnTo>
                  <a:lnTo>
                    <a:pt x="70700" y="2844099"/>
                  </a:lnTo>
                  <a:lnTo>
                    <a:pt x="80011" y="2844099"/>
                  </a:lnTo>
                  <a:cubicBezTo>
                    <a:pt x="83189" y="2838416"/>
                    <a:pt x="89155" y="2835122"/>
                    <a:pt x="96348" y="2835122"/>
                  </a:cubicBezTo>
                  <a:cubicBezTo>
                    <a:pt x="106663" y="2835122"/>
                    <a:pt x="113633" y="2842595"/>
                    <a:pt x="113633" y="2853637"/>
                  </a:cubicBezTo>
                  <a:cubicBezTo>
                    <a:pt x="113633" y="2864575"/>
                    <a:pt x="106718" y="2871876"/>
                    <a:pt x="96348" y="2871876"/>
                  </a:cubicBezTo>
                  <a:cubicBezTo>
                    <a:pt x="86925" y="2871876"/>
                    <a:pt x="79732" y="2866079"/>
                    <a:pt x="78841" y="2857654"/>
                  </a:cubicBezTo>
                  <a:lnTo>
                    <a:pt x="69362" y="2857654"/>
                  </a:lnTo>
                  <a:cubicBezTo>
                    <a:pt x="70197" y="2871485"/>
                    <a:pt x="80792" y="2880748"/>
                    <a:pt x="95790" y="2880748"/>
                  </a:cubicBezTo>
                  <a:close/>
                  <a:moveTo>
                    <a:pt x="56259" y="3079033"/>
                  </a:moveTo>
                  <a:lnTo>
                    <a:pt x="56259" y="3070389"/>
                  </a:lnTo>
                  <a:lnTo>
                    <a:pt x="33621" y="3070389"/>
                  </a:lnTo>
                  <a:lnTo>
                    <a:pt x="33621" y="2998548"/>
                  </a:lnTo>
                  <a:lnTo>
                    <a:pt x="23975" y="2998548"/>
                  </a:lnTo>
                  <a:lnTo>
                    <a:pt x="0" y="3014112"/>
                  </a:lnTo>
                  <a:lnTo>
                    <a:pt x="0" y="3024592"/>
                  </a:lnTo>
                  <a:lnTo>
                    <a:pt x="23027" y="3009704"/>
                  </a:lnTo>
                  <a:lnTo>
                    <a:pt x="23920" y="3009704"/>
                  </a:lnTo>
                  <a:lnTo>
                    <a:pt x="23920" y="3070389"/>
                  </a:lnTo>
                  <a:lnTo>
                    <a:pt x="167" y="3070389"/>
                  </a:lnTo>
                  <a:lnTo>
                    <a:pt x="167" y="3079033"/>
                  </a:lnTo>
                  <a:lnTo>
                    <a:pt x="56259" y="3079033"/>
                  </a:lnTo>
                  <a:close/>
                  <a:moveTo>
                    <a:pt x="124059" y="3053207"/>
                  </a:moveTo>
                  <a:cubicBezTo>
                    <a:pt x="124059" y="3038538"/>
                    <a:pt x="113465" y="3027667"/>
                    <a:pt x="99136" y="3027667"/>
                  </a:cubicBezTo>
                  <a:cubicBezTo>
                    <a:pt x="94006" y="3027667"/>
                    <a:pt x="88207" y="3030056"/>
                    <a:pt x="85810" y="3033293"/>
                  </a:cubicBezTo>
                  <a:lnTo>
                    <a:pt x="84974" y="3032845"/>
                  </a:lnTo>
                  <a:cubicBezTo>
                    <a:pt x="85364" y="3031960"/>
                    <a:pt x="85141" y="3032179"/>
                    <a:pt x="87594" y="3028724"/>
                  </a:cubicBezTo>
                  <a:lnTo>
                    <a:pt x="109563" y="2998548"/>
                  </a:lnTo>
                  <a:lnTo>
                    <a:pt x="98244" y="2998548"/>
                  </a:lnTo>
                  <a:cubicBezTo>
                    <a:pt x="97686" y="2999385"/>
                    <a:pt x="80959" y="3022812"/>
                    <a:pt x="80234" y="3024040"/>
                  </a:cubicBezTo>
                  <a:cubicBezTo>
                    <a:pt x="72539" y="3035244"/>
                    <a:pt x="69362" y="3043783"/>
                    <a:pt x="69362" y="3053207"/>
                  </a:cubicBezTo>
                  <a:cubicBezTo>
                    <a:pt x="69362" y="3069218"/>
                    <a:pt x="80792" y="3080708"/>
                    <a:pt x="96627" y="3080708"/>
                  </a:cubicBezTo>
                  <a:cubicBezTo>
                    <a:pt x="112573" y="3080708"/>
                    <a:pt x="124059" y="3069161"/>
                    <a:pt x="124059" y="3053207"/>
                  </a:cubicBezTo>
                  <a:close/>
                  <a:moveTo>
                    <a:pt x="96683" y="3071950"/>
                  </a:moveTo>
                  <a:cubicBezTo>
                    <a:pt x="86590" y="3071950"/>
                    <a:pt x="78896" y="3064030"/>
                    <a:pt x="78896" y="3053711"/>
                  </a:cubicBezTo>
                  <a:cubicBezTo>
                    <a:pt x="78896" y="3043336"/>
                    <a:pt x="86590" y="3035416"/>
                    <a:pt x="96683" y="3035416"/>
                  </a:cubicBezTo>
                  <a:cubicBezTo>
                    <a:pt x="106831" y="3035416"/>
                    <a:pt x="114525" y="3043336"/>
                    <a:pt x="114525" y="3053711"/>
                  </a:cubicBezTo>
                  <a:cubicBezTo>
                    <a:pt x="114525" y="3064030"/>
                    <a:pt x="106831" y="3071950"/>
                    <a:pt x="96683" y="3071950"/>
                  </a:cubicBezTo>
                  <a:close/>
                </a:path>
              </a:pathLst>
            </a:custGeom>
            <a:solidFill>
              <a:srgbClr val="586069"/>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sp>
          <p:nvSpPr>
            <p:cNvPr id="3730" name="Google Shape;3730;p193"/>
            <p:cNvSpPr/>
            <p:nvPr/>
          </p:nvSpPr>
          <p:spPr>
            <a:xfrm>
              <a:off x="5262233" y="3483799"/>
              <a:ext cx="263674" cy="262651"/>
            </a:xfrm>
            <a:custGeom>
              <a:avLst/>
              <a:gdLst/>
              <a:ahLst/>
              <a:cxnLst/>
              <a:rect l="l" t="t" r="r" b="b"/>
              <a:pathLst>
                <a:path w="263674" h="262651" extrusionOk="0">
                  <a:moveTo>
                    <a:pt x="1446" y="61633"/>
                  </a:moveTo>
                  <a:lnTo>
                    <a:pt x="10934" y="61633"/>
                  </a:lnTo>
                  <a:lnTo>
                    <a:pt x="10934" y="25992"/>
                  </a:lnTo>
                  <a:cubicBezTo>
                    <a:pt x="10934" y="15673"/>
                    <a:pt x="17623" y="8702"/>
                    <a:pt x="27596" y="8702"/>
                  </a:cubicBezTo>
                  <a:cubicBezTo>
                    <a:pt x="37026" y="8702"/>
                    <a:pt x="41480" y="13832"/>
                    <a:pt x="41480" y="24765"/>
                  </a:cubicBezTo>
                  <a:lnTo>
                    <a:pt x="41480" y="61633"/>
                  </a:lnTo>
                  <a:lnTo>
                    <a:pt x="50967" y="61633"/>
                  </a:lnTo>
                  <a:lnTo>
                    <a:pt x="50967" y="22366"/>
                  </a:lnTo>
                  <a:cubicBezTo>
                    <a:pt x="50967" y="7865"/>
                    <a:pt x="43830" y="0"/>
                    <a:pt x="30670" y="0"/>
                  </a:cubicBezTo>
                  <a:cubicBezTo>
                    <a:pt x="21468" y="0"/>
                    <a:pt x="14550" y="4239"/>
                    <a:pt x="11324" y="11769"/>
                  </a:cubicBezTo>
                  <a:lnTo>
                    <a:pt x="10534" y="11769"/>
                  </a:lnTo>
                  <a:lnTo>
                    <a:pt x="10534" y="1116"/>
                  </a:lnTo>
                  <a:lnTo>
                    <a:pt x="1446" y="1116"/>
                  </a:lnTo>
                  <a:lnTo>
                    <a:pt x="1446" y="61633"/>
                  </a:lnTo>
                  <a:close/>
                  <a:moveTo>
                    <a:pt x="90658" y="62692"/>
                  </a:moveTo>
                  <a:cubicBezTo>
                    <a:pt x="99469" y="62692"/>
                    <a:pt x="106054" y="59068"/>
                    <a:pt x="108947" y="52597"/>
                  </a:cubicBezTo>
                  <a:lnTo>
                    <a:pt x="109899" y="52597"/>
                  </a:lnTo>
                  <a:lnTo>
                    <a:pt x="109899" y="61689"/>
                  </a:lnTo>
                  <a:lnTo>
                    <a:pt x="118929" y="61689"/>
                  </a:lnTo>
                  <a:lnTo>
                    <a:pt x="118929" y="20246"/>
                  </a:lnTo>
                  <a:cubicBezTo>
                    <a:pt x="118929" y="7641"/>
                    <a:pt x="110793" y="390"/>
                    <a:pt x="96576" y="390"/>
                  </a:cubicBezTo>
                  <a:cubicBezTo>
                    <a:pt x="84196" y="390"/>
                    <a:pt x="74823" y="7028"/>
                    <a:pt x="73710" y="16733"/>
                  </a:cubicBezTo>
                  <a:lnTo>
                    <a:pt x="83026" y="16733"/>
                  </a:lnTo>
                  <a:cubicBezTo>
                    <a:pt x="84586" y="11546"/>
                    <a:pt x="89487" y="8589"/>
                    <a:pt x="96462" y="8589"/>
                  </a:cubicBezTo>
                  <a:cubicBezTo>
                    <a:pt x="104884" y="8589"/>
                    <a:pt x="109508" y="12773"/>
                    <a:pt x="109508" y="20359"/>
                  </a:cubicBezTo>
                  <a:lnTo>
                    <a:pt x="109508" y="25825"/>
                  </a:lnTo>
                  <a:lnTo>
                    <a:pt x="92894" y="26661"/>
                  </a:lnTo>
                  <a:cubicBezTo>
                    <a:pt x="79124" y="27386"/>
                    <a:pt x="71426" y="33745"/>
                    <a:pt x="71426" y="44454"/>
                  </a:cubicBezTo>
                  <a:cubicBezTo>
                    <a:pt x="71426" y="55442"/>
                    <a:pt x="79124" y="62692"/>
                    <a:pt x="90658" y="62692"/>
                  </a:cubicBezTo>
                  <a:close/>
                  <a:moveTo>
                    <a:pt x="93398" y="54382"/>
                  </a:moveTo>
                  <a:cubicBezTo>
                    <a:pt x="85757" y="54382"/>
                    <a:pt x="81018" y="50477"/>
                    <a:pt x="81018" y="44120"/>
                  </a:cubicBezTo>
                  <a:cubicBezTo>
                    <a:pt x="81018" y="37816"/>
                    <a:pt x="85481" y="34191"/>
                    <a:pt x="93950" y="33801"/>
                  </a:cubicBezTo>
                  <a:lnTo>
                    <a:pt x="109508" y="33075"/>
                  </a:lnTo>
                  <a:lnTo>
                    <a:pt x="109508" y="40215"/>
                  </a:lnTo>
                  <a:cubicBezTo>
                    <a:pt x="109508" y="48302"/>
                    <a:pt x="102533" y="54382"/>
                    <a:pt x="93398" y="54382"/>
                  </a:cubicBezTo>
                  <a:close/>
                  <a:moveTo>
                    <a:pt x="196540" y="17068"/>
                  </a:moveTo>
                  <a:cubicBezTo>
                    <a:pt x="196540" y="5856"/>
                    <a:pt x="192134" y="0"/>
                    <a:pt x="183722" y="0"/>
                  </a:cubicBezTo>
                  <a:cubicBezTo>
                    <a:pt x="177642" y="0"/>
                    <a:pt x="172789" y="3681"/>
                    <a:pt x="171228" y="9482"/>
                  </a:cubicBezTo>
                  <a:lnTo>
                    <a:pt x="170229" y="9482"/>
                  </a:lnTo>
                  <a:cubicBezTo>
                    <a:pt x="168944" y="3514"/>
                    <a:pt x="164929" y="0"/>
                    <a:pt x="159238" y="0"/>
                  </a:cubicBezTo>
                  <a:cubicBezTo>
                    <a:pt x="153557" y="0"/>
                    <a:pt x="149208" y="3570"/>
                    <a:pt x="147705" y="9650"/>
                  </a:cubicBezTo>
                  <a:lnTo>
                    <a:pt x="146696" y="9650"/>
                  </a:lnTo>
                  <a:lnTo>
                    <a:pt x="146696" y="1116"/>
                  </a:lnTo>
                  <a:lnTo>
                    <a:pt x="138218" y="1116"/>
                  </a:lnTo>
                  <a:lnTo>
                    <a:pt x="138218" y="61633"/>
                  </a:lnTo>
                  <a:lnTo>
                    <a:pt x="146753" y="61633"/>
                  </a:lnTo>
                  <a:lnTo>
                    <a:pt x="146753" y="20804"/>
                  </a:lnTo>
                  <a:cubicBezTo>
                    <a:pt x="146753" y="13275"/>
                    <a:pt x="150103" y="8645"/>
                    <a:pt x="155451" y="8645"/>
                  </a:cubicBezTo>
                  <a:cubicBezTo>
                    <a:pt x="160580" y="8645"/>
                    <a:pt x="163254" y="12494"/>
                    <a:pt x="163254" y="19801"/>
                  </a:cubicBezTo>
                  <a:lnTo>
                    <a:pt x="163254" y="61633"/>
                  </a:lnTo>
                  <a:lnTo>
                    <a:pt x="171733" y="61633"/>
                  </a:lnTo>
                  <a:lnTo>
                    <a:pt x="171733" y="20804"/>
                  </a:lnTo>
                  <a:cubicBezTo>
                    <a:pt x="171733" y="13275"/>
                    <a:pt x="174968" y="8645"/>
                    <a:pt x="180259" y="8645"/>
                  </a:cubicBezTo>
                  <a:cubicBezTo>
                    <a:pt x="185340" y="8645"/>
                    <a:pt x="188014" y="12494"/>
                    <a:pt x="188014" y="19856"/>
                  </a:cubicBezTo>
                  <a:lnTo>
                    <a:pt x="188014" y="61633"/>
                  </a:lnTo>
                  <a:lnTo>
                    <a:pt x="196540" y="61633"/>
                  </a:lnTo>
                  <a:lnTo>
                    <a:pt x="196540" y="17068"/>
                  </a:lnTo>
                  <a:close/>
                  <a:moveTo>
                    <a:pt x="254311" y="46016"/>
                  </a:moveTo>
                  <a:cubicBezTo>
                    <a:pt x="252636" y="51314"/>
                    <a:pt x="247003" y="54550"/>
                    <a:pt x="239362" y="54550"/>
                  </a:cubicBezTo>
                  <a:cubicBezTo>
                    <a:pt x="229046" y="54550"/>
                    <a:pt x="222471" y="47410"/>
                    <a:pt x="222471" y="36310"/>
                  </a:cubicBezTo>
                  <a:lnTo>
                    <a:pt x="222471" y="33856"/>
                  </a:lnTo>
                  <a:lnTo>
                    <a:pt x="263675" y="33856"/>
                  </a:lnTo>
                  <a:lnTo>
                    <a:pt x="263675" y="27944"/>
                  </a:lnTo>
                  <a:cubicBezTo>
                    <a:pt x="263675" y="10430"/>
                    <a:pt x="254416" y="0"/>
                    <a:pt x="238696" y="0"/>
                  </a:cubicBezTo>
                  <a:cubicBezTo>
                    <a:pt x="223308" y="0"/>
                    <a:pt x="213108" y="10486"/>
                    <a:pt x="213108" y="26438"/>
                  </a:cubicBezTo>
                  <a:lnTo>
                    <a:pt x="213108" y="35529"/>
                  </a:lnTo>
                  <a:cubicBezTo>
                    <a:pt x="213108" y="52765"/>
                    <a:pt x="222747" y="62749"/>
                    <a:pt x="239362" y="62749"/>
                  </a:cubicBezTo>
                  <a:cubicBezTo>
                    <a:pt x="252075" y="62749"/>
                    <a:pt x="261667" y="56000"/>
                    <a:pt x="263503" y="46016"/>
                  </a:cubicBezTo>
                  <a:lnTo>
                    <a:pt x="254311" y="46016"/>
                  </a:lnTo>
                  <a:close/>
                  <a:moveTo>
                    <a:pt x="238639" y="8144"/>
                  </a:moveTo>
                  <a:cubicBezTo>
                    <a:pt x="248402" y="8144"/>
                    <a:pt x="254311" y="15116"/>
                    <a:pt x="254311" y="26661"/>
                  </a:cubicBezTo>
                  <a:lnTo>
                    <a:pt x="222471" y="26661"/>
                  </a:lnTo>
                  <a:cubicBezTo>
                    <a:pt x="222471" y="15059"/>
                    <a:pt x="228552" y="8144"/>
                    <a:pt x="238639" y="8144"/>
                  </a:cubicBezTo>
                  <a:close/>
                  <a:moveTo>
                    <a:pt x="26207" y="262652"/>
                  </a:moveTo>
                  <a:cubicBezTo>
                    <a:pt x="42212" y="262652"/>
                    <a:pt x="52413" y="252222"/>
                    <a:pt x="52413" y="235879"/>
                  </a:cubicBezTo>
                  <a:lnTo>
                    <a:pt x="52413" y="226732"/>
                  </a:lnTo>
                  <a:cubicBezTo>
                    <a:pt x="52413" y="210389"/>
                    <a:pt x="42212" y="199958"/>
                    <a:pt x="26207" y="199958"/>
                  </a:cubicBezTo>
                  <a:cubicBezTo>
                    <a:pt x="10201" y="199958"/>
                    <a:pt x="0" y="210389"/>
                    <a:pt x="0" y="226732"/>
                  </a:cubicBezTo>
                  <a:lnTo>
                    <a:pt x="0" y="235879"/>
                  </a:lnTo>
                  <a:cubicBezTo>
                    <a:pt x="0" y="252222"/>
                    <a:pt x="10201" y="262652"/>
                    <a:pt x="26207" y="262652"/>
                  </a:cubicBezTo>
                  <a:close/>
                  <a:moveTo>
                    <a:pt x="26207" y="208326"/>
                  </a:moveTo>
                  <a:cubicBezTo>
                    <a:pt x="36579" y="208326"/>
                    <a:pt x="43050" y="215688"/>
                    <a:pt x="43050" y="227568"/>
                  </a:cubicBezTo>
                  <a:lnTo>
                    <a:pt x="43050" y="234986"/>
                  </a:lnTo>
                  <a:cubicBezTo>
                    <a:pt x="43050" y="246922"/>
                    <a:pt x="36579" y="254229"/>
                    <a:pt x="26207" y="254229"/>
                  </a:cubicBezTo>
                  <a:cubicBezTo>
                    <a:pt x="15834" y="254229"/>
                    <a:pt x="9364" y="246922"/>
                    <a:pt x="9364" y="234986"/>
                  </a:cubicBezTo>
                  <a:lnTo>
                    <a:pt x="9364" y="227568"/>
                  </a:lnTo>
                  <a:cubicBezTo>
                    <a:pt x="9364" y="215688"/>
                    <a:pt x="15834" y="208326"/>
                    <a:pt x="26207" y="208326"/>
                  </a:cubicBezTo>
                  <a:close/>
                  <a:moveTo>
                    <a:pt x="72035" y="261536"/>
                  </a:moveTo>
                  <a:lnTo>
                    <a:pt x="81513" y="261536"/>
                  </a:lnTo>
                  <a:lnTo>
                    <a:pt x="81513" y="225895"/>
                  </a:lnTo>
                  <a:cubicBezTo>
                    <a:pt x="81513" y="215576"/>
                    <a:pt x="88212" y="208605"/>
                    <a:pt x="98185" y="208605"/>
                  </a:cubicBezTo>
                  <a:cubicBezTo>
                    <a:pt x="107615" y="208605"/>
                    <a:pt x="112068" y="213735"/>
                    <a:pt x="112068" y="224668"/>
                  </a:cubicBezTo>
                  <a:lnTo>
                    <a:pt x="112068" y="261536"/>
                  </a:lnTo>
                  <a:lnTo>
                    <a:pt x="121555" y="261536"/>
                  </a:lnTo>
                  <a:lnTo>
                    <a:pt x="121555" y="222269"/>
                  </a:lnTo>
                  <a:cubicBezTo>
                    <a:pt x="121555" y="207768"/>
                    <a:pt x="114419" y="199903"/>
                    <a:pt x="101258" y="199903"/>
                  </a:cubicBezTo>
                  <a:cubicBezTo>
                    <a:pt x="92056" y="199903"/>
                    <a:pt x="85138" y="204142"/>
                    <a:pt x="81903" y="211672"/>
                  </a:cubicBezTo>
                  <a:lnTo>
                    <a:pt x="81123" y="211672"/>
                  </a:lnTo>
                  <a:lnTo>
                    <a:pt x="81123" y="201019"/>
                  </a:lnTo>
                  <a:lnTo>
                    <a:pt x="72035" y="201019"/>
                  </a:lnTo>
                  <a:lnTo>
                    <a:pt x="72035" y="261536"/>
                  </a:lnTo>
                  <a:close/>
                </a:path>
              </a:pathLst>
            </a:custGeom>
            <a:solidFill>
              <a:srgbClr val="6E7681"/>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sp>
          <p:nvSpPr>
            <p:cNvPr id="3731" name="Google Shape;3731;p193"/>
            <p:cNvSpPr/>
            <p:nvPr/>
          </p:nvSpPr>
          <p:spPr>
            <a:xfrm>
              <a:off x="5419521" y="3454516"/>
              <a:ext cx="1798552" cy="291154"/>
            </a:xfrm>
            <a:custGeom>
              <a:avLst/>
              <a:gdLst/>
              <a:ahLst/>
              <a:cxnLst/>
              <a:rect l="l" t="t" r="r" b="b"/>
              <a:pathLst>
                <a:path w="1798552" h="291154" extrusionOk="0">
                  <a:moveTo>
                    <a:pt x="151274" y="48415"/>
                  </a:moveTo>
                  <a:cubicBezTo>
                    <a:pt x="156793" y="48415"/>
                    <a:pt x="161360" y="43729"/>
                    <a:pt x="161360" y="38096"/>
                  </a:cubicBezTo>
                  <a:cubicBezTo>
                    <a:pt x="161360" y="32462"/>
                    <a:pt x="156793" y="27777"/>
                    <a:pt x="151274" y="27777"/>
                  </a:cubicBezTo>
                  <a:cubicBezTo>
                    <a:pt x="145754" y="27777"/>
                    <a:pt x="141177" y="32462"/>
                    <a:pt x="141177" y="38096"/>
                  </a:cubicBezTo>
                  <a:cubicBezTo>
                    <a:pt x="141177" y="43729"/>
                    <a:pt x="145754" y="48415"/>
                    <a:pt x="151274" y="48415"/>
                  </a:cubicBezTo>
                  <a:close/>
                  <a:moveTo>
                    <a:pt x="151274" y="91251"/>
                  </a:moveTo>
                  <a:cubicBezTo>
                    <a:pt x="156793" y="91251"/>
                    <a:pt x="161360" y="86621"/>
                    <a:pt x="161360" y="80932"/>
                  </a:cubicBezTo>
                  <a:cubicBezTo>
                    <a:pt x="161360" y="75299"/>
                    <a:pt x="156793" y="70669"/>
                    <a:pt x="151274" y="70669"/>
                  </a:cubicBezTo>
                  <a:cubicBezTo>
                    <a:pt x="145754" y="70669"/>
                    <a:pt x="141177" y="75299"/>
                    <a:pt x="141177" y="80932"/>
                  </a:cubicBezTo>
                  <a:cubicBezTo>
                    <a:pt x="141177" y="86621"/>
                    <a:pt x="145754" y="91251"/>
                    <a:pt x="151274" y="91251"/>
                  </a:cubicBezTo>
                  <a:close/>
                  <a:moveTo>
                    <a:pt x="313243" y="90916"/>
                  </a:moveTo>
                  <a:lnTo>
                    <a:pt x="323615" y="90916"/>
                  </a:lnTo>
                  <a:lnTo>
                    <a:pt x="297694" y="10430"/>
                  </a:lnTo>
                  <a:lnTo>
                    <a:pt x="287207" y="10430"/>
                  </a:lnTo>
                  <a:lnTo>
                    <a:pt x="261277" y="90916"/>
                  </a:lnTo>
                  <a:lnTo>
                    <a:pt x="271259" y="90916"/>
                  </a:lnTo>
                  <a:lnTo>
                    <a:pt x="278291" y="67824"/>
                  </a:lnTo>
                  <a:lnTo>
                    <a:pt x="306277" y="67824"/>
                  </a:lnTo>
                  <a:lnTo>
                    <a:pt x="313243" y="90916"/>
                  </a:lnTo>
                  <a:close/>
                  <a:moveTo>
                    <a:pt x="292175" y="22255"/>
                  </a:moveTo>
                  <a:lnTo>
                    <a:pt x="292451" y="22255"/>
                  </a:lnTo>
                  <a:lnTo>
                    <a:pt x="303708" y="59403"/>
                  </a:lnTo>
                  <a:lnTo>
                    <a:pt x="280851" y="59403"/>
                  </a:lnTo>
                  <a:lnTo>
                    <a:pt x="292175" y="22255"/>
                  </a:lnTo>
                  <a:close/>
                  <a:moveTo>
                    <a:pt x="359242" y="91920"/>
                  </a:moveTo>
                  <a:cubicBezTo>
                    <a:pt x="367892" y="91920"/>
                    <a:pt x="374239" y="88350"/>
                    <a:pt x="377370" y="81657"/>
                  </a:cubicBezTo>
                  <a:lnTo>
                    <a:pt x="378426" y="81657"/>
                  </a:lnTo>
                  <a:lnTo>
                    <a:pt x="378426" y="90916"/>
                  </a:lnTo>
                  <a:lnTo>
                    <a:pt x="387733" y="90916"/>
                  </a:lnTo>
                  <a:lnTo>
                    <a:pt x="387733" y="6638"/>
                  </a:lnTo>
                  <a:lnTo>
                    <a:pt x="378093" y="6638"/>
                  </a:lnTo>
                  <a:lnTo>
                    <a:pt x="378093" y="39769"/>
                  </a:lnTo>
                  <a:lnTo>
                    <a:pt x="377085" y="39769"/>
                  </a:lnTo>
                  <a:cubicBezTo>
                    <a:pt x="374468" y="33132"/>
                    <a:pt x="367997" y="29394"/>
                    <a:pt x="359242" y="29394"/>
                  </a:cubicBezTo>
                  <a:cubicBezTo>
                    <a:pt x="345254" y="29394"/>
                    <a:pt x="336109" y="39490"/>
                    <a:pt x="336109" y="54996"/>
                  </a:cubicBezTo>
                  <a:lnTo>
                    <a:pt x="336109" y="66263"/>
                  </a:lnTo>
                  <a:cubicBezTo>
                    <a:pt x="336109" y="81824"/>
                    <a:pt x="345254" y="91920"/>
                    <a:pt x="359242" y="91920"/>
                  </a:cubicBezTo>
                  <a:close/>
                  <a:moveTo>
                    <a:pt x="362031" y="83275"/>
                  </a:moveTo>
                  <a:cubicBezTo>
                    <a:pt x="352048" y="83275"/>
                    <a:pt x="345644" y="76079"/>
                    <a:pt x="345644" y="64924"/>
                  </a:cubicBezTo>
                  <a:lnTo>
                    <a:pt x="345644" y="56223"/>
                  </a:lnTo>
                  <a:cubicBezTo>
                    <a:pt x="345644" y="45068"/>
                    <a:pt x="352048" y="37928"/>
                    <a:pt x="362031" y="37928"/>
                  </a:cubicBezTo>
                  <a:cubicBezTo>
                    <a:pt x="371956" y="37928"/>
                    <a:pt x="378369" y="45068"/>
                    <a:pt x="378369" y="56223"/>
                  </a:cubicBezTo>
                  <a:lnTo>
                    <a:pt x="378369" y="64924"/>
                  </a:lnTo>
                  <a:cubicBezTo>
                    <a:pt x="378369" y="76135"/>
                    <a:pt x="371956" y="83275"/>
                    <a:pt x="362031" y="83275"/>
                  </a:cubicBezTo>
                  <a:close/>
                  <a:moveTo>
                    <a:pt x="429831" y="91920"/>
                  </a:moveTo>
                  <a:cubicBezTo>
                    <a:pt x="438471" y="91920"/>
                    <a:pt x="444828" y="88350"/>
                    <a:pt x="447959" y="81657"/>
                  </a:cubicBezTo>
                  <a:lnTo>
                    <a:pt x="449015" y="81657"/>
                  </a:lnTo>
                  <a:lnTo>
                    <a:pt x="449015" y="90916"/>
                  </a:lnTo>
                  <a:lnTo>
                    <a:pt x="458321" y="90916"/>
                  </a:lnTo>
                  <a:lnTo>
                    <a:pt x="458321" y="6638"/>
                  </a:lnTo>
                  <a:lnTo>
                    <a:pt x="448682" y="6638"/>
                  </a:lnTo>
                  <a:lnTo>
                    <a:pt x="448682" y="39769"/>
                  </a:lnTo>
                  <a:lnTo>
                    <a:pt x="447673" y="39769"/>
                  </a:lnTo>
                  <a:cubicBezTo>
                    <a:pt x="445056" y="33132"/>
                    <a:pt x="438586" y="29394"/>
                    <a:pt x="429831" y="29394"/>
                  </a:cubicBezTo>
                  <a:cubicBezTo>
                    <a:pt x="415843" y="29394"/>
                    <a:pt x="406698" y="39490"/>
                    <a:pt x="406698" y="54996"/>
                  </a:cubicBezTo>
                  <a:lnTo>
                    <a:pt x="406698" y="66263"/>
                  </a:lnTo>
                  <a:cubicBezTo>
                    <a:pt x="406698" y="81824"/>
                    <a:pt x="415843" y="91920"/>
                    <a:pt x="429831" y="91920"/>
                  </a:cubicBezTo>
                  <a:close/>
                  <a:moveTo>
                    <a:pt x="432619" y="83275"/>
                  </a:moveTo>
                  <a:cubicBezTo>
                    <a:pt x="422637" y="83275"/>
                    <a:pt x="416233" y="76079"/>
                    <a:pt x="416233" y="64924"/>
                  </a:cubicBezTo>
                  <a:lnTo>
                    <a:pt x="416233" y="56223"/>
                  </a:lnTo>
                  <a:cubicBezTo>
                    <a:pt x="416233" y="45068"/>
                    <a:pt x="422637" y="37928"/>
                    <a:pt x="432619" y="37928"/>
                  </a:cubicBezTo>
                  <a:cubicBezTo>
                    <a:pt x="442544" y="37928"/>
                    <a:pt x="448958" y="45068"/>
                    <a:pt x="448958" y="56223"/>
                  </a:cubicBezTo>
                  <a:lnTo>
                    <a:pt x="448958" y="64924"/>
                  </a:lnTo>
                  <a:cubicBezTo>
                    <a:pt x="448958" y="76135"/>
                    <a:pt x="442544" y="83275"/>
                    <a:pt x="432619" y="83275"/>
                  </a:cubicBezTo>
                  <a:close/>
                  <a:moveTo>
                    <a:pt x="549988" y="90916"/>
                  </a:moveTo>
                  <a:lnTo>
                    <a:pt x="559465" y="90916"/>
                  </a:lnTo>
                  <a:lnTo>
                    <a:pt x="559465" y="55330"/>
                  </a:lnTo>
                  <a:cubicBezTo>
                    <a:pt x="559465" y="45011"/>
                    <a:pt x="566212" y="38040"/>
                    <a:pt x="576194" y="38040"/>
                  </a:cubicBezTo>
                  <a:cubicBezTo>
                    <a:pt x="585672" y="38040"/>
                    <a:pt x="590135" y="43227"/>
                    <a:pt x="590135" y="54103"/>
                  </a:cubicBezTo>
                  <a:lnTo>
                    <a:pt x="590135" y="90916"/>
                  </a:lnTo>
                  <a:lnTo>
                    <a:pt x="599613" y="90916"/>
                  </a:lnTo>
                  <a:lnTo>
                    <a:pt x="599613" y="51705"/>
                  </a:lnTo>
                  <a:cubicBezTo>
                    <a:pt x="599613" y="37259"/>
                    <a:pt x="592476" y="29338"/>
                    <a:pt x="579316" y="29338"/>
                  </a:cubicBezTo>
                  <a:cubicBezTo>
                    <a:pt x="570066" y="29338"/>
                    <a:pt x="563091" y="33578"/>
                    <a:pt x="559913" y="41108"/>
                  </a:cubicBezTo>
                  <a:lnTo>
                    <a:pt x="559132" y="41108"/>
                  </a:lnTo>
                  <a:lnTo>
                    <a:pt x="559132" y="6638"/>
                  </a:lnTo>
                  <a:lnTo>
                    <a:pt x="549988" y="6638"/>
                  </a:lnTo>
                  <a:lnTo>
                    <a:pt x="549988" y="90916"/>
                  </a:lnTo>
                  <a:close/>
                  <a:moveTo>
                    <a:pt x="646450" y="15562"/>
                  </a:moveTo>
                  <a:cubicBezTo>
                    <a:pt x="650913" y="15562"/>
                    <a:pt x="654310" y="12215"/>
                    <a:pt x="654310" y="7753"/>
                  </a:cubicBezTo>
                  <a:cubicBezTo>
                    <a:pt x="654310" y="3347"/>
                    <a:pt x="650913" y="0"/>
                    <a:pt x="646450" y="0"/>
                  </a:cubicBezTo>
                  <a:cubicBezTo>
                    <a:pt x="641987" y="0"/>
                    <a:pt x="638590" y="3347"/>
                    <a:pt x="638590" y="7753"/>
                  </a:cubicBezTo>
                  <a:cubicBezTo>
                    <a:pt x="638590" y="12215"/>
                    <a:pt x="641987" y="15562"/>
                    <a:pt x="646450" y="15562"/>
                  </a:cubicBezTo>
                  <a:close/>
                  <a:moveTo>
                    <a:pt x="671819" y="90916"/>
                  </a:moveTo>
                  <a:lnTo>
                    <a:pt x="671819" y="83051"/>
                  </a:lnTo>
                  <a:lnTo>
                    <a:pt x="651798" y="83051"/>
                  </a:lnTo>
                  <a:lnTo>
                    <a:pt x="651798" y="30399"/>
                  </a:lnTo>
                  <a:lnTo>
                    <a:pt x="621861" y="30399"/>
                  </a:lnTo>
                  <a:lnTo>
                    <a:pt x="621861" y="38263"/>
                  </a:lnTo>
                  <a:lnTo>
                    <a:pt x="642434" y="38263"/>
                  </a:lnTo>
                  <a:lnTo>
                    <a:pt x="642434" y="83051"/>
                  </a:lnTo>
                  <a:lnTo>
                    <a:pt x="621690" y="83051"/>
                  </a:lnTo>
                  <a:lnTo>
                    <a:pt x="621690" y="90916"/>
                  </a:lnTo>
                  <a:lnTo>
                    <a:pt x="671819" y="90916"/>
                  </a:lnTo>
                  <a:close/>
                  <a:moveTo>
                    <a:pt x="714193" y="113617"/>
                  </a:moveTo>
                  <a:cubicBezTo>
                    <a:pt x="730589" y="113617"/>
                    <a:pt x="740286" y="105139"/>
                    <a:pt x="740286" y="90916"/>
                  </a:cubicBezTo>
                  <a:lnTo>
                    <a:pt x="740286" y="30399"/>
                  </a:lnTo>
                  <a:lnTo>
                    <a:pt x="730922" y="30399"/>
                  </a:lnTo>
                  <a:lnTo>
                    <a:pt x="730922" y="39769"/>
                  </a:lnTo>
                  <a:lnTo>
                    <a:pt x="729866" y="39769"/>
                  </a:lnTo>
                  <a:cubicBezTo>
                    <a:pt x="727239" y="33243"/>
                    <a:pt x="720607" y="29394"/>
                    <a:pt x="711852" y="29394"/>
                  </a:cubicBezTo>
                  <a:cubicBezTo>
                    <a:pt x="697693" y="29394"/>
                    <a:pt x="688434" y="39434"/>
                    <a:pt x="688434" y="54996"/>
                  </a:cubicBezTo>
                  <a:lnTo>
                    <a:pt x="688434" y="65872"/>
                  </a:lnTo>
                  <a:cubicBezTo>
                    <a:pt x="688434" y="81378"/>
                    <a:pt x="697636" y="91474"/>
                    <a:pt x="711633" y="91474"/>
                  </a:cubicBezTo>
                  <a:cubicBezTo>
                    <a:pt x="720436" y="91474"/>
                    <a:pt x="727125" y="87625"/>
                    <a:pt x="729809" y="81266"/>
                  </a:cubicBezTo>
                  <a:lnTo>
                    <a:pt x="730808" y="81266"/>
                  </a:lnTo>
                  <a:lnTo>
                    <a:pt x="730808" y="90693"/>
                  </a:lnTo>
                  <a:cubicBezTo>
                    <a:pt x="730808" y="100398"/>
                    <a:pt x="724956" y="105753"/>
                    <a:pt x="714364" y="105753"/>
                  </a:cubicBezTo>
                  <a:cubicBezTo>
                    <a:pt x="706276" y="105753"/>
                    <a:pt x="700195" y="102462"/>
                    <a:pt x="698977" y="97441"/>
                  </a:cubicBezTo>
                  <a:lnTo>
                    <a:pt x="689604" y="97441"/>
                  </a:lnTo>
                  <a:cubicBezTo>
                    <a:pt x="690832" y="107481"/>
                    <a:pt x="700195" y="113617"/>
                    <a:pt x="714193" y="113617"/>
                  </a:cubicBezTo>
                  <a:close/>
                  <a:moveTo>
                    <a:pt x="697969" y="64533"/>
                  </a:moveTo>
                  <a:lnTo>
                    <a:pt x="697969" y="56223"/>
                  </a:lnTo>
                  <a:cubicBezTo>
                    <a:pt x="697969" y="45124"/>
                    <a:pt x="704439" y="37928"/>
                    <a:pt x="714469" y="37928"/>
                  </a:cubicBezTo>
                  <a:cubicBezTo>
                    <a:pt x="724451" y="37928"/>
                    <a:pt x="730865" y="45068"/>
                    <a:pt x="730865" y="56223"/>
                  </a:cubicBezTo>
                  <a:lnTo>
                    <a:pt x="730865" y="64533"/>
                  </a:lnTo>
                  <a:cubicBezTo>
                    <a:pt x="730865" y="75689"/>
                    <a:pt x="724451" y="82884"/>
                    <a:pt x="714469" y="82884"/>
                  </a:cubicBezTo>
                  <a:cubicBezTo>
                    <a:pt x="704439" y="82884"/>
                    <a:pt x="697969" y="75633"/>
                    <a:pt x="697969" y="64533"/>
                  </a:cubicBezTo>
                  <a:close/>
                  <a:moveTo>
                    <a:pt x="761753" y="90916"/>
                  </a:moveTo>
                  <a:lnTo>
                    <a:pt x="771231" y="90916"/>
                  </a:lnTo>
                  <a:lnTo>
                    <a:pt x="771231" y="55330"/>
                  </a:lnTo>
                  <a:cubicBezTo>
                    <a:pt x="771231" y="45011"/>
                    <a:pt x="777978" y="38040"/>
                    <a:pt x="787960" y="38040"/>
                  </a:cubicBezTo>
                  <a:cubicBezTo>
                    <a:pt x="797438" y="38040"/>
                    <a:pt x="801901" y="43227"/>
                    <a:pt x="801901" y="54103"/>
                  </a:cubicBezTo>
                  <a:lnTo>
                    <a:pt x="801901" y="90916"/>
                  </a:lnTo>
                  <a:lnTo>
                    <a:pt x="811379" y="90916"/>
                  </a:lnTo>
                  <a:lnTo>
                    <a:pt x="811379" y="51705"/>
                  </a:lnTo>
                  <a:cubicBezTo>
                    <a:pt x="811379" y="37259"/>
                    <a:pt x="804242" y="29338"/>
                    <a:pt x="791081" y="29338"/>
                  </a:cubicBezTo>
                  <a:cubicBezTo>
                    <a:pt x="781832" y="29338"/>
                    <a:pt x="774857" y="33578"/>
                    <a:pt x="771678" y="41108"/>
                  </a:cubicBezTo>
                  <a:lnTo>
                    <a:pt x="770898" y="41108"/>
                  </a:lnTo>
                  <a:lnTo>
                    <a:pt x="770898" y="6638"/>
                  </a:lnTo>
                  <a:lnTo>
                    <a:pt x="761753" y="6638"/>
                  </a:lnTo>
                  <a:lnTo>
                    <a:pt x="761753" y="90916"/>
                  </a:lnTo>
                  <a:close/>
                  <a:moveTo>
                    <a:pt x="931535" y="29394"/>
                  </a:moveTo>
                  <a:cubicBezTo>
                    <a:pt x="922895" y="29394"/>
                    <a:pt x="916595" y="32964"/>
                    <a:pt x="913417" y="39657"/>
                  </a:cubicBezTo>
                  <a:lnTo>
                    <a:pt x="912408" y="39657"/>
                  </a:lnTo>
                  <a:lnTo>
                    <a:pt x="912408" y="30399"/>
                  </a:lnTo>
                  <a:lnTo>
                    <a:pt x="903045" y="30399"/>
                  </a:lnTo>
                  <a:lnTo>
                    <a:pt x="903045" y="111330"/>
                  </a:lnTo>
                  <a:lnTo>
                    <a:pt x="912684" y="111330"/>
                  </a:lnTo>
                  <a:lnTo>
                    <a:pt x="912684" y="81545"/>
                  </a:lnTo>
                  <a:lnTo>
                    <a:pt x="913750" y="81545"/>
                  </a:lnTo>
                  <a:cubicBezTo>
                    <a:pt x="916367" y="88183"/>
                    <a:pt x="922781" y="91920"/>
                    <a:pt x="931535" y="91920"/>
                  </a:cubicBezTo>
                  <a:cubicBezTo>
                    <a:pt x="945533" y="91920"/>
                    <a:pt x="954678" y="81824"/>
                    <a:pt x="954678" y="66318"/>
                  </a:cubicBezTo>
                  <a:lnTo>
                    <a:pt x="954678" y="55051"/>
                  </a:lnTo>
                  <a:cubicBezTo>
                    <a:pt x="954678" y="39490"/>
                    <a:pt x="945533" y="29394"/>
                    <a:pt x="931535" y="29394"/>
                  </a:cubicBezTo>
                  <a:close/>
                  <a:moveTo>
                    <a:pt x="928804" y="38096"/>
                  </a:moveTo>
                  <a:cubicBezTo>
                    <a:pt x="938786" y="38096"/>
                    <a:pt x="945143" y="45235"/>
                    <a:pt x="945143" y="56390"/>
                  </a:cubicBezTo>
                  <a:lnTo>
                    <a:pt x="945143" y="65091"/>
                  </a:lnTo>
                  <a:cubicBezTo>
                    <a:pt x="945143" y="76247"/>
                    <a:pt x="938786" y="83441"/>
                    <a:pt x="928804" y="83441"/>
                  </a:cubicBezTo>
                  <a:cubicBezTo>
                    <a:pt x="918822" y="83441"/>
                    <a:pt x="912465" y="76302"/>
                    <a:pt x="912465" y="65091"/>
                  </a:cubicBezTo>
                  <a:lnTo>
                    <a:pt x="912465" y="56390"/>
                  </a:lnTo>
                  <a:cubicBezTo>
                    <a:pt x="912465" y="45235"/>
                    <a:pt x="918822" y="38096"/>
                    <a:pt x="928804" y="38096"/>
                  </a:cubicBezTo>
                  <a:close/>
                  <a:moveTo>
                    <a:pt x="995939" y="63808"/>
                  </a:moveTo>
                  <a:cubicBezTo>
                    <a:pt x="995939" y="48415"/>
                    <a:pt x="1003856" y="39155"/>
                    <a:pt x="1017235" y="39155"/>
                  </a:cubicBezTo>
                  <a:cubicBezTo>
                    <a:pt x="1020527" y="39155"/>
                    <a:pt x="1024429" y="39824"/>
                    <a:pt x="1027217" y="40829"/>
                  </a:cubicBezTo>
                  <a:lnTo>
                    <a:pt x="1027217" y="30175"/>
                  </a:lnTo>
                  <a:cubicBezTo>
                    <a:pt x="1025209" y="29338"/>
                    <a:pt x="1021917" y="28836"/>
                    <a:pt x="1018462" y="28836"/>
                  </a:cubicBezTo>
                  <a:cubicBezTo>
                    <a:pt x="1006806" y="28836"/>
                    <a:pt x="999279" y="34637"/>
                    <a:pt x="997052" y="45848"/>
                  </a:cubicBezTo>
                  <a:lnTo>
                    <a:pt x="995824" y="45848"/>
                  </a:lnTo>
                  <a:lnTo>
                    <a:pt x="995824" y="30399"/>
                  </a:lnTo>
                  <a:lnTo>
                    <a:pt x="973243" y="30399"/>
                  </a:lnTo>
                  <a:lnTo>
                    <a:pt x="973243" y="37984"/>
                  </a:lnTo>
                  <a:lnTo>
                    <a:pt x="986680" y="37984"/>
                  </a:lnTo>
                  <a:lnTo>
                    <a:pt x="986680" y="83330"/>
                  </a:lnTo>
                  <a:lnTo>
                    <a:pt x="974471" y="83330"/>
                  </a:lnTo>
                  <a:lnTo>
                    <a:pt x="974471" y="90916"/>
                  </a:lnTo>
                  <a:lnTo>
                    <a:pt x="1014666" y="90916"/>
                  </a:lnTo>
                  <a:lnTo>
                    <a:pt x="1014666" y="83330"/>
                  </a:lnTo>
                  <a:lnTo>
                    <a:pt x="995939" y="83330"/>
                  </a:lnTo>
                  <a:lnTo>
                    <a:pt x="995939" y="63808"/>
                  </a:lnTo>
                  <a:close/>
                  <a:moveTo>
                    <a:pt x="1069981" y="15562"/>
                  </a:moveTo>
                  <a:cubicBezTo>
                    <a:pt x="1074444" y="15562"/>
                    <a:pt x="1077841" y="12215"/>
                    <a:pt x="1077841" y="7753"/>
                  </a:cubicBezTo>
                  <a:cubicBezTo>
                    <a:pt x="1077841" y="3347"/>
                    <a:pt x="1074444" y="0"/>
                    <a:pt x="1069981" y="0"/>
                  </a:cubicBezTo>
                  <a:cubicBezTo>
                    <a:pt x="1065518" y="0"/>
                    <a:pt x="1062121" y="3347"/>
                    <a:pt x="1062121" y="7753"/>
                  </a:cubicBezTo>
                  <a:cubicBezTo>
                    <a:pt x="1062121" y="12215"/>
                    <a:pt x="1065518" y="15562"/>
                    <a:pt x="1069981" y="15562"/>
                  </a:cubicBezTo>
                  <a:close/>
                  <a:moveTo>
                    <a:pt x="1095351" y="90916"/>
                  </a:moveTo>
                  <a:lnTo>
                    <a:pt x="1095351" y="83051"/>
                  </a:lnTo>
                  <a:lnTo>
                    <a:pt x="1075329" y="83051"/>
                  </a:lnTo>
                  <a:lnTo>
                    <a:pt x="1075329" y="30399"/>
                  </a:lnTo>
                  <a:lnTo>
                    <a:pt x="1045392" y="30399"/>
                  </a:lnTo>
                  <a:lnTo>
                    <a:pt x="1045392" y="38263"/>
                  </a:lnTo>
                  <a:lnTo>
                    <a:pt x="1065966" y="38263"/>
                  </a:lnTo>
                  <a:lnTo>
                    <a:pt x="1065966" y="83051"/>
                  </a:lnTo>
                  <a:lnTo>
                    <a:pt x="1045221" y="83051"/>
                  </a:lnTo>
                  <a:lnTo>
                    <a:pt x="1045221" y="90916"/>
                  </a:lnTo>
                  <a:lnTo>
                    <a:pt x="1095351" y="90916"/>
                  </a:lnTo>
                  <a:close/>
                  <a:moveTo>
                    <a:pt x="1139504" y="92032"/>
                  </a:moveTo>
                  <a:cubicBezTo>
                    <a:pt x="1155510" y="92032"/>
                    <a:pt x="1165711" y="81601"/>
                    <a:pt x="1165711" y="65259"/>
                  </a:cubicBezTo>
                  <a:lnTo>
                    <a:pt x="1165711" y="56112"/>
                  </a:lnTo>
                  <a:cubicBezTo>
                    <a:pt x="1165711" y="39769"/>
                    <a:pt x="1155510" y="29338"/>
                    <a:pt x="1139504" y="29338"/>
                  </a:cubicBezTo>
                  <a:cubicBezTo>
                    <a:pt x="1123508" y="29338"/>
                    <a:pt x="1113307" y="39769"/>
                    <a:pt x="1113307" y="56112"/>
                  </a:cubicBezTo>
                  <a:lnTo>
                    <a:pt x="1113307" y="65259"/>
                  </a:lnTo>
                  <a:cubicBezTo>
                    <a:pt x="1113307" y="81601"/>
                    <a:pt x="1123508" y="92032"/>
                    <a:pt x="1139504" y="92032"/>
                  </a:cubicBezTo>
                  <a:close/>
                  <a:moveTo>
                    <a:pt x="1139504" y="37706"/>
                  </a:moveTo>
                  <a:cubicBezTo>
                    <a:pt x="1149876" y="37706"/>
                    <a:pt x="1156347" y="45068"/>
                    <a:pt x="1156347" y="56948"/>
                  </a:cubicBezTo>
                  <a:lnTo>
                    <a:pt x="1156347" y="64366"/>
                  </a:lnTo>
                  <a:cubicBezTo>
                    <a:pt x="1156347" y="76302"/>
                    <a:pt x="1149876" y="83609"/>
                    <a:pt x="1139504" y="83609"/>
                  </a:cubicBezTo>
                  <a:cubicBezTo>
                    <a:pt x="1129141" y="83609"/>
                    <a:pt x="1122671" y="76302"/>
                    <a:pt x="1122671" y="64366"/>
                  </a:cubicBezTo>
                  <a:lnTo>
                    <a:pt x="1122671" y="56948"/>
                  </a:lnTo>
                  <a:cubicBezTo>
                    <a:pt x="1122671" y="45068"/>
                    <a:pt x="1129141" y="37706"/>
                    <a:pt x="1139504" y="37706"/>
                  </a:cubicBezTo>
                  <a:close/>
                  <a:moveTo>
                    <a:pt x="1207695" y="63808"/>
                  </a:moveTo>
                  <a:cubicBezTo>
                    <a:pt x="1207695" y="48415"/>
                    <a:pt x="1215612" y="39155"/>
                    <a:pt x="1229001" y="39155"/>
                  </a:cubicBezTo>
                  <a:cubicBezTo>
                    <a:pt x="1232284" y="39155"/>
                    <a:pt x="1236195" y="39824"/>
                    <a:pt x="1238983" y="40829"/>
                  </a:cubicBezTo>
                  <a:lnTo>
                    <a:pt x="1238983" y="30175"/>
                  </a:lnTo>
                  <a:cubicBezTo>
                    <a:pt x="1236975" y="29338"/>
                    <a:pt x="1233682" y="28836"/>
                    <a:pt x="1230228" y="28836"/>
                  </a:cubicBezTo>
                  <a:cubicBezTo>
                    <a:pt x="1218571" y="28836"/>
                    <a:pt x="1211044" y="34637"/>
                    <a:pt x="1208818" y="45848"/>
                  </a:cubicBezTo>
                  <a:lnTo>
                    <a:pt x="1207590" y="45848"/>
                  </a:lnTo>
                  <a:lnTo>
                    <a:pt x="1207590" y="30399"/>
                  </a:lnTo>
                  <a:lnTo>
                    <a:pt x="1185009" y="30399"/>
                  </a:lnTo>
                  <a:lnTo>
                    <a:pt x="1185009" y="37984"/>
                  </a:lnTo>
                  <a:lnTo>
                    <a:pt x="1198445" y="37984"/>
                  </a:lnTo>
                  <a:lnTo>
                    <a:pt x="1198445" y="83330"/>
                  </a:lnTo>
                  <a:lnTo>
                    <a:pt x="1186237" y="83330"/>
                  </a:lnTo>
                  <a:lnTo>
                    <a:pt x="1186237" y="90916"/>
                  </a:lnTo>
                  <a:lnTo>
                    <a:pt x="1226431" y="90916"/>
                  </a:lnTo>
                  <a:lnTo>
                    <a:pt x="1226431" y="83330"/>
                  </a:lnTo>
                  <a:lnTo>
                    <a:pt x="1207695" y="83330"/>
                  </a:lnTo>
                  <a:lnTo>
                    <a:pt x="1207695" y="63808"/>
                  </a:lnTo>
                  <a:close/>
                  <a:moveTo>
                    <a:pt x="1281747" y="15562"/>
                  </a:moveTo>
                  <a:cubicBezTo>
                    <a:pt x="1286201" y="15562"/>
                    <a:pt x="1289607" y="12215"/>
                    <a:pt x="1289607" y="7753"/>
                  </a:cubicBezTo>
                  <a:cubicBezTo>
                    <a:pt x="1289607" y="3347"/>
                    <a:pt x="1286201" y="0"/>
                    <a:pt x="1281747" y="0"/>
                  </a:cubicBezTo>
                  <a:cubicBezTo>
                    <a:pt x="1277284" y="0"/>
                    <a:pt x="1273887" y="3347"/>
                    <a:pt x="1273887" y="7753"/>
                  </a:cubicBezTo>
                  <a:cubicBezTo>
                    <a:pt x="1273887" y="12215"/>
                    <a:pt x="1277284" y="15562"/>
                    <a:pt x="1281747" y="15562"/>
                  </a:cubicBezTo>
                  <a:close/>
                  <a:moveTo>
                    <a:pt x="1307116" y="90916"/>
                  </a:moveTo>
                  <a:lnTo>
                    <a:pt x="1307116" y="83051"/>
                  </a:lnTo>
                  <a:lnTo>
                    <a:pt x="1287095" y="83051"/>
                  </a:lnTo>
                  <a:lnTo>
                    <a:pt x="1287095" y="30399"/>
                  </a:lnTo>
                  <a:lnTo>
                    <a:pt x="1257158" y="30399"/>
                  </a:lnTo>
                  <a:lnTo>
                    <a:pt x="1257158" y="38263"/>
                  </a:lnTo>
                  <a:lnTo>
                    <a:pt x="1277731" y="38263"/>
                  </a:lnTo>
                  <a:lnTo>
                    <a:pt x="1277731" y="83051"/>
                  </a:lnTo>
                  <a:lnTo>
                    <a:pt x="1256987" y="83051"/>
                  </a:lnTo>
                  <a:lnTo>
                    <a:pt x="1256987" y="90916"/>
                  </a:lnTo>
                  <a:lnTo>
                    <a:pt x="1307116" y="90916"/>
                  </a:lnTo>
                  <a:close/>
                  <a:moveTo>
                    <a:pt x="1340955" y="14167"/>
                  </a:moveTo>
                  <a:lnTo>
                    <a:pt x="1340955" y="30566"/>
                  </a:lnTo>
                  <a:lnTo>
                    <a:pt x="1324845" y="30566"/>
                  </a:lnTo>
                  <a:lnTo>
                    <a:pt x="1324845" y="38654"/>
                  </a:lnTo>
                  <a:lnTo>
                    <a:pt x="1340955" y="38654"/>
                  </a:lnTo>
                  <a:lnTo>
                    <a:pt x="1340955" y="72900"/>
                  </a:lnTo>
                  <a:cubicBezTo>
                    <a:pt x="1340955" y="85505"/>
                    <a:pt x="1347930" y="91195"/>
                    <a:pt x="1362927" y="91195"/>
                  </a:cubicBezTo>
                  <a:cubicBezTo>
                    <a:pt x="1365829" y="91195"/>
                    <a:pt x="1373185" y="90916"/>
                    <a:pt x="1374688" y="90637"/>
                  </a:cubicBezTo>
                  <a:lnTo>
                    <a:pt x="1374688" y="82606"/>
                  </a:lnTo>
                  <a:cubicBezTo>
                    <a:pt x="1373071" y="82772"/>
                    <a:pt x="1367000" y="82940"/>
                    <a:pt x="1363593" y="82940"/>
                  </a:cubicBezTo>
                  <a:cubicBezTo>
                    <a:pt x="1355067" y="82940"/>
                    <a:pt x="1350433" y="79370"/>
                    <a:pt x="1350433" y="72789"/>
                  </a:cubicBezTo>
                  <a:lnTo>
                    <a:pt x="1350433" y="38654"/>
                  </a:lnTo>
                  <a:lnTo>
                    <a:pt x="1374860" y="38654"/>
                  </a:lnTo>
                  <a:lnTo>
                    <a:pt x="1374860" y="30566"/>
                  </a:lnTo>
                  <a:lnTo>
                    <a:pt x="1350328" y="30566"/>
                  </a:lnTo>
                  <a:lnTo>
                    <a:pt x="1350328" y="14167"/>
                  </a:lnTo>
                  <a:lnTo>
                    <a:pt x="1340955" y="14167"/>
                  </a:lnTo>
                  <a:close/>
                  <a:moveTo>
                    <a:pt x="1404911" y="112446"/>
                  </a:moveTo>
                  <a:cubicBezTo>
                    <a:pt x="1416120" y="112446"/>
                    <a:pt x="1421192" y="108039"/>
                    <a:pt x="1426493" y="93147"/>
                  </a:cubicBezTo>
                  <a:lnTo>
                    <a:pt x="1449293" y="30399"/>
                  </a:lnTo>
                  <a:lnTo>
                    <a:pt x="1439206" y="30399"/>
                  </a:lnTo>
                  <a:lnTo>
                    <a:pt x="1422306" y="81044"/>
                  </a:lnTo>
                  <a:lnTo>
                    <a:pt x="1421582" y="81044"/>
                  </a:lnTo>
                  <a:lnTo>
                    <a:pt x="1404635" y="30399"/>
                  </a:lnTo>
                  <a:lnTo>
                    <a:pt x="1394320" y="30399"/>
                  </a:lnTo>
                  <a:lnTo>
                    <a:pt x="1416568" y="91306"/>
                  </a:lnTo>
                  <a:lnTo>
                    <a:pt x="1415502" y="94597"/>
                  </a:lnTo>
                  <a:cubicBezTo>
                    <a:pt x="1412999" y="101625"/>
                    <a:pt x="1409878" y="104190"/>
                    <a:pt x="1404187" y="104190"/>
                  </a:cubicBezTo>
                  <a:cubicBezTo>
                    <a:pt x="1403293" y="104190"/>
                    <a:pt x="1401561" y="104135"/>
                    <a:pt x="1400838" y="103968"/>
                  </a:cubicBezTo>
                  <a:lnTo>
                    <a:pt x="1400838" y="112278"/>
                  </a:lnTo>
                  <a:cubicBezTo>
                    <a:pt x="1401675" y="112390"/>
                    <a:pt x="1403521" y="112446"/>
                    <a:pt x="1404911" y="112446"/>
                  </a:cubicBezTo>
                  <a:close/>
                  <a:moveTo>
                    <a:pt x="1566833" y="91920"/>
                  </a:moveTo>
                  <a:cubicBezTo>
                    <a:pt x="1580821" y="91920"/>
                    <a:pt x="1589966" y="81824"/>
                    <a:pt x="1589966" y="66263"/>
                  </a:cubicBezTo>
                  <a:lnTo>
                    <a:pt x="1589966" y="54996"/>
                  </a:lnTo>
                  <a:cubicBezTo>
                    <a:pt x="1589966" y="39490"/>
                    <a:pt x="1580821" y="29394"/>
                    <a:pt x="1566833" y="29394"/>
                  </a:cubicBezTo>
                  <a:cubicBezTo>
                    <a:pt x="1558078" y="29394"/>
                    <a:pt x="1551664" y="33132"/>
                    <a:pt x="1548990" y="39769"/>
                  </a:cubicBezTo>
                  <a:lnTo>
                    <a:pt x="1547981" y="39769"/>
                  </a:lnTo>
                  <a:lnTo>
                    <a:pt x="1547981" y="6638"/>
                  </a:lnTo>
                  <a:lnTo>
                    <a:pt x="1538342" y="6638"/>
                  </a:lnTo>
                  <a:lnTo>
                    <a:pt x="1538342" y="90916"/>
                  </a:lnTo>
                  <a:lnTo>
                    <a:pt x="1547648" y="90916"/>
                  </a:lnTo>
                  <a:lnTo>
                    <a:pt x="1547648" y="81657"/>
                  </a:lnTo>
                  <a:lnTo>
                    <a:pt x="1548705" y="81657"/>
                  </a:lnTo>
                  <a:cubicBezTo>
                    <a:pt x="1551826" y="88350"/>
                    <a:pt x="1558183" y="91920"/>
                    <a:pt x="1566833" y="91920"/>
                  </a:cubicBezTo>
                  <a:close/>
                  <a:moveTo>
                    <a:pt x="1564044" y="83275"/>
                  </a:moveTo>
                  <a:cubicBezTo>
                    <a:pt x="1554119" y="83275"/>
                    <a:pt x="1547763" y="76135"/>
                    <a:pt x="1547763" y="64924"/>
                  </a:cubicBezTo>
                  <a:lnTo>
                    <a:pt x="1547763" y="56223"/>
                  </a:lnTo>
                  <a:cubicBezTo>
                    <a:pt x="1547763" y="45068"/>
                    <a:pt x="1554119" y="37928"/>
                    <a:pt x="1564044" y="37928"/>
                  </a:cubicBezTo>
                  <a:cubicBezTo>
                    <a:pt x="1574074" y="37928"/>
                    <a:pt x="1580431" y="45068"/>
                    <a:pt x="1580431" y="56223"/>
                  </a:cubicBezTo>
                  <a:lnTo>
                    <a:pt x="1580431" y="64924"/>
                  </a:lnTo>
                  <a:cubicBezTo>
                    <a:pt x="1580431" y="76079"/>
                    <a:pt x="1574074" y="83275"/>
                    <a:pt x="1564044" y="83275"/>
                  </a:cubicBezTo>
                  <a:close/>
                  <a:moveTo>
                    <a:pt x="1658385" y="30399"/>
                  </a:moveTo>
                  <a:lnTo>
                    <a:pt x="1648907" y="30399"/>
                  </a:lnTo>
                  <a:lnTo>
                    <a:pt x="1648907" y="66039"/>
                  </a:lnTo>
                  <a:cubicBezTo>
                    <a:pt x="1648907" y="76358"/>
                    <a:pt x="1642217" y="83330"/>
                    <a:pt x="1632235" y="83330"/>
                  </a:cubicBezTo>
                  <a:cubicBezTo>
                    <a:pt x="1622805" y="83330"/>
                    <a:pt x="1618351" y="78199"/>
                    <a:pt x="1618351" y="67266"/>
                  </a:cubicBezTo>
                  <a:lnTo>
                    <a:pt x="1618351" y="30399"/>
                  </a:lnTo>
                  <a:lnTo>
                    <a:pt x="1608874" y="30399"/>
                  </a:lnTo>
                  <a:lnTo>
                    <a:pt x="1608874" y="69665"/>
                  </a:lnTo>
                  <a:cubicBezTo>
                    <a:pt x="1608874" y="84167"/>
                    <a:pt x="1616010" y="92032"/>
                    <a:pt x="1629161" y="92032"/>
                  </a:cubicBezTo>
                  <a:cubicBezTo>
                    <a:pt x="1638363" y="92032"/>
                    <a:pt x="1645281" y="87793"/>
                    <a:pt x="1648516" y="80263"/>
                  </a:cubicBezTo>
                  <a:lnTo>
                    <a:pt x="1649297" y="80263"/>
                  </a:lnTo>
                  <a:lnTo>
                    <a:pt x="1649297" y="90916"/>
                  </a:lnTo>
                  <a:lnTo>
                    <a:pt x="1658385" y="90916"/>
                  </a:lnTo>
                  <a:lnTo>
                    <a:pt x="1658385" y="30399"/>
                  </a:lnTo>
                  <a:close/>
                  <a:moveTo>
                    <a:pt x="1702433" y="113617"/>
                  </a:moveTo>
                  <a:cubicBezTo>
                    <a:pt x="1718820" y="113617"/>
                    <a:pt x="1728526" y="105139"/>
                    <a:pt x="1728526" y="90916"/>
                  </a:cubicBezTo>
                  <a:lnTo>
                    <a:pt x="1728526" y="30399"/>
                  </a:lnTo>
                  <a:lnTo>
                    <a:pt x="1719153" y="30399"/>
                  </a:lnTo>
                  <a:lnTo>
                    <a:pt x="1719153" y="39769"/>
                  </a:lnTo>
                  <a:lnTo>
                    <a:pt x="1718096" y="39769"/>
                  </a:lnTo>
                  <a:cubicBezTo>
                    <a:pt x="1715480" y="33243"/>
                    <a:pt x="1708838" y="29394"/>
                    <a:pt x="1700092" y="29394"/>
                  </a:cubicBezTo>
                  <a:cubicBezTo>
                    <a:pt x="1685923" y="29394"/>
                    <a:pt x="1676674" y="39434"/>
                    <a:pt x="1676674" y="54996"/>
                  </a:cubicBezTo>
                  <a:lnTo>
                    <a:pt x="1676674" y="65872"/>
                  </a:lnTo>
                  <a:cubicBezTo>
                    <a:pt x="1676674" y="81378"/>
                    <a:pt x="1685866" y="91474"/>
                    <a:pt x="1699864" y="91474"/>
                  </a:cubicBezTo>
                  <a:cubicBezTo>
                    <a:pt x="1708676" y="91474"/>
                    <a:pt x="1715365" y="87625"/>
                    <a:pt x="1718039" y="81266"/>
                  </a:cubicBezTo>
                  <a:lnTo>
                    <a:pt x="1719048" y="81266"/>
                  </a:lnTo>
                  <a:lnTo>
                    <a:pt x="1719048" y="90693"/>
                  </a:lnTo>
                  <a:cubicBezTo>
                    <a:pt x="1719048" y="100398"/>
                    <a:pt x="1713196" y="105753"/>
                    <a:pt x="1702595" y="105753"/>
                  </a:cubicBezTo>
                  <a:cubicBezTo>
                    <a:pt x="1694516" y="105753"/>
                    <a:pt x="1688435" y="102462"/>
                    <a:pt x="1687208" y="97441"/>
                  </a:cubicBezTo>
                  <a:lnTo>
                    <a:pt x="1677844" y="97441"/>
                  </a:lnTo>
                  <a:cubicBezTo>
                    <a:pt x="1679072" y="107481"/>
                    <a:pt x="1688435" y="113617"/>
                    <a:pt x="1702433" y="113617"/>
                  </a:cubicBezTo>
                  <a:close/>
                  <a:moveTo>
                    <a:pt x="1686209" y="64533"/>
                  </a:moveTo>
                  <a:lnTo>
                    <a:pt x="1686209" y="56223"/>
                  </a:lnTo>
                  <a:cubicBezTo>
                    <a:pt x="1686209" y="45124"/>
                    <a:pt x="1692670" y="37928"/>
                    <a:pt x="1702709" y="37928"/>
                  </a:cubicBezTo>
                  <a:cubicBezTo>
                    <a:pt x="1712691" y="37928"/>
                    <a:pt x="1719105" y="45068"/>
                    <a:pt x="1719105" y="56223"/>
                  </a:cubicBezTo>
                  <a:lnTo>
                    <a:pt x="1719105" y="64533"/>
                  </a:lnTo>
                  <a:cubicBezTo>
                    <a:pt x="1719105" y="75689"/>
                    <a:pt x="1712691" y="82884"/>
                    <a:pt x="1702709" y="82884"/>
                  </a:cubicBezTo>
                  <a:cubicBezTo>
                    <a:pt x="1692670" y="82884"/>
                    <a:pt x="1686209" y="75633"/>
                    <a:pt x="1686209" y="64533"/>
                  </a:cubicBezTo>
                  <a:close/>
                  <a:moveTo>
                    <a:pt x="1752782" y="46741"/>
                  </a:moveTo>
                  <a:cubicBezTo>
                    <a:pt x="1752782" y="55330"/>
                    <a:pt x="1758187" y="60852"/>
                    <a:pt x="1769111" y="63363"/>
                  </a:cubicBezTo>
                  <a:lnTo>
                    <a:pt x="1778094" y="65426"/>
                  </a:lnTo>
                  <a:cubicBezTo>
                    <a:pt x="1785783" y="67155"/>
                    <a:pt x="1788742" y="69720"/>
                    <a:pt x="1788742" y="74517"/>
                  </a:cubicBezTo>
                  <a:cubicBezTo>
                    <a:pt x="1788742" y="80318"/>
                    <a:pt x="1783499" y="84055"/>
                    <a:pt x="1775248" y="84055"/>
                  </a:cubicBezTo>
                  <a:cubicBezTo>
                    <a:pt x="1767446" y="84055"/>
                    <a:pt x="1762088" y="80821"/>
                    <a:pt x="1760699" y="75243"/>
                  </a:cubicBezTo>
                  <a:lnTo>
                    <a:pt x="1751050" y="75243"/>
                  </a:lnTo>
                  <a:cubicBezTo>
                    <a:pt x="1752106" y="85617"/>
                    <a:pt x="1761194" y="92032"/>
                    <a:pt x="1774916" y="92032"/>
                  </a:cubicBezTo>
                  <a:cubicBezTo>
                    <a:pt x="1789246" y="92032"/>
                    <a:pt x="1798553" y="84781"/>
                    <a:pt x="1798553" y="73625"/>
                  </a:cubicBezTo>
                  <a:cubicBezTo>
                    <a:pt x="1798553" y="64869"/>
                    <a:pt x="1793205" y="59737"/>
                    <a:pt x="1781434" y="57060"/>
                  </a:cubicBezTo>
                  <a:lnTo>
                    <a:pt x="1772908" y="55108"/>
                  </a:lnTo>
                  <a:cubicBezTo>
                    <a:pt x="1765323" y="53434"/>
                    <a:pt x="1762202" y="50812"/>
                    <a:pt x="1762202" y="46183"/>
                  </a:cubicBezTo>
                  <a:cubicBezTo>
                    <a:pt x="1762202" y="40661"/>
                    <a:pt x="1767160" y="37092"/>
                    <a:pt x="1774858" y="37092"/>
                  </a:cubicBezTo>
                  <a:cubicBezTo>
                    <a:pt x="1781938" y="37092"/>
                    <a:pt x="1787010" y="40326"/>
                    <a:pt x="1788133" y="45625"/>
                  </a:cubicBezTo>
                  <a:lnTo>
                    <a:pt x="1797268" y="45625"/>
                  </a:lnTo>
                  <a:cubicBezTo>
                    <a:pt x="1796155" y="35529"/>
                    <a:pt x="1787629" y="29227"/>
                    <a:pt x="1775030" y="29227"/>
                  </a:cubicBezTo>
                  <a:cubicBezTo>
                    <a:pt x="1761698" y="29227"/>
                    <a:pt x="1752782" y="36255"/>
                    <a:pt x="1752782" y="46741"/>
                  </a:cubicBezTo>
                  <a:close/>
                  <a:moveTo>
                    <a:pt x="10096" y="248318"/>
                  </a:moveTo>
                  <a:cubicBezTo>
                    <a:pt x="15616" y="248318"/>
                    <a:pt x="20183" y="243632"/>
                    <a:pt x="20183" y="237999"/>
                  </a:cubicBezTo>
                  <a:cubicBezTo>
                    <a:pt x="20183" y="232365"/>
                    <a:pt x="15616" y="227680"/>
                    <a:pt x="10096" y="227680"/>
                  </a:cubicBezTo>
                  <a:cubicBezTo>
                    <a:pt x="4577" y="227680"/>
                    <a:pt x="0" y="232365"/>
                    <a:pt x="0" y="237999"/>
                  </a:cubicBezTo>
                  <a:cubicBezTo>
                    <a:pt x="0" y="243632"/>
                    <a:pt x="4577" y="248318"/>
                    <a:pt x="10096" y="248318"/>
                  </a:cubicBezTo>
                  <a:close/>
                  <a:moveTo>
                    <a:pt x="10096" y="291154"/>
                  </a:moveTo>
                  <a:cubicBezTo>
                    <a:pt x="15616" y="291154"/>
                    <a:pt x="20183" y="286524"/>
                    <a:pt x="20183" y="280835"/>
                  </a:cubicBezTo>
                  <a:cubicBezTo>
                    <a:pt x="20183" y="275202"/>
                    <a:pt x="15616" y="270572"/>
                    <a:pt x="10096" y="270572"/>
                  </a:cubicBezTo>
                  <a:cubicBezTo>
                    <a:pt x="4577" y="270572"/>
                    <a:pt x="0" y="275202"/>
                    <a:pt x="0" y="280835"/>
                  </a:cubicBezTo>
                  <a:cubicBezTo>
                    <a:pt x="0" y="286524"/>
                    <a:pt x="4577" y="291154"/>
                    <a:pt x="10096" y="291154"/>
                  </a:cubicBezTo>
                  <a:close/>
                </a:path>
              </a:pathLst>
            </a:custGeom>
            <a:solidFill>
              <a:srgbClr val="FFFFFF"/>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sp>
          <p:nvSpPr>
            <p:cNvPr id="3732" name="Google Shape;3732;p193"/>
            <p:cNvSpPr/>
            <p:nvPr/>
          </p:nvSpPr>
          <p:spPr>
            <a:xfrm>
              <a:off x="4796385" y="2821973"/>
              <a:ext cx="5385971" cy="3940946"/>
            </a:xfrm>
            <a:custGeom>
              <a:avLst/>
              <a:gdLst/>
              <a:ahLst/>
              <a:cxnLst/>
              <a:rect l="l" t="t" r="r" b="b"/>
              <a:pathLst>
                <a:path w="5385971" h="3940946" extrusionOk="0">
                  <a:moveTo>
                    <a:pt x="66611" y="19038"/>
                  </a:moveTo>
                  <a:lnTo>
                    <a:pt x="5319360" y="19038"/>
                  </a:lnTo>
                  <a:lnTo>
                    <a:pt x="5319360" y="0"/>
                  </a:lnTo>
                  <a:lnTo>
                    <a:pt x="66611" y="0"/>
                  </a:lnTo>
                  <a:lnTo>
                    <a:pt x="66611" y="19038"/>
                  </a:lnTo>
                  <a:close/>
                  <a:moveTo>
                    <a:pt x="5366940" y="66634"/>
                  </a:moveTo>
                  <a:lnTo>
                    <a:pt x="5366940" y="3874313"/>
                  </a:lnTo>
                  <a:lnTo>
                    <a:pt x="5385971" y="3874313"/>
                  </a:lnTo>
                  <a:lnTo>
                    <a:pt x="5385971" y="66634"/>
                  </a:lnTo>
                  <a:lnTo>
                    <a:pt x="5366940" y="66634"/>
                  </a:lnTo>
                  <a:close/>
                  <a:moveTo>
                    <a:pt x="5319360" y="3921909"/>
                  </a:moveTo>
                  <a:lnTo>
                    <a:pt x="66611" y="3921909"/>
                  </a:lnTo>
                  <a:lnTo>
                    <a:pt x="66611" y="3940947"/>
                  </a:lnTo>
                  <a:lnTo>
                    <a:pt x="5319360" y="3940947"/>
                  </a:lnTo>
                  <a:lnTo>
                    <a:pt x="5319360" y="3921909"/>
                  </a:lnTo>
                  <a:close/>
                  <a:moveTo>
                    <a:pt x="19032" y="3874313"/>
                  </a:moveTo>
                  <a:lnTo>
                    <a:pt x="19032" y="66634"/>
                  </a:lnTo>
                  <a:lnTo>
                    <a:pt x="0" y="66634"/>
                  </a:lnTo>
                  <a:lnTo>
                    <a:pt x="0" y="3874313"/>
                  </a:lnTo>
                  <a:lnTo>
                    <a:pt x="19032" y="3874313"/>
                  </a:lnTo>
                  <a:close/>
                  <a:moveTo>
                    <a:pt x="66611" y="3921909"/>
                  </a:moveTo>
                  <a:cubicBezTo>
                    <a:pt x="40334" y="3921909"/>
                    <a:pt x="19032" y="3900595"/>
                    <a:pt x="19032" y="3874313"/>
                  </a:cubicBezTo>
                  <a:lnTo>
                    <a:pt x="0" y="3874313"/>
                  </a:lnTo>
                  <a:cubicBezTo>
                    <a:pt x="0" y="3911114"/>
                    <a:pt x="29823" y="3940947"/>
                    <a:pt x="66611" y="3940947"/>
                  </a:cubicBezTo>
                  <a:lnTo>
                    <a:pt x="66611" y="3921909"/>
                  </a:lnTo>
                  <a:close/>
                  <a:moveTo>
                    <a:pt x="5366940" y="3874313"/>
                  </a:moveTo>
                  <a:cubicBezTo>
                    <a:pt x="5366940" y="3900595"/>
                    <a:pt x="5345634" y="3921909"/>
                    <a:pt x="5319360" y="3921909"/>
                  </a:cubicBezTo>
                  <a:lnTo>
                    <a:pt x="5319360" y="3940947"/>
                  </a:lnTo>
                  <a:cubicBezTo>
                    <a:pt x="5356149" y="3940947"/>
                    <a:pt x="5385971" y="3911114"/>
                    <a:pt x="5385971" y="3874313"/>
                  </a:cubicBezTo>
                  <a:lnTo>
                    <a:pt x="5366940" y="3874313"/>
                  </a:lnTo>
                  <a:close/>
                  <a:moveTo>
                    <a:pt x="5319360" y="19038"/>
                  </a:moveTo>
                  <a:cubicBezTo>
                    <a:pt x="5345634" y="19038"/>
                    <a:pt x="5366940" y="40348"/>
                    <a:pt x="5366940" y="66634"/>
                  </a:cubicBezTo>
                  <a:lnTo>
                    <a:pt x="5385971" y="66634"/>
                  </a:lnTo>
                  <a:cubicBezTo>
                    <a:pt x="5385971" y="29833"/>
                    <a:pt x="5356149" y="0"/>
                    <a:pt x="5319360" y="0"/>
                  </a:cubicBezTo>
                  <a:lnTo>
                    <a:pt x="5319360" y="19038"/>
                  </a:lnTo>
                  <a:close/>
                  <a:moveTo>
                    <a:pt x="66611" y="0"/>
                  </a:moveTo>
                  <a:cubicBezTo>
                    <a:pt x="29823" y="0"/>
                    <a:pt x="0" y="29833"/>
                    <a:pt x="0" y="66634"/>
                  </a:cubicBezTo>
                  <a:lnTo>
                    <a:pt x="19032" y="66634"/>
                  </a:lnTo>
                  <a:cubicBezTo>
                    <a:pt x="19032" y="40348"/>
                    <a:pt x="40334" y="19038"/>
                    <a:pt x="66611" y="19038"/>
                  </a:cubicBezTo>
                  <a:lnTo>
                    <a:pt x="66611" y="0"/>
                  </a:lnTo>
                  <a:close/>
                </a:path>
              </a:pathLst>
            </a:custGeom>
            <a:solidFill>
              <a:srgbClr val="000000">
                <a:alpha val="29800"/>
              </a:srgbClr>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1" i="0" u="none" strike="noStrike" cap="none">
                <a:solidFill>
                  <a:srgbClr val="F0F6FC"/>
                </a:solidFill>
                <a:latin typeface="Arial"/>
                <a:ea typeface="Arial"/>
                <a:cs typeface="Arial"/>
                <a:sym typeface="Arial"/>
              </a:endParaRPr>
            </a:p>
          </p:txBody>
        </p:sp>
      </p:grpSp>
      <p:sp>
        <p:nvSpPr>
          <p:cNvPr id="3733" name="Google Shape;3733;p193"/>
          <p:cNvSpPr/>
          <p:nvPr/>
        </p:nvSpPr>
        <p:spPr>
          <a:xfrm>
            <a:off x="432453" y="1041400"/>
            <a:ext cx="5626000" cy="404800"/>
          </a:xfrm>
          <a:prstGeom prst="rect">
            <a:avLst/>
          </a:prstGeom>
          <a:solidFill>
            <a:srgbClr val="161B2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734" name="Google Shape;3734;p193"/>
          <p:cNvSpPr/>
          <p:nvPr/>
        </p:nvSpPr>
        <p:spPr>
          <a:xfrm>
            <a:off x="1350460" y="1500675"/>
            <a:ext cx="3759200" cy="298800"/>
          </a:xfrm>
          <a:prstGeom prst="rect">
            <a:avLst/>
          </a:prstGeom>
          <a:solidFill>
            <a:srgbClr val="161B2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grpSp>
        <p:nvGrpSpPr>
          <p:cNvPr id="3735" name="Google Shape;3735;p193"/>
          <p:cNvGrpSpPr/>
          <p:nvPr/>
        </p:nvGrpSpPr>
        <p:grpSpPr>
          <a:xfrm>
            <a:off x="12253600" y="1"/>
            <a:ext cx="3438989" cy="3424452"/>
            <a:chOff x="22170399" y="777240"/>
            <a:chExt cx="6877978" cy="6848903"/>
          </a:xfrm>
        </p:grpSpPr>
        <p:grpSp>
          <p:nvGrpSpPr>
            <p:cNvPr id="3736" name="Google Shape;3736;p193"/>
            <p:cNvGrpSpPr/>
            <p:nvPr/>
          </p:nvGrpSpPr>
          <p:grpSpPr>
            <a:xfrm>
              <a:off x="22170399" y="777240"/>
              <a:ext cx="6877978" cy="6848903"/>
              <a:chOff x="22155159" y="0"/>
              <a:chExt cx="6877978" cy="6848903"/>
            </a:xfrm>
          </p:grpSpPr>
          <p:sp>
            <p:nvSpPr>
              <p:cNvPr id="3737" name="Google Shape;3737;p193"/>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738" name="Google Shape;3738;p193"/>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739" name="Google Shape;3739;p193"/>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740" name="Google Shape;3740;p193"/>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741" name="Google Shape;3741;p193"/>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742" name="Google Shape;3742;p193"/>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743" name="Google Shape;3743;p193"/>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744" name="Google Shape;3744;p193"/>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745" name="Google Shape;3745;p193"/>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746" name="Google Shape;3746;p193"/>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747" name="Google Shape;3747;p193"/>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748" name="Google Shape;3748;p193"/>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749" name="Google Shape;3749;p193"/>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750" name="Google Shape;3750;p193"/>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751" name="Google Shape;3751;p193"/>
          <p:cNvSpPr txBox="1">
            <a:spLocks noGrp="1"/>
          </p:cNvSpPr>
          <p:nvPr>
            <p:ph type="subTitle" idx="1"/>
          </p:nvPr>
        </p:nvSpPr>
        <p:spPr>
          <a:xfrm>
            <a:off x="609600" y="1109472"/>
            <a:ext cx="4096400" cy="3292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b="1">
                <a:solidFill>
                  <a:schemeClr val="lt1"/>
                </a:solidFill>
              </a:defRPr>
            </a:lvl2pPr>
            <a:lvl3pPr lvl="2" rtl="0">
              <a:spcBef>
                <a:spcPts val="0"/>
              </a:spcBef>
              <a:spcAft>
                <a:spcPts val="0"/>
              </a:spcAft>
              <a:buClr>
                <a:schemeClr val="lt1"/>
              </a:buClr>
              <a:buSzPts val="1200"/>
              <a:buNone/>
              <a:defRPr sz="1600" b="1">
                <a:solidFill>
                  <a:schemeClr val="lt1"/>
                </a:solidFill>
              </a:defRPr>
            </a:lvl3pPr>
            <a:lvl4pPr lvl="3" rtl="0">
              <a:spcBef>
                <a:spcPts val="0"/>
              </a:spcBef>
              <a:spcAft>
                <a:spcPts val="0"/>
              </a:spcAft>
              <a:buClr>
                <a:schemeClr val="lt1"/>
              </a:buClr>
              <a:buSzPts val="1200"/>
              <a:buNone/>
              <a:defRPr sz="1600" b="1">
                <a:solidFill>
                  <a:schemeClr val="lt1"/>
                </a:solidFill>
              </a:defRPr>
            </a:lvl4pPr>
            <a:lvl5pPr lvl="4" rtl="0">
              <a:spcBef>
                <a:spcPts val="0"/>
              </a:spcBef>
              <a:spcAft>
                <a:spcPts val="0"/>
              </a:spcAft>
              <a:buClr>
                <a:schemeClr val="lt1"/>
              </a:buClr>
              <a:buSzPts val="1200"/>
              <a:buNone/>
              <a:defRPr sz="1600" b="1">
                <a:solidFill>
                  <a:schemeClr val="lt1"/>
                </a:solidFill>
              </a:defRPr>
            </a:lvl5pPr>
            <a:lvl6pPr lvl="5" rtl="0">
              <a:spcBef>
                <a:spcPts val="0"/>
              </a:spcBef>
              <a:spcAft>
                <a:spcPts val="0"/>
              </a:spcAft>
              <a:buClr>
                <a:schemeClr val="lt1"/>
              </a:buClr>
              <a:buSzPts val="1200"/>
              <a:buNone/>
              <a:defRPr sz="1600" b="1">
                <a:solidFill>
                  <a:schemeClr val="lt1"/>
                </a:solidFill>
              </a:defRPr>
            </a:lvl6pPr>
            <a:lvl7pPr lvl="6" rtl="0">
              <a:spcBef>
                <a:spcPts val="0"/>
              </a:spcBef>
              <a:spcAft>
                <a:spcPts val="0"/>
              </a:spcAft>
              <a:buClr>
                <a:schemeClr val="lt1"/>
              </a:buClr>
              <a:buSzPts val="1200"/>
              <a:buNone/>
              <a:defRPr sz="1600" b="1">
                <a:solidFill>
                  <a:schemeClr val="lt1"/>
                </a:solidFill>
              </a:defRPr>
            </a:lvl7pPr>
            <a:lvl8pPr lvl="7" rtl="0">
              <a:spcBef>
                <a:spcPts val="0"/>
              </a:spcBef>
              <a:spcAft>
                <a:spcPts val="0"/>
              </a:spcAft>
              <a:buClr>
                <a:schemeClr val="lt1"/>
              </a:buClr>
              <a:buSzPts val="1200"/>
              <a:buNone/>
              <a:defRPr sz="1600" b="1">
                <a:solidFill>
                  <a:schemeClr val="lt1"/>
                </a:solidFill>
              </a:defRPr>
            </a:lvl8pPr>
            <a:lvl9pPr lvl="8" rtl="0">
              <a:spcBef>
                <a:spcPts val="0"/>
              </a:spcBef>
              <a:spcAft>
                <a:spcPts val="0"/>
              </a:spcAft>
              <a:buClr>
                <a:schemeClr val="lt1"/>
              </a:buClr>
              <a:buSzPts val="1200"/>
              <a:buNone/>
              <a:defRPr sz="1600" b="1">
                <a:solidFill>
                  <a:schemeClr val="lt1"/>
                </a:solidFill>
              </a:defRPr>
            </a:lvl9pPr>
          </a:lstStyle>
          <a:p>
            <a:endParaRPr/>
          </a:p>
        </p:txBody>
      </p:sp>
      <p:sp>
        <p:nvSpPr>
          <p:cNvPr id="3752" name="Google Shape;3752;p193"/>
          <p:cNvSpPr txBox="1">
            <a:spLocks noGrp="1"/>
          </p:cNvSpPr>
          <p:nvPr>
            <p:ph type="subTitle" idx="2"/>
          </p:nvPr>
        </p:nvSpPr>
        <p:spPr>
          <a:xfrm>
            <a:off x="1353312" y="1560576"/>
            <a:ext cx="5303600" cy="3292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1pPr>
            <a:lvl2pPr lvl="1"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2pPr>
            <a:lvl3pPr lvl="2"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3pPr>
            <a:lvl4pPr lvl="3"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4pPr>
            <a:lvl5pPr lvl="4"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5pPr>
            <a:lvl6pPr lvl="5"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6pPr>
            <a:lvl7pPr lvl="6"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7pPr>
            <a:lvl8pPr lvl="7"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8pPr>
            <a:lvl9pPr lvl="8"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9pPr>
          </a:lstStyle>
          <a:p>
            <a:endParaRPr/>
          </a:p>
        </p:txBody>
      </p:sp>
      <p:sp>
        <p:nvSpPr>
          <p:cNvPr id="3753" name="Google Shape;3753;p193"/>
          <p:cNvSpPr txBox="1">
            <a:spLocks noGrp="1"/>
          </p:cNvSpPr>
          <p:nvPr>
            <p:ph type="subTitle" idx="3"/>
          </p:nvPr>
        </p:nvSpPr>
        <p:spPr>
          <a:xfrm>
            <a:off x="1353312" y="1853184"/>
            <a:ext cx="5303600" cy="3682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1pPr>
            <a:lvl2pPr lvl="1"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2pPr>
            <a:lvl3pPr lvl="2"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3pPr>
            <a:lvl4pPr lvl="3"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4pPr>
            <a:lvl5pPr lvl="4"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5pPr>
            <a:lvl6pPr lvl="5"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6pPr>
            <a:lvl7pPr lvl="6"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7pPr>
            <a:lvl8pPr lvl="7"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8pPr>
            <a:lvl9pPr lvl="8"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9pPr>
          </a:lstStyle>
          <a:p>
            <a:endParaRPr/>
          </a:p>
        </p:txBody>
      </p:sp>
      <p:sp>
        <p:nvSpPr>
          <p:cNvPr id="3754" name="Google Shape;3754;p193"/>
          <p:cNvSpPr txBox="1">
            <a:spLocks noGrp="1"/>
          </p:cNvSpPr>
          <p:nvPr>
            <p:ph type="subTitle" idx="4"/>
          </p:nvPr>
        </p:nvSpPr>
        <p:spPr>
          <a:xfrm>
            <a:off x="7506208" y="3023616"/>
            <a:ext cx="4096400" cy="3900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755" name="Google Shape;3755;p193"/>
          <p:cNvSpPr txBox="1">
            <a:spLocks noGrp="1"/>
          </p:cNvSpPr>
          <p:nvPr>
            <p:ph type="subTitle" idx="5"/>
          </p:nvPr>
        </p:nvSpPr>
        <p:spPr>
          <a:xfrm>
            <a:off x="7506208" y="3348736"/>
            <a:ext cx="40964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10488211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matchingName="59. One quote_1\">
  <p:cSld name="59. One quote_1\">
    <p:spTree>
      <p:nvGrpSpPr>
        <p:cNvPr id="1" name="Shape 3756"/>
        <p:cNvGrpSpPr/>
        <p:nvPr/>
      </p:nvGrpSpPr>
      <p:grpSpPr>
        <a:xfrm>
          <a:off x="0" y="0"/>
          <a:ext cx="0" cy="0"/>
          <a:chOff x="0" y="0"/>
          <a:chExt cx="0" cy="0"/>
        </a:xfrm>
      </p:grpSpPr>
      <p:sp>
        <p:nvSpPr>
          <p:cNvPr id="3757" name="Google Shape;3757;p194"/>
          <p:cNvSpPr/>
          <p:nvPr/>
        </p:nvSpPr>
        <p:spPr>
          <a:xfrm>
            <a:off x="962876" y="854528"/>
            <a:ext cx="10266400" cy="5148800"/>
          </a:xfrm>
          <a:prstGeom prst="roundRect">
            <a:avLst>
              <a:gd name="adj" fmla="val 2079"/>
            </a:avLst>
          </a:prstGeom>
          <a:gradFill>
            <a:gsLst>
              <a:gs pos="0">
                <a:schemeClr val="accent4"/>
              </a:gs>
              <a:gs pos="100000">
                <a:schemeClr val="accent1"/>
              </a:gs>
            </a:gsLst>
            <a:lin ang="8099331"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758" name="Google Shape;3758;p194"/>
          <p:cNvSpPr>
            <a:spLocks noGrp="1"/>
          </p:cNvSpPr>
          <p:nvPr>
            <p:ph type="pic" idx="2"/>
          </p:nvPr>
        </p:nvSpPr>
        <p:spPr>
          <a:xfrm>
            <a:off x="5524497" y="3575999"/>
            <a:ext cx="1143200" cy="1143200"/>
          </a:xfrm>
          <a:prstGeom prst="ellipse">
            <a:avLst/>
          </a:prstGeom>
          <a:noFill/>
          <a:ln w="19050" cap="flat" cmpd="sng">
            <a:solidFill>
              <a:schemeClr val="lt1"/>
            </a:solidFill>
            <a:prstDash val="solid"/>
            <a:round/>
            <a:headEnd type="none" w="sm" len="sm"/>
            <a:tailEnd type="none" w="sm" len="sm"/>
          </a:ln>
          <a:effectLst>
            <a:reflection stA="20000" endPos="25000" dist="63500" dir="5400000" fadeDir="5400012" sy="-100000" algn="bl" rotWithShape="0"/>
          </a:effectLst>
        </p:spPr>
      </p:sp>
      <p:sp>
        <p:nvSpPr>
          <p:cNvPr id="3759" name="Google Shape;3759;p194"/>
          <p:cNvSpPr txBox="1"/>
          <p:nvPr/>
        </p:nvSpPr>
        <p:spPr>
          <a:xfrm>
            <a:off x="5695961" y="925649"/>
            <a:ext cx="800000" cy="1749083"/>
          </a:xfrm>
          <a:prstGeom prst="rect">
            <a:avLst/>
          </a:prstGeom>
          <a:noFill/>
          <a:ln>
            <a:noFill/>
          </a:ln>
        </p:spPr>
        <p:txBody>
          <a:bodyPr spcFirstLastPara="1" wrap="square" lIns="45700" tIns="22867" rIns="45700" bIns="22867" anchor="t" anchorCtr="0">
            <a:spAutoFit/>
          </a:bodyPr>
          <a:lstStyle/>
          <a:p>
            <a:pPr marL="0" marR="0" lvl="0" indent="0" algn="l" rtl="0">
              <a:lnSpc>
                <a:spcPct val="100000"/>
              </a:lnSpc>
              <a:spcBef>
                <a:spcPts val="0"/>
              </a:spcBef>
              <a:spcAft>
                <a:spcPts val="0"/>
              </a:spcAft>
              <a:buClr>
                <a:schemeClr val="lt1"/>
              </a:buClr>
              <a:buSzPts val="8300"/>
              <a:buFont typeface="Arial"/>
              <a:buNone/>
            </a:pPr>
            <a:r>
              <a:rPr lang="en" sz="11066" b="1" i="0" u="none" strike="noStrike" cap="none">
                <a:solidFill>
                  <a:schemeClr val="lt1"/>
                </a:solidFill>
                <a:latin typeface="Arial"/>
                <a:ea typeface="Arial"/>
                <a:cs typeface="Arial"/>
                <a:sym typeface="Arial"/>
              </a:rPr>
              <a:t>“</a:t>
            </a:r>
            <a:endParaRPr sz="11066" b="1" i="0" u="none" strike="noStrike" cap="none">
              <a:solidFill>
                <a:schemeClr val="lt1"/>
              </a:solidFill>
              <a:latin typeface="Arial"/>
              <a:ea typeface="Arial"/>
              <a:cs typeface="Arial"/>
              <a:sym typeface="Arial"/>
            </a:endParaRPr>
          </a:p>
        </p:txBody>
      </p:sp>
      <p:sp>
        <p:nvSpPr>
          <p:cNvPr id="3760" name="Google Shape;3760;p194"/>
          <p:cNvSpPr txBox="1">
            <a:spLocks noGrp="1"/>
          </p:cNvSpPr>
          <p:nvPr>
            <p:ph type="subTitle" idx="1"/>
          </p:nvPr>
        </p:nvSpPr>
        <p:spPr>
          <a:xfrm>
            <a:off x="3742944" y="5352288"/>
            <a:ext cx="4718400" cy="4512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1pPr>
            <a:lvl2pPr lvl="1"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2pPr>
            <a:lvl3pPr lvl="2"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3pPr>
            <a:lvl4pPr lvl="3"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4pPr>
            <a:lvl5pPr lvl="4"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5pPr>
            <a:lvl6pPr lvl="5"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6pPr>
            <a:lvl7pPr lvl="6"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7pPr>
            <a:lvl8pPr lvl="7"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8pPr>
            <a:lvl9pPr lvl="8"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9pPr>
          </a:lstStyle>
          <a:p>
            <a:endParaRPr/>
          </a:p>
        </p:txBody>
      </p:sp>
      <p:sp>
        <p:nvSpPr>
          <p:cNvPr id="3761" name="Google Shape;3761;p194"/>
          <p:cNvSpPr txBox="1">
            <a:spLocks noGrp="1"/>
          </p:cNvSpPr>
          <p:nvPr>
            <p:ph type="subTitle" idx="3"/>
          </p:nvPr>
        </p:nvSpPr>
        <p:spPr>
          <a:xfrm>
            <a:off x="2639605" y="1839532"/>
            <a:ext cx="6912800" cy="1524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762" name="Google Shape;3762;p194"/>
          <p:cNvSpPr txBox="1">
            <a:spLocks noGrp="1"/>
          </p:cNvSpPr>
          <p:nvPr>
            <p:ph type="subTitle" idx="4"/>
          </p:nvPr>
        </p:nvSpPr>
        <p:spPr>
          <a:xfrm>
            <a:off x="3742944" y="4986528"/>
            <a:ext cx="4718400" cy="3292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200"/>
              <a:buNone/>
              <a:defRPr sz="1600">
                <a:solidFill>
                  <a:schemeClr val="lt1"/>
                </a:solidFill>
              </a:defRPr>
            </a:lvl1pPr>
            <a:lvl2pPr lvl="1" algn="ctr" rtl="0">
              <a:spcBef>
                <a:spcPts val="0"/>
              </a:spcBef>
              <a:spcAft>
                <a:spcPts val="0"/>
              </a:spcAft>
              <a:buClr>
                <a:schemeClr val="lt1"/>
              </a:buClr>
              <a:buSzPts val="1200"/>
              <a:buNone/>
              <a:defRPr sz="1600">
                <a:solidFill>
                  <a:schemeClr val="lt1"/>
                </a:solidFill>
              </a:defRPr>
            </a:lvl2pPr>
            <a:lvl3pPr lvl="2" algn="ctr" rtl="0">
              <a:spcBef>
                <a:spcPts val="0"/>
              </a:spcBef>
              <a:spcAft>
                <a:spcPts val="0"/>
              </a:spcAft>
              <a:buClr>
                <a:schemeClr val="lt1"/>
              </a:buClr>
              <a:buSzPts val="1200"/>
              <a:buNone/>
              <a:defRPr sz="1600">
                <a:solidFill>
                  <a:schemeClr val="lt1"/>
                </a:solidFill>
              </a:defRPr>
            </a:lvl3pPr>
            <a:lvl4pPr lvl="3" algn="ctr" rtl="0">
              <a:spcBef>
                <a:spcPts val="0"/>
              </a:spcBef>
              <a:spcAft>
                <a:spcPts val="0"/>
              </a:spcAft>
              <a:buClr>
                <a:schemeClr val="lt1"/>
              </a:buClr>
              <a:buSzPts val="1200"/>
              <a:buNone/>
              <a:defRPr sz="1600">
                <a:solidFill>
                  <a:schemeClr val="lt1"/>
                </a:solidFill>
              </a:defRPr>
            </a:lvl4pPr>
            <a:lvl5pPr lvl="4" algn="ctr" rtl="0">
              <a:spcBef>
                <a:spcPts val="0"/>
              </a:spcBef>
              <a:spcAft>
                <a:spcPts val="0"/>
              </a:spcAft>
              <a:buClr>
                <a:schemeClr val="lt1"/>
              </a:buClr>
              <a:buSzPts val="1200"/>
              <a:buNone/>
              <a:defRPr sz="1600">
                <a:solidFill>
                  <a:schemeClr val="lt1"/>
                </a:solidFill>
              </a:defRPr>
            </a:lvl5pPr>
            <a:lvl6pPr lvl="5" algn="ctr" rtl="0">
              <a:spcBef>
                <a:spcPts val="0"/>
              </a:spcBef>
              <a:spcAft>
                <a:spcPts val="0"/>
              </a:spcAft>
              <a:buClr>
                <a:schemeClr val="lt1"/>
              </a:buClr>
              <a:buSzPts val="1200"/>
              <a:buNone/>
              <a:defRPr sz="1600">
                <a:solidFill>
                  <a:schemeClr val="lt1"/>
                </a:solidFill>
              </a:defRPr>
            </a:lvl6pPr>
            <a:lvl7pPr lvl="6" algn="ctr" rtl="0">
              <a:spcBef>
                <a:spcPts val="0"/>
              </a:spcBef>
              <a:spcAft>
                <a:spcPts val="0"/>
              </a:spcAft>
              <a:buClr>
                <a:schemeClr val="lt1"/>
              </a:buClr>
              <a:buSzPts val="1200"/>
              <a:buNone/>
              <a:defRPr sz="1600">
                <a:solidFill>
                  <a:schemeClr val="lt1"/>
                </a:solidFill>
              </a:defRPr>
            </a:lvl7pPr>
            <a:lvl8pPr lvl="7" algn="ctr" rtl="0">
              <a:spcBef>
                <a:spcPts val="0"/>
              </a:spcBef>
              <a:spcAft>
                <a:spcPts val="0"/>
              </a:spcAft>
              <a:buClr>
                <a:schemeClr val="lt1"/>
              </a:buClr>
              <a:buSzPts val="1200"/>
              <a:buNone/>
              <a:defRPr sz="1600">
                <a:solidFill>
                  <a:schemeClr val="lt1"/>
                </a:solidFill>
              </a:defRPr>
            </a:lvl8pPr>
            <a:lvl9pPr lvl="8" algn="ctr" rtl="0">
              <a:spcBef>
                <a:spcPts val="0"/>
              </a:spcBef>
              <a:spcAft>
                <a:spcPts val="0"/>
              </a:spcAft>
              <a:buClr>
                <a:schemeClr val="lt1"/>
              </a:buClr>
              <a:buSzPts val="1200"/>
              <a:buNone/>
              <a:defRPr sz="1600">
                <a:solidFill>
                  <a:schemeClr val="lt1"/>
                </a:solidFill>
              </a:defRPr>
            </a:lvl9pPr>
          </a:lstStyle>
          <a:p>
            <a:endParaRPr/>
          </a:p>
        </p:txBody>
      </p:sp>
    </p:spTree>
    <p:extLst>
      <p:ext uri="{BB962C8B-B14F-4D97-AF65-F5344CB8AC3E}">
        <p14:creationId xmlns:p14="http://schemas.microsoft.com/office/powerpoint/2010/main" val="3257790535"/>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matchingName="60. One quote_2">
  <p:cSld name="60. One quote_2">
    <p:spTree>
      <p:nvGrpSpPr>
        <p:cNvPr id="1" name="Shape 3763"/>
        <p:cNvGrpSpPr/>
        <p:nvPr/>
      </p:nvGrpSpPr>
      <p:grpSpPr>
        <a:xfrm>
          <a:off x="0" y="0"/>
          <a:ext cx="0" cy="0"/>
          <a:chOff x="0" y="0"/>
          <a:chExt cx="0" cy="0"/>
        </a:xfrm>
      </p:grpSpPr>
      <p:sp>
        <p:nvSpPr>
          <p:cNvPr id="3764" name="Google Shape;3764;p195"/>
          <p:cNvSpPr/>
          <p:nvPr/>
        </p:nvSpPr>
        <p:spPr>
          <a:xfrm>
            <a:off x="962876" y="854528"/>
            <a:ext cx="10266400" cy="5148800"/>
          </a:xfrm>
          <a:prstGeom prst="roundRect">
            <a:avLst>
              <a:gd name="adj" fmla="val 2079"/>
            </a:avLst>
          </a:prstGeom>
          <a:gradFill>
            <a:gsLst>
              <a:gs pos="0">
                <a:srgbClr val="A371F7"/>
              </a:gs>
              <a:gs pos="100000">
                <a:srgbClr val="388BFD"/>
              </a:gs>
            </a:gsLst>
            <a:lin ang="3600008"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765" name="Google Shape;3765;p195"/>
          <p:cNvSpPr>
            <a:spLocks noGrp="1"/>
          </p:cNvSpPr>
          <p:nvPr>
            <p:ph type="pic" idx="2"/>
          </p:nvPr>
        </p:nvSpPr>
        <p:spPr>
          <a:xfrm>
            <a:off x="5524497" y="3575999"/>
            <a:ext cx="1143200" cy="1143200"/>
          </a:xfrm>
          <a:prstGeom prst="ellipse">
            <a:avLst/>
          </a:prstGeom>
          <a:noFill/>
          <a:ln w="19050" cap="flat" cmpd="sng">
            <a:solidFill>
              <a:schemeClr val="lt1"/>
            </a:solidFill>
            <a:prstDash val="solid"/>
            <a:round/>
            <a:headEnd type="none" w="sm" len="sm"/>
            <a:tailEnd type="none" w="sm" len="sm"/>
          </a:ln>
          <a:effectLst>
            <a:reflection stA="20000" endPos="25000" dist="63500" dir="5400000" fadeDir="5400012" sy="-100000" algn="bl" rotWithShape="0"/>
          </a:effectLst>
        </p:spPr>
      </p:sp>
      <p:sp>
        <p:nvSpPr>
          <p:cNvPr id="3766" name="Google Shape;3766;p195"/>
          <p:cNvSpPr txBox="1"/>
          <p:nvPr/>
        </p:nvSpPr>
        <p:spPr>
          <a:xfrm>
            <a:off x="5695961" y="925649"/>
            <a:ext cx="800000" cy="1749083"/>
          </a:xfrm>
          <a:prstGeom prst="rect">
            <a:avLst/>
          </a:prstGeom>
          <a:noFill/>
          <a:ln>
            <a:noFill/>
          </a:ln>
        </p:spPr>
        <p:txBody>
          <a:bodyPr spcFirstLastPara="1" wrap="square" lIns="45700" tIns="22867" rIns="45700" bIns="22867" anchor="t" anchorCtr="0">
            <a:spAutoFit/>
          </a:bodyPr>
          <a:lstStyle/>
          <a:p>
            <a:pPr marL="0" marR="0" lvl="0" indent="0" algn="l" rtl="0">
              <a:lnSpc>
                <a:spcPct val="100000"/>
              </a:lnSpc>
              <a:spcBef>
                <a:spcPts val="0"/>
              </a:spcBef>
              <a:spcAft>
                <a:spcPts val="0"/>
              </a:spcAft>
              <a:buClr>
                <a:schemeClr val="lt1"/>
              </a:buClr>
              <a:buSzPts val="8300"/>
              <a:buFont typeface="Arial"/>
              <a:buNone/>
            </a:pPr>
            <a:r>
              <a:rPr lang="en" sz="11066" b="1" i="0" u="none" strike="noStrike" cap="none">
                <a:solidFill>
                  <a:schemeClr val="lt1"/>
                </a:solidFill>
                <a:latin typeface="Arial"/>
                <a:ea typeface="Arial"/>
                <a:cs typeface="Arial"/>
                <a:sym typeface="Arial"/>
              </a:rPr>
              <a:t>“</a:t>
            </a:r>
            <a:endParaRPr sz="11066" b="1" i="0" u="none" strike="noStrike" cap="none">
              <a:solidFill>
                <a:schemeClr val="lt1"/>
              </a:solidFill>
              <a:latin typeface="Arial"/>
              <a:ea typeface="Arial"/>
              <a:cs typeface="Arial"/>
              <a:sym typeface="Arial"/>
            </a:endParaRPr>
          </a:p>
        </p:txBody>
      </p:sp>
      <p:sp>
        <p:nvSpPr>
          <p:cNvPr id="3767" name="Google Shape;3767;p195"/>
          <p:cNvSpPr txBox="1">
            <a:spLocks noGrp="1"/>
          </p:cNvSpPr>
          <p:nvPr>
            <p:ph type="subTitle" idx="1"/>
          </p:nvPr>
        </p:nvSpPr>
        <p:spPr>
          <a:xfrm>
            <a:off x="3742944" y="5352288"/>
            <a:ext cx="4718400" cy="4512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1pPr>
            <a:lvl2pPr lvl="1" algn="ctr"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2pPr>
            <a:lvl3pPr lvl="2" algn="ctr"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3pPr>
            <a:lvl4pPr lvl="3" algn="ctr"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4pPr>
            <a:lvl5pPr lvl="4" algn="ctr"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5pPr>
            <a:lvl6pPr lvl="5" algn="ctr"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6pPr>
            <a:lvl7pPr lvl="6" algn="ctr"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7pPr>
            <a:lvl8pPr lvl="7" algn="ctr"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8pPr>
            <a:lvl9pPr lvl="8" algn="ctr" rtl="0">
              <a:spcBef>
                <a:spcPts val="0"/>
              </a:spcBef>
              <a:spcAft>
                <a:spcPts val="0"/>
              </a:spcAft>
              <a:buClr>
                <a:schemeClr val="lt1"/>
              </a:buClr>
              <a:buSzPts val="1000"/>
              <a:buFont typeface="Courier New"/>
              <a:buNone/>
              <a:defRPr sz="1333">
                <a:solidFill>
                  <a:schemeClr val="lt1"/>
                </a:solidFill>
                <a:latin typeface="Courier New"/>
                <a:ea typeface="Courier New"/>
                <a:cs typeface="Courier New"/>
                <a:sym typeface="Courier New"/>
              </a:defRPr>
            </a:lvl9pPr>
          </a:lstStyle>
          <a:p>
            <a:endParaRPr/>
          </a:p>
        </p:txBody>
      </p:sp>
      <p:sp>
        <p:nvSpPr>
          <p:cNvPr id="3768" name="Google Shape;3768;p195"/>
          <p:cNvSpPr txBox="1">
            <a:spLocks noGrp="1"/>
          </p:cNvSpPr>
          <p:nvPr>
            <p:ph type="subTitle" idx="3"/>
          </p:nvPr>
        </p:nvSpPr>
        <p:spPr>
          <a:xfrm>
            <a:off x="2639600" y="1839533"/>
            <a:ext cx="6912800" cy="15284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769" name="Google Shape;3769;p195"/>
          <p:cNvSpPr txBox="1">
            <a:spLocks noGrp="1"/>
          </p:cNvSpPr>
          <p:nvPr>
            <p:ph type="subTitle" idx="4"/>
          </p:nvPr>
        </p:nvSpPr>
        <p:spPr>
          <a:xfrm>
            <a:off x="3742944" y="4986528"/>
            <a:ext cx="4718400" cy="3292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200"/>
              <a:buNone/>
              <a:defRPr sz="1600">
                <a:solidFill>
                  <a:schemeClr val="lt1"/>
                </a:solidFill>
              </a:defRPr>
            </a:lvl1pPr>
            <a:lvl2pPr lvl="1" algn="ctr" rtl="0">
              <a:spcBef>
                <a:spcPts val="0"/>
              </a:spcBef>
              <a:spcAft>
                <a:spcPts val="0"/>
              </a:spcAft>
              <a:buClr>
                <a:schemeClr val="lt1"/>
              </a:buClr>
              <a:buSzPts val="1200"/>
              <a:buNone/>
              <a:defRPr sz="1600">
                <a:solidFill>
                  <a:schemeClr val="lt1"/>
                </a:solidFill>
              </a:defRPr>
            </a:lvl2pPr>
            <a:lvl3pPr lvl="2" algn="ctr" rtl="0">
              <a:spcBef>
                <a:spcPts val="0"/>
              </a:spcBef>
              <a:spcAft>
                <a:spcPts val="0"/>
              </a:spcAft>
              <a:buClr>
                <a:schemeClr val="lt1"/>
              </a:buClr>
              <a:buSzPts val="1200"/>
              <a:buNone/>
              <a:defRPr sz="1600">
                <a:solidFill>
                  <a:schemeClr val="lt1"/>
                </a:solidFill>
              </a:defRPr>
            </a:lvl3pPr>
            <a:lvl4pPr lvl="3" algn="ctr" rtl="0">
              <a:spcBef>
                <a:spcPts val="0"/>
              </a:spcBef>
              <a:spcAft>
                <a:spcPts val="0"/>
              </a:spcAft>
              <a:buClr>
                <a:schemeClr val="lt1"/>
              </a:buClr>
              <a:buSzPts val="1200"/>
              <a:buNone/>
              <a:defRPr sz="1600">
                <a:solidFill>
                  <a:schemeClr val="lt1"/>
                </a:solidFill>
              </a:defRPr>
            </a:lvl4pPr>
            <a:lvl5pPr lvl="4" algn="ctr" rtl="0">
              <a:spcBef>
                <a:spcPts val="0"/>
              </a:spcBef>
              <a:spcAft>
                <a:spcPts val="0"/>
              </a:spcAft>
              <a:buClr>
                <a:schemeClr val="lt1"/>
              </a:buClr>
              <a:buSzPts val="1200"/>
              <a:buNone/>
              <a:defRPr sz="1600">
                <a:solidFill>
                  <a:schemeClr val="lt1"/>
                </a:solidFill>
              </a:defRPr>
            </a:lvl5pPr>
            <a:lvl6pPr lvl="5" algn="ctr" rtl="0">
              <a:spcBef>
                <a:spcPts val="0"/>
              </a:spcBef>
              <a:spcAft>
                <a:spcPts val="0"/>
              </a:spcAft>
              <a:buClr>
                <a:schemeClr val="lt1"/>
              </a:buClr>
              <a:buSzPts val="1200"/>
              <a:buNone/>
              <a:defRPr sz="1600">
                <a:solidFill>
                  <a:schemeClr val="lt1"/>
                </a:solidFill>
              </a:defRPr>
            </a:lvl6pPr>
            <a:lvl7pPr lvl="6" algn="ctr" rtl="0">
              <a:spcBef>
                <a:spcPts val="0"/>
              </a:spcBef>
              <a:spcAft>
                <a:spcPts val="0"/>
              </a:spcAft>
              <a:buClr>
                <a:schemeClr val="lt1"/>
              </a:buClr>
              <a:buSzPts val="1200"/>
              <a:buNone/>
              <a:defRPr sz="1600">
                <a:solidFill>
                  <a:schemeClr val="lt1"/>
                </a:solidFill>
              </a:defRPr>
            </a:lvl7pPr>
            <a:lvl8pPr lvl="7" algn="ctr" rtl="0">
              <a:spcBef>
                <a:spcPts val="0"/>
              </a:spcBef>
              <a:spcAft>
                <a:spcPts val="0"/>
              </a:spcAft>
              <a:buClr>
                <a:schemeClr val="lt1"/>
              </a:buClr>
              <a:buSzPts val="1200"/>
              <a:buNone/>
              <a:defRPr sz="1600">
                <a:solidFill>
                  <a:schemeClr val="lt1"/>
                </a:solidFill>
              </a:defRPr>
            </a:lvl8pPr>
            <a:lvl9pPr lvl="8" algn="ctr" rtl="0">
              <a:spcBef>
                <a:spcPts val="0"/>
              </a:spcBef>
              <a:spcAft>
                <a:spcPts val="0"/>
              </a:spcAft>
              <a:buClr>
                <a:schemeClr val="lt1"/>
              </a:buClr>
              <a:buSzPts val="1200"/>
              <a:buNone/>
              <a:defRPr sz="1600">
                <a:solidFill>
                  <a:schemeClr val="lt1"/>
                </a:solidFill>
              </a:defRPr>
            </a:lvl9pPr>
          </a:lstStyle>
          <a:p>
            <a:endParaRPr/>
          </a:p>
        </p:txBody>
      </p:sp>
    </p:spTree>
    <p:extLst>
      <p:ext uri="{BB962C8B-B14F-4D97-AF65-F5344CB8AC3E}">
        <p14:creationId xmlns:p14="http://schemas.microsoft.com/office/powerpoint/2010/main" val="311068228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61. One quote_3">
  <p:cSld name="61. One quote_3">
    <p:spTree>
      <p:nvGrpSpPr>
        <p:cNvPr id="1" name="Shape 3770"/>
        <p:cNvGrpSpPr/>
        <p:nvPr/>
      </p:nvGrpSpPr>
      <p:grpSpPr>
        <a:xfrm>
          <a:off x="0" y="0"/>
          <a:ext cx="0" cy="0"/>
          <a:chOff x="0" y="0"/>
          <a:chExt cx="0" cy="0"/>
        </a:xfrm>
      </p:grpSpPr>
      <p:sp>
        <p:nvSpPr>
          <p:cNvPr id="3771" name="Google Shape;3771;p196"/>
          <p:cNvSpPr/>
          <p:nvPr/>
        </p:nvSpPr>
        <p:spPr>
          <a:xfrm>
            <a:off x="962876" y="854528"/>
            <a:ext cx="10266400" cy="5148800"/>
          </a:xfrm>
          <a:prstGeom prst="roundRect">
            <a:avLst>
              <a:gd name="adj" fmla="val 2079"/>
            </a:avLst>
          </a:prstGeom>
          <a:gradFill>
            <a:gsLst>
              <a:gs pos="0">
                <a:srgbClr val="388BFD"/>
              </a:gs>
              <a:gs pos="100000">
                <a:srgbClr val="2A9D9A"/>
              </a:gs>
            </a:gsLst>
            <a:lin ang="3600008"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772" name="Google Shape;3772;p196"/>
          <p:cNvSpPr>
            <a:spLocks noGrp="1"/>
          </p:cNvSpPr>
          <p:nvPr>
            <p:ph type="pic" idx="2"/>
          </p:nvPr>
        </p:nvSpPr>
        <p:spPr>
          <a:xfrm>
            <a:off x="5524497" y="3575999"/>
            <a:ext cx="1143200" cy="1143200"/>
          </a:xfrm>
          <a:prstGeom prst="ellipse">
            <a:avLst/>
          </a:prstGeom>
          <a:noFill/>
          <a:ln w="19050" cap="flat" cmpd="sng">
            <a:solidFill>
              <a:schemeClr val="lt1"/>
            </a:solidFill>
            <a:prstDash val="solid"/>
            <a:round/>
            <a:headEnd type="none" w="sm" len="sm"/>
            <a:tailEnd type="none" w="sm" len="sm"/>
          </a:ln>
          <a:effectLst>
            <a:reflection stA="20000" endPos="25000" dist="63500" dir="5400000" fadeDir="5400012" sy="-100000" algn="bl" rotWithShape="0"/>
          </a:effectLst>
        </p:spPr>
      </p:sp>
      <p:sp>
        <p:nvSpPr>
          <p:cNvPr id="3773" name="Google Shape;3773;p196"/>
          <p:cNvSpPr txBox="1"/>
          <p:nvPr/>
        </p:nvSpPr>
        <p:spPr>
          <a:xfrm>
            <a:off x="5695961" y="925649"/>
            <a:ext cx="800000" cy="1749083"/>
          </a:xfrm>
          <a:prstGeom prst="rect">
            <a:avLst/>
          </a:prstGeom>
          <a:noFill/>
          <a:ln>
            <a:noFill/>
          </a:ln>
        </p:spPr>
        <p:txBody>
          <a:bodyPr spcFirstLastPara="1" wrap="square" lIns="45700" tIns="22867" rIns="45700" bIns="22867" anchor="t" anchorCtr="0">
            <a:spAutoFit/>
          </a:bodyPr>
          <a:lstStyle/>
          <a:p>
            <a:pPr marL="0" marR="0" lvl="0" indent="0" algn="l" rtl="0">
              <a:lnSpc>
                <a:spcPct val="100000"/>
              </a:lnSpc>
              <a:spcBef>
                <a:spcPts val="0"/>
              </a:spcBef>
              <a:spcAft>
                <a:spcPts val="0"/>
              </a:spcAft>
              <a:buClr>
                <a:schemeClr val="lt1"/>
              </a:buClr>
              <a:buSzPts val="8300"/>
              <a:buFont typeface="Arial"/>
              <a:buNone/>
            </a:pPr>
            <a:r>
              <a:rPr lang="en" sz="11066" b="1" i="0" u="none" strike="noStrike" cap="none">
                <a:solidFill>
                  <a:schemeClr val="lt1"/>
                </a:solidFill>
                <a:latin typeface="Arial"/>
                <a:ea typeface="Arial"/>
                <a:cs typeface="Arial"/>
                <a:sym typeface="Arial"/>
              </a:rPr>
              <a:t>“</a:t>
            </a:r>
            <a:endParaRPr sz="11066" b="1" i="0" u="none" strike="noStrike" cap="none">
              <a:solidFill>
                <a:schemeClr val="lt1"/>
              </a:solidFill>
              <a:latin typeface="Arial"/>
              <a:ea typeface="Arial"/>
              <a:cs typeface="Arial"/>
              <a:sym typeface="Arial"/>
            </a:endParaRPr>
          </a:p>
        </p:txBody>
      </p:sp>
      <p:sp>
        <p:nvSpPr>
          <p:cNvPr id="3774" name="Google Shape;3774;p196"/>
          <p:cNvSpPr txBox="1">
            <a:spLocks noGrp="1"/>
          </p:cNvSpPr>
          <p:nvPr>
            <p:ph type="subTitle" idx="1"/>
          </p:nvPr>
        </p:nvSpPr>
        <p:spPr>
          <a:xfrm>
            <a:off x="3742944" y="5352288"/>
            <a:ext cx="4718400" cy="4512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1pPr>
            <a:lvl2pPr lvl="1"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2pPr>
            <a:lvl3pPr lvl="2"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3pPr>
            <a:lvl4pPr lvl="3"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4pPr>
            <a:lvl5pPr lvl="4"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5pPr>
            <a:lvl6pPr lvl="5"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6pPr>
            <a:lvl7pPr lvl="6"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7pPr>
            <a:lvl8pPr lvl="7"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8pPr>
            <a:lvl9pPr lvl="8" algn="ctr"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9pPr>
          </a:lstStyle>
          <a:p>
            <a:endParaRPr/>
          </a:p>
        </p:txBody>
      </p:sp>
      <p:sp>
        <p:nvSpPr>
          <p:cNvPr id="3775" name="Google Shape;3775;p196"/>
          <p:cNvSpPr txBox="1">
            <a:spLocks noGrp="1"/>
          </p:cNvSpPr>
          <p:nvPr>
            <p:ph type="subTitle" idx="3"/>
          </p:nvPr>
        </p:nvSpPr>
        <p:spPr>
          <a:xfrm>
            <a:off x="2639605" y="1839532"/>
            <a:ext cx="6912800" cy="1524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776" name="Google Shape;3776;p196"/>
          <p:cNvSpPr txBox="1">
            <a:spLocks noGrp="1"/>
          </p:cNvSpPr>
          <p:nvPr>
            <p:ph type="subTitle" idx="4"/>
          </p:nvPr>
        </p:nvSpPr>
        <p:spPr>
          <a:xfrm>
            <a:off x="3742944" y="4986528"/>
            <a:ext cx="4718400" cy="3292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200"/>
              <a:buNone/>
              <a:defRPr sz="1600">
                <a:solidFill>
                  <a:schemeClr val="lt1"/>
                </a:solidFill>
              </a:defRPr>
            </a:lvl1pPr>
            <a:lvl2pPr lvl="1" algn="ctr" rtl="0">
              <a:spcBef>
                <a:spcPts val="0"/>
              </a:spcBef>
              <a:spcAft>
                <a:spcPts val="0"/>
              </a:spcAft>
              <a:buClr>
                <a:schemeClr val="lt1"/>
              </a:buClr>
              <a:buSzPts val="1200"/>
              <a:buNone/>
              <a:defRPr sz="1600">
                <a:solidFill>
                  <a:schemeClr val="lt1"/>
                </a:solidFill>
              </a:defRPr>
            </a:lvl2pPr>
            <a:lvl3pPr lvl="2" algn="ctr" rtl="0">
              <a:spcBef>
                <a:spcPts val="0"/>
              </a:spcBef>
              <a:spcAft>
                <a:spcPts val="0"/>
              </a:spcAft>
              <a:buClr>
                <a:schemeClr val="lt1"/>
              </a:buClr>
              <a:buSzPts val="1200"/>
              <a:buNone/>
              <a:defRPr sz="1600">
                <a:solidFill>
                  <a:schemeClr val="lt1"/>
                </a:solidFill>
              </a:defRPr>
            </a:lvl3pPr>
            <a:lvl4pPr lvl="3" algn="ctr" rtl="0">
              <a:spcBef>
                <a:spcPts val="0"/>
              </a:spcBef>
              <a:spcAft>
                <a:spcPts val="0"/>
              </a:spcAft>
              <a:buClr>
                <a:schemeClr val="lt1"/>
              </a:buClr>
              <a:buSzPts val="1200"/>
              <a:buNone/>
              <a:defRPr sz="1600">
                <a:solidFill>
                  <a:schemeClr val="lt1"/>
                </a:solidFill>
              </a:defRPr>
            </a:lvl4pPr>
            <a:lvl5pPr lvl="4" algn="ctr" rtl="0">
              <a:spcBef>
                <a:spcPts val="0"/>
              </a:spcBef>
              <a:spcAft>
                <a:spcPts val="0"/>
              </a:spcAft>
              <a:buClr>
                <a:schemeClr val="lt1"/>
              </a:buClr>
              <a:buSzPts val="1200"/>
              <a:buNone/>
              <a:defRPr sz="1600">
                <a:solidFill>
                  <a:schemeClr val="lt1"/>
                </a:solidFill>
              </a:defRPr>
            </a:lvl5pPr>
            <a:lvl6pPr lvl="5" algn="ctr" rtl="0">
              <a:spcBef>
                <a:spcPts val="0"/>
              </a:spcBef>
              <a:spcAft>
                <a:spcPts val="0"/>
              </a:spcAft>
              <a:buClr>
                <a:schemeClr val="lt1"/>
              </a:buClr>
              <a:buSzPts val="1200"/>
              <a:buNone/>
              <a:defRPr sz="1600">
                <a:solidFill>
                  <a:schemeClr val="lt1"/>
                </a:solidFill>
              </a:defRPr>
            </a:lvl6pPr>
            <a:lvl7pPr lvl="6" algn="ctr" rtl="0">
              <a:spcBef>
                <a:spcPts val="0"/>
              </a:spcBef>
              <a:spcAft>
                <a:spcPts val="0"/>
              </a:spcAft>
              <a:buClr>
                <a:schemeClr val="lt1"/>
              </a:buClr>
              <a:buSzPts val="1200"/>
              <a:buNone/>
              <a:defRPr sz="1600">
                <a:solidFill>
                  <a:schemeClr val="lt1"/>
                </a:solidFill>
              </a:defRPr>
            </a:lvl7pPr>
            <a:lvl8pPr lvl="7" algn="ctr" rtl="0">
              <a:spcBef>
                <a:spcPts val="0"/>
              </a:spcBef>
              <a:spcAft>
                <a:spcPts val="0"/>
              </a:spcAft>
              <a:buClr>
                <a:schemeClr val="lt1"/>
              </a:buClr>
              <a:buSzPts val="1200"/>
              <a:buNone/>
              <a:defRPr sz="1600">
                <a:solidFill>
                  <a:schemeClr val="lt1"/>
                </a:solidFill>
              </a:defRPr>
            </a:lvl8pPr>
            <a:lvl9pPr lvl="8" algn="ctr" rtl="0">
              <a:spcBef>
                <a:spcPts val="0"/>
              </a:spcBef>
              <a:spcAft>
                <a:spcPts val="0"/>
              </a:spcAft>
              <a:buClr>
                <a:schemeClr val="lt1"/>
              </a:buClr>
              <a:buSzPts val="1200"/>
              <a:buNone/>
              <a:defRPr sz="1600">
                <a:solidFill>
                  <a:schemeClr val="lt1"/>
                </a:solidFill>
              </a:defRPr>
            </a:lvl9pPr>
          </a:lstStyle>
          <a:p>
            <a:endParaRPr/>
          </a:p>
        </p:txBody>
      </p:sp>
    </p:spTree>
    <p:extLst>
      <p:ext uri="{BB962C8B-B14F-4D97-AF65-F5344CB8AC3E}">
        <p14:creationId xmlns:p14="http://schemas.microsoft.com/office/powerpoint/2010/main" val="21270214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matchingName="62. Two quotes">
  <p:cSld name="62. Two quotes">
    <p:spTree>
      <p:nvGrpSpPr>
        <p:cNvPr id="1" name="Shape 3777"/>
        <p:cNvGrpSpPr/>
        <p:nvPr/>
      </p:nvGrpSpPr>
      <p:grpSpPr>
        <a:xfrm>
          <a:off x="0" y="0"/>
          <a:ext cx="0" cy="0"/>
          <a:chOff x="0" y="0"/>
          <a:chExt cx="0" cy="0"/>
        </a:xfrm>
      </p:grpSpPr>
      <p:sp>
        <p:nvSpPr>
          <p:cNvPr id="3778" name="Google Shape;3778;p197"/>
          <p:cNvSpPr/>
          <p:nvPr/>
        </p:nvSpPr>
        <p:spPr>
          <a:xfrm>
            <a:off x="6214133" y="990600"/>
            <a:ext cx="4876800" cy="4876800"/>
          </a:xfrm>
          <a:prstGeom prst="roundRect">
            <a:avLst>
              <a:gd name="adj" fmla="val 2079"/>
            </a:avLst>
          </a:prstGeom>
          <a:gradFill>
            <a:gsLst>
              <a:gs pos="0">
                <a:schemeClr val="accent4"/>
              </a:gs>
              <a:gs pos="62000">
                <a:schemeClr val="accent1"/>
              </a:gs>
              <a:gs pos="100000">
                <a:schemeClr val="accent1"/>
              </a:gs>
            </a:gsLst>
            <a:lin ang="8099331"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779" name="Google Shape;3779;p197"/>
          <p:cNvSpPr txBox="1"/>
          <p:nvPr/>
        </p:nvSpPr>
        <p:spPr>
          <a:xfrm>
            <a:off x="6477940" y="1037630"/>
            <a:ext cx="1335200" cy="1754198"/>
          </a:xfrm>
          <a:prstGeom prst="rect">
            <a:avLst/>
          </a:prstGeom>
          <a:noFill/>
          <a:ln>
            <a:noFill/>
          </a:ln>
        </p:spPr>
        <p:txBody>
          <a:bodyPr spcFirstLastPara="1" wrap="square" lIns="25400" tIns="25400" rIns="25400" bIns="25400" anchor="ctr" anchorCtr="0">
            <a:spAutoFit/>
          </a:bodyPr>
          <a:lstStyle/>
          <a:p>
            <a:pPr marL="0" marR="0" lvl="0" indent="0" algn="l" rtl="0">
              <a:lnSpc>
                <a:spcPct val="100000"/>
              </a:lnSpc>
              <a:spcBef>
                <a:spcPts val="0"/>
              </a:spcBef>
              <a:spcAft>
                <a:spcPts val="0"/>
              </a:spcAft>
              <a:buClr>
                <a:schemeClr val="accent3"/>
              </a:buClr>
              <a:buSzPts val="8300"/>
              <a:buFont typeface="Arial"/>
              <a:buNone/>
            </a:pPr>
            <a:r>
              <a:rPr lang="en" sz="11066" b="1" i="0" u="none" strike="noStrike" cap="none">
                <a:solidFill>
                  <a:schemeClr val="lt2"/>
                </a:solidFill>
                <a:latin typeface="Arial"/>
                <a:ea typeface="Arial"/>
                <a:cs typeface="Arial"/>
                <a:sym typeface="Arial"/>
              </a:rPr>
              <a:t>“</a:t>
            </a:r>
            <a:endParaRPr sz="667">
              <a:solidFill>
                <a:schemeClr val="lt2"/>
              </a:solidFill>
            </a:endParaRPr>
          </a:p>
        </p:txBody>
      </p:sp>
      <p:grpSp>
        <p:nvGrpSpPr>
          <p:cNvPr id="3780" name="Google Shape;3780;p197"/>
          <p:cNvGrpSpPr/>
          <p:nvPr/>
        </p:nvGrpSpPr>
        <p:grpSpPr>
          <a:xfrm>
            <a:off x="12253600" y="1"/>
            <a:ext cx="3438989" cy="3424452"/>
            <a:chOff x="22170399" y="777240"/>
            <a:chExt cx="6877978" cy="6848903"/>
          </a:xfrm>
        </p:grpSpPr>
        <p:grpSp>
          <p:nvGrpSpPr>
            <p:cNvPr id="3781" name="Google Shape;3781;p197"/>
            <p:cNvGrpSpPr/>
            <p:nvPr/>
          </p:nvGrpSpPr>
          <p:grpSpPr>
            <a:xfrm>
              <a:off x="22170399" y="777240"/>
              <a:ext cx="6877978" cy="6848903"/>
              <a:chOff x="22155159" y="0"/>
              <a:chExt cx="6877978" cy="6848903"/>
            </a:xfrm>
          </p:grpSpPr>
          <p:sp>
            <p:nvSpPr>
              <p:cNvPr id="3782" name="Google Shape;3782;p197"/>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783" name="Google Shape;3783;p197"/>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784" name="Google Shape;3784;p197"/>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785" name="Google Shape;3785;p197"/>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786" name="Google Shape;3786;p197"/>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787" name="Google Shape;3787;p197"/>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788" name="Google Shape;3788;p197"/>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789" name="Google Shape;3789;p197"/>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790" name="Google Shape;3790;p197"/>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791" name="Google Shape;3791;p197"/>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792" name="Google Shape;3792;p197"/>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793" name="Google Shape;3793;p197"/>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794" name="Google Shape;3794;p197"/>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795" name="Google Shape;3795;p197"/>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796" name="Google Shape;3796;p197"/>
          <p:cNvSpPr txBox="1">
            <a:spLocks noGrp="1"/>
          </p:cNvSpPr>
          <p:nvPr>
            <p:ph type="subTitle" idx="1"/>
          </p:nvPr>
        </p:nvSpPr>
        <p:spPr>
          <a:xfrm>
            <a:off x="6431335" y="2252200"/>
            <a:ext cx="4450000" cy="198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797" name="Google Shape;3797;p197"/>
          <p:cNvSpPr txBox="1">
            <a:spLocks noGrp="1"/>
          </p:cNvSpPr>
          <p:nvPr>
            <p:ph type="subTitle" idx="2"/>
          </p:nvPr>
        </p:nvSpPr>
        <p:spPr>
          <a:xfrm>
            <a:off x="6431335" y="5032000"/>
            <a:ext cx="44500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1pPr>
            <a:lvl2pPr lvl="1" rtl="0">
              <a:spcBef>
                <a:spcPts val="0"/>
              </a:spcBef>
              <a:spcAft>
                <a:spcPts val="0"/>
              </a:spcAft>
              <a:buSzPts val="1000"/>
              <a:buFont typeface="Roboto Mono"/>
              <a:buNone/>
              <a:defRPr sz="1333">
                <a:latin typeface="Roboto Mono"/>
                <a:ea typeface="Roboto Mono"/>
                <a:cs typeface="Roboto Mono"/>
                <a:sym typeface="Roboto Mono"/>
              </a:defRPr>
            </a:lvl2pPr>
            <a:lvl3pPr lvl="2" rtl="0">
              <a:spcBef>
                <a:spcPts val="0"/>
              </a:spcBef>
              <a:spcAft>
                <a:spcPts val="0"/>
              </a:spcAft>
              <a:buSzPts val="1000"/>
              <a:buFont typeface="Roboto Mono"/>
              <a:buNone/>
              <a:defRPr sz="1333">
                <a:latin typeface="Roboto Mono"/>
                <a:ea typeface="Roboto Mono"/>
                <a:cs typeface="Roboto Mono"/>
                <a:sym typeface="Roboto Mono"/>
              </a:defRPr>
            </a:lvl3pPr>
            <a:lvl4pPr lvl="3" rtl="0">
              <a:spcBef>
                <a:spcPts val="0"/>
              </a:spcBef>
              <a:spcAft>
                <a:spcPts val="0"/>
              </a:spcAft>
              <a:buSzPts val="1000"/>
              <a:buFont typeface="Roboto Mono"/>
              <a:buNone/>
              <a:defRPr sz="1333">
                <a:latin typeface="Roboto Mono"/>
                <a:ea typeface="Roboto Mono"/>
                <a:cs typeface="Roboto Mono"/>
                <a:sym typeface="Roboto Mono"/>
              </a:defRPr>
            </a:lvl4pPr>
            <a:lvl5pPr lvl="4" rtl="0">
              <a:spcBef>
                <a:spcPts val="0"/>
              </a:spcBef>
              <a:spcAft>
                <a:spcPts val="0"/>
              </a:spcAft>
              <a:buSzPts val="1000"/>
              <a:buFont typeface="Roboto Mono"/>
              <a:buNone/>
              <a:defRPr sz="1333">
                <a:latin typeface="Roboto Mono"/>
                <a:ea typeface="Roboto Mono"/>
                <a:cs typeface="Roboto Mono"/>
                <a:sym typeface="Roboto Mono"/>
              </a:defRPr>
            </a:lvl5pPr>
            <a:lvl6pPr lvl="5" rtl="0">
              <a:spcBef>
                <a:spcPts val="0"/>
              </a:spcBef>
              <a:spcAft>
                <a:spcPts val="0"/>
              </a:spcAft>
              <a:buSzPts val="1000"/>
              <a:buFont typeface="Roboto Mono"/>
              <a:buNone/>
              <a:defRPr sz="1333">
                <a:latin typeface="Roboto Mono"/>
                <a:ea typeface="Roboto Mono"/>
                <a:cs typeface="Roboto Mono"/>
                <a:sym typeface="Roboto Mono"/>
              </a:defRPr>
            </a:lvl6pPr>
            <a:lvl7pPr lvl="6" rtl="0">
              <a:spcBef>
                <a:spcPts val="0"/>
              </a:spcBef>
              <a:spcAft>
                <a:spcPts val="0"/>
              </a:spcAft>
              <a:buSzPts val="1000"/>
              <a:buFont typeface="Roboto Mono"/>
              <a:buNone/>
              <a:defRPr sz="1333">
                <a:latin typeface="Roboto Mono"/>
                <a:ea typeface="Roboto Mono"/>
                <a:cs typeface="Roboto Mono"/>
                <a:sym typeface="Roboto Mono"/>
              </a:defRPr>
            </a:lvl7pPr>
            <a:lvl8pPr lvl="7" rtl="0">
              <a:spcBef>
                <a:spcPts val="0"/>
              </a:spcBef>
              <a:spcAft>
                <a:spcPts val="0"/>
              </a:spcAft>
              <a:buSzPts val="1000"/>
              <a:buFont typeface="Roboto Mono"/>
              <a:buNone/>
              <a:defRPr sz="1333">
                <a:latin typeface="Roboto Mono"/>
                <a:ea typeface="Roboto Mono"/>
                <a:cs typeface="Roboto Mono"/>
                <a:sym typeface="Roboto Mono"/>
              </a:defRPr>
            </a:lvl8pPr>
            <a:lvl9pPr lvl="8" rtl="0">
              <a:spcBef>
                <a:spcPts val="0"/>
              </a:spcBef>
              <a:spcAft>
                <a:spcPts val="0"/>
              </a:spcAft>
              <a:buSzPts val="1000"/>
              <a:buFont typeface="Roboto Mono"/>
              <a:buNone/>
              <a:defRPr sz="1333">
                <a:latin typeface="Roboto Mono"/>
                <a:ea typeface="Roboto Mono"/>
                <a:cs typeface="Roboto Mono"/>
                <a:sym typeface="Roboto Mono"/>
              </a:defRPr>
            </a:lvl9pPr>
          </a:lstStyle>
          <a:p>
            <a:endParaRPr/>
          </a:p>
        </p:txBody>
      </p:sp>
      <p:sp>
        <p:nvSpPr>
          <p:cNvPr id="3798" name="Google Shape;3798;p197"/>
          <p:cNvSpPr/>
          <p:nvPr/>
        </p:nvSpPr>
        <p:spPr>
          <a:xfrm>
            <a:off x="1101067" y="990600"/>
            <a:ext cx="4876800" cy="4876800"/>
          </a:xfrm>
          <a:prstGeom prst="roundRect">
            <a:avLst>
              <a:gd name="adj" fmla="val 2079"/>
            </a:avLst>
          </a:prstGeom>
          <a:gradFill>
            <a:gsLst>
              <a:gs pos="0">
                <a:schemeClr val="accent1"/>
              </a:gs>
              <a:gs pos="47000">
                <a:schemeClr val="accent5"/>
              </a:gs>
              <a:gs pos="100000">
                <a:schemeClr val="accent2"/>
              </a:gs>
            </a:gsLst>
            <a:lin ang="8099331"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799" name="Google Shape;3799;p197"/>
          <p:cNvSpPr txBox="1"/>
          <p:nvPr/>
        </p:nvSpPr>
        <p:spPr>
          <a:xfrm>
            <a:off x="1364873" y="1037630"/>
            <a:ext cx="1335200" cy="1754198"/>
          </a:xfrm>
          <a:prstGeom prst="rect">
            <a:avLst/>
          </a:prstGeom>
          <a:noFill/>
          <a:ln>
            <a:noFill/>
          </a:ln>
        </p:spPr>
        <p:txBody>
          <a:bodyPr spcFirstLastPara="1" wrap="square" lIns="25400" tIns="25400" rIns="25400" bIns="25400" anchor="ctr" anchorCtr="0">
            <a:spAutoFit/>
          </a:bodyPr>
          <a:lstStyle/>
          <a:p>
            <a:pPr marL="0" marR="0" lvl="0" indent="0" algn="l" rtl="0">
              <a:lnSpc>
                <a:spcPct val="100000"/>
              </a:lnSpc>
              <a:spcBef>
                <a:spcPts val="0"/>
              </a:spcBef>
              <a:spcAft>
                <a:spcPts val="0"/>
              </a:spcAft>
              <a:buClr>
                <a:schemeClr val="accent3"/>
              </a:buClr>
              <a:buSzPts val="8300"/>
              <a:buFont typeface="Arial"/>
              <a:buNone/>
            </a:pPr>
            <a:r>
              <a:rPr lang="en" sz="11066" b="1" i="0" u="none" strike="noStrike" cap="none">
                <a:solidFill>
                  <a:schemeClr val="lt2"/>
                </a:solidFill>
                <a:latin typeface="Arial"/>
                <a:ea typeface="Arial"/>
                <a:cs typeface="Arial"/>
                <a:sym typeface="Arial"/>
              </a:rPr>
              <a:t>“</a:t>
            </a:r>
            <a:endParaRPr sz="667">
              <a:solidFill>
                <a:schemeClr val="lt2"/>
              </a:solidFill>
            </a:endParaRPr>
          </a:p>
        </p:txBody>
      </p:sp>
      <p:sp>
        <p:nvSpPr>
          <p:cNvPr id="3800" name="Google Shape;3800;p197"/>
          <p:cNvSpPr txBox="1">
            <a:spLocks noGrp="1"/>
          </p:cNvSpPr>
          <p:nvPr>
            <p:ph type="subTitle" idx="3"/>
          </p:nvPr>
        </p:nvSpPr>
        <p:spPr>
          <a:xfrm>
            <a:off x="1318268" y="2252200"/>
            <a:ext cx="4450000" cy="198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801" name="Google Shape;3801;p197"/>
          <p:cNvSpPr txBox="1">
            <a:spLocks noGrp="1"/>
          </p:cNvSpPr>
          <p:nvPr>
            <p:ph type="subTitle" idx="4"/>
          </p:nvPr>
        </p:nvSpPr>
        <p:spPr>
          <a:xfrm>
            <a:off x="1318268" y="5032000"/>
            <a:ext cx="44500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1pPr>
            <a:lvl2pPr lvl="1" rtl="0">
              <a:spcBef>
                <a:spcPts val="0"/>
              </a:spcBef>
              <a:spcAft>
                <a:spcPts val="0"/>
              </a:spcAft>
              <a:buSzPts val="1000"/>
              <a:buFont typeface="Roboto Mono"/>
              <a:buNone/>
              <a:defRPr sz="1333">
                <a:latin typeface="Roboto Mono"/>
                <a:ea typeface="Roboto Mono"/>
                <a:cs typeface="Roboto Mono"/>
                <a:sym typeface="Roboto Mono"/>
              </a:defRPr>
            </a:lvl2pPr>
            <a:lvl3pPr lvl="2" rtl="0">
              <a:spcBef>
                <a:spcPts val="0"/>
              </a:spcBef>
              <a:spcAft>
                <a:spcPts val="0"/>
              </a:spcAft>
              <a:buSzPts val="1000"/>
              <a:buFont typeface="Roboto Mono"/>
              <a:buNone/>
              <a:defRPr sz="1333">
                <a:latin typeface="Roboto Mono"/>
                <a:ea typeface="Roboto Mono"/>
                <a:cs typeface="Roboto Mono"/>
                <a:sym typeface="Roboto Mono"/>
              </a:defRPr>
            </a:lvl3pPr>
            <a:lvl4pPr lvl="3" rtl="0">
              <a:spcBef>
                <a:spcPts val="0"/>
              </a:spcBef>
              <a:spcAft>
                <a:spcPts val="0"/>
              </a:spcAft>
              <a:buSzPts val="1000"/>
              <a:buFont typeface="Roboto Mono"/>
              <a:buNone/>
              <a:defRPr sz="1333">
                <a:latin typeface="Roboto Mono"/>
                <a:ea typeface="Roboto Mono"/>
                <a:cs typeface="Roboto Mono"/>
                <a:sym typeface="Roboto Mono"/>
              </a:defRPr>
            </a:lvl4pPr>
            <a:lvl5pPr lvl="4" rtl="0">
              <a:spcBef>
                <a:spcPts val="0"/>
              </a:spcBef>
              <a:spcAft>
                <a:spcPts val="0"/>
              </a:spcAft>
              <a:buSzPts val="1000"/>
              <a:buFont typeface="Roboto Mono"/>
              <a:buNone/>
              <a:defRPr sz="1333">
                <a:latin typeface="Roboto Mono"/>
                <a:ea typeface="Roboto Mono"/>
                <a:cs typeface="Roboto Mono"/>
                <a:sym typeface="Roboto Mono"/>
              </a:defRPr>
            </a:lvl5pPr>
            <a:lvl6pPr lvl="5" rtl="0">
              <a:spcBef>
                <a:spcPts val="0"/>
              </a:spcBef>
              <a:spcAft>
                <a:spcPts val="0"/>
              </a:spcAft>
              <a:buSzPts val="1000"/>
              <a:buFont typeface="Roboto Mono"/>
              <a:buNone/>
              <a:defRPr sz="1333">
                <a:latin typeface="Roboto Mono"/>
                <a:ea typeface="Roboto Mono"/>
                <a:cs typeface="Roboto Mono"/>
                <a:sym typeface="Roboto Mono"/>
              </a:defRPr>
            </a:lvl6pPr>
            <a:lvl7pPr lvl="6" rtl="0">
              <a:spcBef>
                <a:spcPts val="0"/>
              </a:spcBef>
              <a:spcAft>
                <a:spcPts val="0"/>
              </a:spcAft>
              <a:buSzPts val="1000"/>
              <a:buFont typeface="Roboto Mono"/>
              <a:buNone/>
              <a:defRPr sz="1333">
                <a:latin typeface="Roboto Mono"/>
                <a:ea typeface="Roboto Mono"/>
                <a:cs typeface="Roboto Mono"/>
                <a:sym typeface="Roboto Mono"/>
              </a:defRPr>
            </a:lvl7pPr>
            <a:lvl8pPr lvl="7" rtl="0">
              <a:spcBef>
                <a:spcPts val="0"/>
              </a:spcBef>
              <a:spcAft>
                <a:spcPts val="0"/>
              </a:spcAft>
              <a:buSzPts val="1000"/>
              <a:buFont typeface="Roboto Mono"/>
              <a:buNone/>
              <a:defRPr sz="1333">
                <a:latin typeface="Roboto Mono"/>
                <a:ea typeface="Roboto Mono"/>
                <a:cs typeface="Roboto Mono"/>
                <a:sym typeface="Roboto Mono"/>
              </a:defRPr>
            </a:lvl8pPr>
            <a:lvl9pPr lvl="8" rtl="0">
              <a:spcBef>
                <a:spcPts val="0"/>
              </a:spcBef>
              <a:spcAft>
                <a:spcPts val="0"/>
              </a:spcAft>
              <a:buSzPts val="1000"/>
              <a:buFont typeface="Roboto Mono"/>
              <a:buNone/>
              <a:defRPr sz="1333">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61158536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matchingName="63. Two quotes">
  <p:cSld name="63. Two quotes">
    <p:spTree>
      <p:nvGrpSpPr>
        <p:cNvPr id="1" name="Shape 3802"/>
        <p:cNvGrpSpPr/>
        <p:nvPr/>
      </p:nvGrpSpPr>
      <p:grpSpPr>
        <a:xfrm>
          <a:off x="0" y="0"/>
          <a:ext cx="0" cy="0"/>
          <a:chOff x="0" y="0"/>
          <a:chExt cx="0" cy="0"/>
        </a:xfrm>
      </p:grpSpPr>
      <p:sp>
        <p:nvSpPr>
          <p:cNvPr id="3803" name="Google Shape;3803;p198"/>
          <p:cNvSpPr/>
          <p:nvPr/>
        </p:nvSpPr>
        <p:spPr>
          <a:xfrm>
            <a:off x="6214133" y="990600"/>
            <a:ext cx="4876800" cy="4876800"/>
          </a:xfrm>
          <a:prstGeom prst="roundRect">
            <a:avLst>
              <a:gd name="adj" fmla="val 2079"/>
            </a:avLst>
          </a:prstGeom>
          <a:gradFill>
            <a:gsLst>
              <a:gs pos="0">
                <a:schemeClr val="accent3"/>
              </a:gs>
              <a:gs pos="61000">
                <a:schemeClr val="accent6"/>
              </a:gs>
              <a:gs pos="100000">
                <a:schemeClr val="accent6"/>
              </a:gs>
            </a:gsLst>
            <a:lin ang="8099331"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804" name="Google Shape;3804;p198"/>
          <p:cNvSpPr txBox="1"/>
          <p:nvPr/>
        </p:nvSpPr>
        <p:spPr>
          <a:xfrm>
            <a:off x="6477940" y="1037630"/>
            <a:ext cx="1335200" cy="1754198"/>
          </a:xfrm>
          <a:prstGeom prst="rect">
            <a:avLst/>
          </a:prstGeom>
          <a:noFill/>
          <a:ln>
            <a:noFill/>
          </a:ln>
        </p:spPr>
        <p:txBody>
          <a:bodyPr spcFirstLastPara="1" wrap="square" lIns="25400" tIns="25400" rIns="25400" bIns="25400" anchor="ctr" anchorCtr="0">
            <a:spAutoFit/>
          </a:bodyPr>
          <a:lstStyle/>
          <a:p>
            <a:pPr marL="0" marR="0" lvl="0" indent="0" algn="l" rtl="0">
              <a:lnSpc>
                <a:spcPct val="100000"/>
              </a:lnSpc>
              <a:spcBef>
                <a:spcPts val="0"/>
              </a:spcBef>
              <a:spcAft>
                <a:spcPts val="0"/>
              </a:spcAft>
              <a:buClr>
                <a:schemeClr val="accent3"/>
              </a:buClr>
              <a:buSzPts val="8300"/>
              <a:buFont typeface="Arial"/>
              <a:buNone/>
            </a:pPr>
            <a:r>
              <a:rPr lang="en" sz="11066" b="1" i="0" u="none" strike="noStrike" cap="none">
                <a:solidFill>
                  <a:schemeClr val="lt2"/>
                </a:solidFill>
                <a:latin typeface="Arial"/>
                <a:ea typeface="Arial"/>
                <a:cs typeface="Arial"/>
                <a:sym typeface="Arial"/>
              </a:rPr>
              <a:t>“</a:t>
            </a:r>
            <a:endParaRPr sz="667">
              <a:solidFill>
                <a:schemeClr val="lt2"/>
              </a:solidFill>
            </a:endParaRPr>
          </a:p>
        </p:txBody>
      </p:sp>
      <p:grpSp>
        <p:nvGrpSpPr>
          <p:cNvPr id="3805" name="Google Shape;3805;p198"/>
          <p:cNvGrpSpPr/>
          <p:nvPr/>
        </p:nvGrpSpPr>
        <p:grpSpPr>
          <a:xfrm>
            <a:off x="12253600" y="1"/>
            <a:ext cx="3438989" cy="3424452"/>
            <a:chOff x="22170399" y="777240"/>
            <a:chExt cx="6877978" cy="6848903"/>
          </a:xfrm>
        </p:grpSpPr>
        <p:grpSp>
          <p:nvGrpSpPr>
            <p:cNvPr id="3806" name="Google Shape;3806;p198"/>
            <p:cNvGrpSpPr/>
            <p:nvPr/>
          </p:nvGrpSpPr>
          <p:grpSpPr>
            <a:xfrm>
              <a:off x="22170399" y="777240"/>
              <a:ext cx="6877978" cy="6848903"/>
              <a:chOff x="22155159" y="0"/>
              <a:chExt cx="6877978" cy="6848903"/>
            </a:xfrm>
          </p:grpSpPr>
          <p:sp>
            <p:nvSpPr>
              <p:cNvPr id="3807" name="Google Shape;3807;p198"/>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808" name="Google Shape;3808;p198"/>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809" name="Google Shape;3809;p198"/>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810" name="Google Shape;3810;p198"/>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811" name="Google Shape;3811;p198"/>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812" name="Google Shape;3812;p198"/>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813" name="Google Shape;3813;p198"/>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814" name="Google Shape;3814;p198"/>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815" name="Google Shape;3815;p198"/>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816" name="Google Shape;3816;p198"/>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817" name="Google Shape;3817;p198"/>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818" name="Google Shape;3818;p198"/>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819" name="Google Shape;3819;p198"/>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820" name="Google Shape;3820;p198"/>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821" name="Google Shape;3821;p198"/>
          <p:cNvSpPr txBox="1">
            <a:spLocks noGrp="1"/>
          </p:cNvSpPr>
          <p:nvPr>
            <p:ph type="subTitle" idx="1"/>
          </p:nvPr>
        </p:nvSpPr>
        <p:spPr>
          <a:xfrm>
            <a:off x="6431335" y="2252200"/>
            <a:ext cx="4450000" cy="198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822" name="Google Shape;3822;p198"/>
          <p:cNvSpPr txBox="1">
            <a:spLocks noGrp="1"/>
          </p:cNvSpPr>
          <p:nvPr>
            <p:ph type="subTitle" idx="2"/>
          </p:nvPr>
        </p:nvSpPr>
        <p:spPr>
          <a:xfrm>
            <a:off x="6431335" y="5032000"/>
            <a:ext cx="44500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1pPr>
            <a:lvl2pPr lvl="1" rtl="0">
              <a:spcBef>
                <a:spcPts val="0"/>
              </a:spcBef>
              <a:spcAft>
                <a:spcPts val="0"/>
              </a:spcAft>
              <a:buSzPts val="1000"/>
              <a:buFont typeface="Roboto Mono"/>
              <a:buNone/>
              <a:defRPr sz="1333">
                <a:latin typeface="Roboto Mono"/>
                <a:ea typeface="Roboto Mono"/>
                <a:cs typeface="Roboto Mono"/>
                <a:sym typeface="Roboto Mono"/>
              </a:defRPr>
            </a:lvl2pPr>
            <a:lvl3pPr lvl="2" rtl="0">
              <a:spcBef>
                <a:spcPts val="0"/>
              </a:spcBef>
              <a:spcAft>
                <a:spcPts val="0"/>
              </a:spcAft>
              <a:buSzPts val="1000"/>
              <a:buFont typeface="Roboto Mono"/>
              <a:buNone/>
              <a:defRPr sz="1333">
                <a:latin typeface="Roboto Mono"/>
                <a:ea typeface="Roboto Mono"/>
                <a:cs typeface="Roboto Mono"/>
                <a:sym typeface="Roboto Mono"/>
              </a:defRPr>
            </a:lvl3pPr>
            <a:lvl4pPr lvl="3" rtl="0">
              <a:spcBef>
                <a:spcPts val="0"/>
              </a:spcBef>
              <a:spcAft>
                <a:spcPts val="0"/>
              </a:spcAft>
              <a:buSzPts val="1000"/>
              <a:buFont typeface="Roboto Mono"/>
              <a:buNone/>
              <a:defRPr sz="1333">
                <a:latin typeface="Roboto Mono"/>
                <a:ea typeface="Roboto Mono"/>
                <a:cs typeface="Roboto Mono"/>
                <a:sym typeface="Roboto Mono"/>
              </a:defRPr>
            </a:lvl4pPr>
            <a:lvl5pPr lvl="4" rtl="0">
              <a:spcBef>
                <a:spcPts val="0"/>
              </a:spcBef>
              <a:spcAft>
                <a:spcPts val="0"/>
              </a:spcAft>
              <a:buSzPts val="1000"/>
              <a:buFont typeface="Roboto Mono"/>
              <a:buNone/>
              <a:defRPr sz="1333">
                <a:latin typeface="Roboto Mono"/>
                <a:ea typeface="Roboto Mono"/>
                <a:cs typeface="Roboto Mono"/>
                <a:sym typeface="Roboto Mono"/>
              </a:defRPr>
            </a:lvl5pPr>
            <a:lvl6pPr lvl="5" rtl="0">
              <a:spcBef>
                <a:spcPts val="0"/>
              </a:spcBef>
              <a:spcAft>
                <a:spcPts val="0"/>
              </a:spcAft>
              <a:buSzPts val="1000"/>
              <a:buFont typeface="Roboto Mono"/>
              <a:buNone/>
              <a:defRPr sz="1333">
                <a:latin typeface="Roboto Mono"/>
                <a:ea typeface="Roboto Mono"/>
                <a:cs typeface="Roboto Mono"/>
                <a:sym typeface="Roboto Mono"/>
              </a:defRPr>
            </a:lvl6pPr>
            <a:lvl7pPr lvl="6" rtl="0">
              <a:spcBef>
                <a:spcPts val="0"/>
              </a:spcBef>
              <a:spcAft>
                <a:spcPts val="0"/>
              </a:spcAft>
              <a:buSzPts val="1000"/>
              <a:buFont typeface="Roboto Mono"/>
              <a:buNone/>
              <a:defRPr sz="1333">
                <a:latin typeface="Roboto Mono"/>
                <a:ea typeface="Roboto Mono"/>
                <a:cs typeface="Roboto Mono"/>
                <a:sym typeface="Roboto Mono"/>
              </a:defRPr>
            </a:lvl7pPr>
            <a:lvl8pPr lvl="7" rtl="0">
              <a:spcBef>
                <a:spcPts val="0"/>
              </a:spcBef>
              <a:spcAft>
                <a:spcPts val="0"/>
              </a:spcAft>
              <a:buSzPts val="1000"/>
              <a:buFont typeface="Roboto Mono"/>
              <a:buNone/>
              <a:defRPr sz="1333">
                <a:latin typeface="Roboto Mono"/>
                <a:ea typeface="Roboto Mono"/>
                <a:cs typeface="Roboto Mono"/>
                <a:sym typeface="Roboto Mono"/>
              </a:defRPr>
            </a:lvl8pPr>
            <a:lvl9pPr lvl="8" rtl="0">
              <a:spcBef>
                <a:spcPts val="0"/>
              </a:spcBef>
              <a:spcAft>
                <a:spcPts val="0"/>
              </a:spcAft>
              <a:buSzPts val="1000"/>
              <a:buFont typeface="Roboto Mono"/>
              <a:buNone/>
              <a:defRPr sz="1333">
                <a:latin typeface="Roboto Mono"/>
                <a:ea typeface="Roboto Mono"/>
                <a:cs typeface="Roboto Mono"/>
                <a:sym typeface="Roboto Mono"/>
              </a:defRPr>
            </a:lvl9pPr>
          </a:lstStyle>
          <a:p>
            <a:endParaRPr/>
          </a:p>
        </p:txBody>
      </p:sp>
      <p:sp>
        <p:nvSpPr>
          <p:cNvPr id="3823" name="Google Shape;3823;p198"/>
          <p:cNvSpPr/>
          <p:nvPr/>
        </p:nvSpPr>
        <p:spPr>
          <a:xfrm>
            <a:off x="1101067" y="990600"/>
            <a:ext cx="4876800" cy="4876800"/>
          </a:xfrm>
          <a:prstGeom prst="roundRect">
            <a:avLst>
              <a:gd name="adj" fmla="val 2079"/>
            </a:avLst>
          </a:prstGeom>
          <a:gradFill>
            <a:gsLst>
              <a:gs pos="0">
                <a:schemeClr val="accent6"/>
              </a:gs>
              <a:gs pos="100000">
                <a:schemeClr val="accent2"/>
              </a:gs>
            </a:gsLst>
            <a:lin ang="8099331"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3824" name="Google Shape;3824;p198"/>
          <p:cNvSpPr txBox="1"/>
          <p:nvPr/>
        </p:nvSpPr>
        <p:spPr>
          <a:xfrm>
            <a:off x="1364873" y="1037630"/>
            <a:ext cx="1335200" cy="1754198"/>
          </a:xfrm>
          <a:prstGeom prst="rect">
            <a:avLst/>
          </a:prstGeom>
          <a:noFill/>
          <a:ln>
            <a:noFill/>
          </a:ln>
        </p:spPr>
        <p:txBody>
          <a:bodyPr spcFirstLastPara="1" wrap="square" lIns="25400" tIns="25400" rIns="25400" bIns="25400" anchor="ctr" anchorCtr="0">
            <a:spAutoFit/>
          </a:bodyPr>
          <a:lstStyle/>
          <a:p>
            <a:pPr marL="0" marR="0" lvl="0" indent="0" algn="l" rtl="0">
              <a:lnSpc>
                <a:spcPct val="100000"/>
              </a:lnSpc>
              <a:spcBef>
                <a:spcPts val="0"/>
              </a:spcBef>
              <a:spcAft>
                <a:spcPts val="0"/>
              </a:spcAft>
              <a:buClr>
                <a:schemeClr val="accent3"/>
              </a:buClr>
              <a:buSzPts val="8300"/>
              <a:buFont typeface="Arial"/>
              <a:buNone/>
            </a:pPr>
            <a:r>
              <a:rPr lang="en" sz="11066" b="1" i="0" u="none" strike="noStrike" cap="none">
                <a:solidFill>
                  <a:schemeClr val="lt2"/>
                </a:solidFill>
                <a:latin typeface="Arial"/>
                <a:ea typeface="Arial"/>
                <a:cs typeface="Arial"/>
                <a:sym typeface="Arial"/>
              </a:rPr>
              <a:t>“</a:t>
            </a:r>
            <a:endParaRPr sz="667">
              <a:solidFill>
                <a:schemeClr val="lt2"/>
              </a:solidFill>
            </a:endParaRPr>
          </a:p>
        </p:txBody>
      </p:sp>
      <p:sp>
        <p:nvSpPr>
          <p:cNvPr id="3825" name="Google Shape;3825;p198"/>
          <p:cNvSpPr txBox="1">
            <a:spLocks noGrp="1"/>
          </p:cNvSpPr>
          <p:nvPr>
            <p:ph type="subTitle" idx="3"/>
          </p:nvPr>
        </p:nvSpPr>
        <p:spPr>
          <a:xfrm>
            <a:off x="1318268" y="2252200"/>
            <a:ext cx="4450000" cy="1987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826" name="Google Shape;3826;p198"/>
          <p:cNvSpPr txBox="1">
            <a:spLocks noGrp="1"/>
          </p:cNvSpPr>
          <p:nvPr>
            <p:ph type="subTitle" idx="4"/>
          </p:nvPr>
        </p:nvSpPr>
        <p:spPr>
          <a:xfrm>
            <a:off x="1318268" y="5032000"/>
            <a:ext cx="44500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000"/>
              <a:buFont typeface="Roboto Mono"/>
              <a:buNone/>
              <a:defRPr sz="1333">
                <a:solidFill>
                  <a:schemeClr val="lt1"/>
                </a:solidFill>
                <a:latin typeface="Roboto Mono"/>
                <a:ea typeface="Roboto Mono"/>
                <a:cs typeface="Roboto Mono"/>
                <a:sym typeface="Roboto Mono"/>
              </a:defRPr>
            </a:lvl1pPr>
            <a:lvl2pPr lvl="1" rtl="0">
              <a:spcBef>
                <a:spcPts val="0"/>
              </a:spcBef>
              <a:spcAft>
                <a:spcPts val="0"/>
              </a:spcAft>
              <a:buSzPts val="1000"/>
              <a:buFont typeface="Roboto Mono"/>
              <a:buNone/>
              <a:defRPr sz="1333">
                <a:latin typeface="Roboto Mono"/>
                <a:ea typeface="Roboto Mono"/>
                <a:cs typeface="Roboto Mono"/>
                <a:sym typeface="Roboto Mono"/>
              </a:defRPr>
            </a:lvl2pPr>
            <a:lvl3pPr lvl="2" rtl="0">
              <a:spcBef>
                <a:spcPts val="0"/>
              </a:spcBef>
              <a:spcAft>
                <a:spcPts val="0"/>
              </a:spcAft>
              <a:buSzPts val="1000"/>
              <a:buFont typeface="Roboto Mono"/>
              <a:buNone/>
              <a:defRPr sz="1333">
                <a:latin typeface="Roboto Mono"/>
                <a:ea typeface="Roboto Mono"/>
                <a:cs typeface="Roboto Mono"/>
                <a:sym typeface="Roboto Mono"/>
              </a:defRPr>
            </a:lvl3pPr>
            <a:lvl4pPr lvl="3" rtl="0">
              <a:spcBef>
                <a:spcPts val="0"/>
              </a:spcBef>
              <a:spcAft>
                <a:spcPts val="0"/>
              </a:spcAft>
              <a:buSzPts val="1000"/>
              <a:buFont typeface="Roboto Mono"/>
              <a:buNone/>
              <a:defRPr sz="1333">
                <a:latin typeface="Roboto Mono"/>
                <a:ea typeface="Roboto Mono"/>
                <a:cs typeface="Roboto Mono"/>
                <a:sym typeface="Roboto Mono"/>
              </a:defRPr>
            </a:lvl4pPr>
            <a:lvl5pPr lvl="4" rtl="0">
              <a:spcBef>
                <a:spcPts val="0"/>
              </a:spcBef>
              <a:spcAft>
                <a:spcPts val="0"/>
              </a:spcAft>
              <a:buSzPts val="1000"/>
              <a:buFont typeface="Roboto Mono"/>
              <a:buNone/>
              <a:defRPr sz="1333">
                <a:latin typeface="Roboto Mono"/>
                <a:ea typeface="Roboto Mono"/>
                <a:cs typeface="Roboto Mono"/>
                <a:sym typeface="Roboto Mono"/>
              </a:defRPr>
            </a:lvl5pPr>
            <a:lvl6pPr lvl="5" rtl="0">
              <a:spcBef>
                <a:spcPts val="0"/>
              </a:spcBef>
              <a:spcAft>
                <a:spcPts val="0"/>
              </a:spcAft>
              <a:buSzPts val="1000"/>
              <a:buFont typeface="Roboto Mono"/>
              <a:buNone/>
              <a:defRPr sz="1333">
                <a:latin typeface="Roboto Mono"/>
                <a:ea typeface="Roboto Mono"/>
                <a:cs typeface="Roboto Mono"/>
                <a:sym typeface="Roboto Mono"/>
              </a:defRPr>
            </a:lvl6pPr>
            <a:lvl7pPr lvl="6" rtl="0">
              <a:spcBef>
                <a:spcPts val="0"/>
              </a:spcBef>
              <a:spcAft>
                <a:spcPts val="0"/>
              </a:spcAft>
              <a:buSzPts val="1000"/>
              <a:buFont typeface="Roboto Mono"/>
              <a:buNone/>
              <a:defRPr sz="1333">
                <a:latin typeface="Roboto Mono"/>
                <a:ea typeface="Roboto Mono"/>
                <a:cs typeface="Roboto Mono"/>
                <a:sym typeface="Roboto Mono"/>
              </a:defRPr>
            </a:lvl7pPr>
            <a:lvl8pPr lvl="7" rtl="0">
              <a:spcBef>
                <a:spcPts val="0"/>
              </a:spcBef>
              <a:spcAft>
                <a:spcPts val="0"/>
              </a:spcAft>
              <a:buSzPts val="1000"/>
              <a:buFont typeface="Roboto Mono"/>
              <a:buNone/>
              <a:defRPr sz="1333">
                <a:latin typeface="Roboto Mono"/>
                <a:ea typeface="Roboto Mono"/>
                <a:cs typeface="Roboto Mono"/>
                <a:sym typeface="Roboto Mono"/>
              </a:defRPr>
            </a:lvl8pPr>
            <a:lvl9pPr lvl="8" rtl="0">
              <a:spcBef>
                <a:spcPts val="0"/>
              </a:spcBef>
              <a:spcAft>
                <a:spcPts val="0"/>
              </a:spcAft>
              <a:buSzPts val="1000"/>
              <a:buFont typeface="Roboto Mono"/>
              <a:buNone/>
              <a:defRPr sz="1333">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2652192802"/>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matchingName="64. One tweet">
  <p:cSld name="64. One tweet">
    <p:spTree>
      <p:nvGrpSpPr>
        <p:cNvPr id="1" name="Shape 3827"/>
        <p:cNvGrpSpPr/>
        <p:nvPr/>
      </p:nvGrpSpPr>
      <p:grpSpPr>
        <a:xfrm>
          <a:off x="0" y="0"/>
          <a:ext cx="0" cy="0"/>
          <a:chOff x="0" y="0"/>
          <a:chExt cx="0" cy="0"/>
        </a:xfrm>
      </p:grpSpPr>
      <p:pic>
        <p:nvPicPr>
          <p:cNvPr id="3828" name="Google Shape;3828;p199" descr="twitter-seeklogo.com 1.png"/>
          <p:cNvPicPr preferRelativeResize="0"/>
          <p:nvPr/>
        </p:nvPicPr>
        <p:blipFill rotWithShape="1">
          <a:blip r:embed="rId2">
            <a:alphaModFix/>
          </a:blip>
          <a:srcRect/>
          <a:stretch/>
        </p:blipFill>
        <p:spPr>
          <a:xfrm>
            <a:off x="3148456" y="2573423"/>
            <a:ext cx="369147" cy="301408"/>
          </a:xfrm>
          <a:prstGeom prst="rect">
            <a:avLst/>
          </a:prstGeom>
          <a:noFill/>
          <a:ln>
            <a:noFill/>
          </a:ln>
        </p:spPr>
      </p:pic>
      <p:grpSp>
        <p:nvGrpSpPr>
          <p:cNvPr id="3829" name="Google Shape;3829;p199"/>
          <p:cNvGrpSpPr/>
          <p:nvPr/>
        </p:nvGrpSpPr>
        <p:grpSpPr>
          <a:xfrm>
            <a:off x="12253600" y="1"/>
            <a:ext cx="3438989" cy="3424452"/>
            <a:chOff x="22170399" y="777240"/>
            <a:chExt cx="6877978" cy="6848903"/>
          </a:xfrm>
        </p:grpSpPr>
        <p:grpSp>
          <p:nvGrpSpPr>
            <p:cNvPr id="3830" name="Google Shape;3830;p199"/>
            <p:cNvGrpSpPr/>
            <p:nvPr/>
          </p:nvGrpSpPr>
          <p:grpSpPr>
            <a:xfrm>
              <a:off x="22170399" y="777240"/>
              <a:ext cx="6877978" cy="6848903"/>
              <a:chOff x="22155159" y="0"/>
              <a:chExt cx="6877978" cy="6848903"/>
            </a:xfrm>
          </p:grpSpPr>
          <p:sp>
            <p:nvSpPr>
              <p:cNvPr id="3831" name="Google Shape;3831;p199"/>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832" name="Google Shape;3832;p199"/>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833" name="Google Shape;3833;p199"/>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834" name="Google Shape;3834;p199"/>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835" name="Google Shape;3835;p199"/>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836" name="Google Shape;3836;p199"/>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837" name="Google Shape;3837;p199"/>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838" name="Google Shape;3838;p199"/>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839" name="Google Shape;3839;p199"/>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840" name="Google Shape;3840;p199"/>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841" name="Google Shape;3841;p199"/>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842" name="Google Shape;3842;p199"/>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843" name="Google Shape;3843;p199"/>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844" name="Google Shape;3844;p199"/>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845" name="Google Shape;3845;p199"/>
          <p:cNvSpPr txBox="1">
            <a:spLocks noGrp="1"/>
          </p:cNvSpPr>
          <p:nvPr>
            <p:ph type="subTitle" idx="1"/>
          </p:nvPr>
        </p:nvSpPr>
        <p:spPr>
          <a:xfrm>
            <a:off x="3145533" y="3048000"/>
            <a:ext cx="5888800" cy="98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b="1"/>
            </a:lvl2pPr>
            <a:lvl3pPr lvl="2" rtl="0">
              <a:spcBef>
                <a:spcPts val="0"/>
              </a:spcBef>
              <a:spcAft>
                <a:spcPts val="0"/>
              </a:spcAft>
              <a:buSzPts val="1600"/>
              <a:buNone/>
              <a:defRPr sz="2133" b="1"/>
            </a:lvl3pPr>
            <a:lvl4pPr lvl="3" rtl="0">
              <a:spcBef>
                <a:spcPts val="0"/>
              </a:spcBef>
              <a:spcAft>
                <a:spcPts val="0"/>
              </a:spcAft>
              <a:buSzPts val="1600"/>
              <a:buNone/>
              <a:defRPr sz="2133" b="1"/>
            </a:lvl4pPr>
            <a:lvl5pPr lvl="4" rtl="0">
              <a:spcBef>
                <a:spcPts val="0"/>
              </a:spcBef>
              <a:spcAft>
                <a:spcPts val="0"/>
              </a:spcAft>
              <a:buSzPts val="1600"/>
              <a:buNone/>
              <a:defRPr sz="2133" b="1"/>
            </a:lvl5pPr>
            <a:lvl6pPr lvl="5" rtl="0">
              <a:spcBef>
                <a:spcPts val="0"/>
              </a:spcBef>
              <a:spcAft>
                <a:spcPts val="0"/>
              </a:spcAft>
              <a:buSzPts val="1600"/>
              <a:buNone/>
              <a:defRPr sz="2133" b="1"/>
            </a:lvl6pPr>
            <a:lvl7pPr lvl="6" rtl="0">
              <a:spcBef>
                <a:spcPts val="0"/>
              </a:spcBef>
              <a:spcAft>
                <a:spcPts val="0"/>
              </a:spcAft>
              <a:buSzPts val="1600"/>
              <a:buNone/>
              <a:defRPr sz="2133" b="1"/>
            </a:lvl7pPr>
            <a:lvl8pPr lvl="7" rtl="0">
              <a:spcBef>
                <a:spcPts val="0"/>
              </a:spcBef>
              <a:spcAft>
                <a:spcPts val="0"/>
              </a:spcAft>
              <a:buSzPts val="1600"/>
              <a:buNone/>
              <a:defRPr sz="2133" b="1"/>
            </a:lvl8pPr>
            <a:lvl9pPr lvl="8" rtl="0">
              <a:spcBef>
                <a:spcPts val="0"/>
              </a:spcBef>
              <a:spcAft>
                <a:spcPts val="0"/>
              </a:spcAft>
              <a:buSzPts val="1600"/>
              <a:buNone/>
              <a:defRPr sz="2133" b="1"/>
            </a:lvl9pPr>
          </a:lstStyle>
          <a:p>
            <a:endParaRPr/>
          </a:p>
        </p:txBody>
      </p:sp>
      <p:sp>
        <p:nvSpPr>
          <p:cNvPr id="3846" name="Google Shape;3846;p199"/>
          <p:cNvSpPr txBox="1">
            <a:spLocks noGrp="1"/>
          </p:cNvSpPr>
          <p:nvPr>
            <p:ph type="subTitle" idx="2"/>
          </p:nvPr>
        </p:nvSpPr>
        <p:spPr>
          <a:xfrm>
            <a:off x="3145536" y="4133088"/>
            <a:ext cx="5888800" cy="219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Courier New"/>
              <a:buNone/>
              <a:defRPr sz="1333">
                <a:solidFill>
                  <a:schemeClr val="dk2"/>
                </a:solidFill>
                <a:latin typeface="Courier New"/>
                <a:ea typeface="Courier New"/>
                <a:cs typeface="Courier New"/>
                <a:sym typeface="Courier New"/>
              </a:defRPr>
            </a:lvl2pPr>
            <a:lvl3pPr lvl="2" rtl="0">
              <a:spcBef>
                <a:spcPts val="0"/>
              </a:spcBef>
              <a:spcAft>
                <a:spcPts val="0"/>
              </a:spcAft>
              <a:buClr>
                <a:schemeClr val="dk2"/>
              </a:buClr>
              <a:buSzPts val="1000"/>
              <a:buFont typeface="Courier New"/>
              <a:buNone/>
              <a:defRPr sz="1333">
                <a:solidFill>
                  <a:schemeClr val="dk2"/>
                </a:solidFill>
                <a:latin typeface="Courier New"/>
                <a:ea typeface="Courier New"/>
                <a:cs typeface="Courier New"/>
                <a:sym typeface="Courier New"/>
              </a:defRPr>
            </a:lvl3pPr>
            <a:lvl4pPr lvl="3" rtl="0">
              <a:spcBef>
                <a:spcPts val="0"/>
              </a:spcBef>
              <a:spcAft>
                <a:spcPts val="0"/>
              </a:spcAft>
              <a:buClr>
                <a:schemeClr val="dk2"/>
              </a:buClr>
              <a:buSzPts val="1000"/>
              <a:buFont typeface="Courier New"/>
              <a:buNone/>
              <a:defRPr sz="1333">
                <a:solidFill>
                  <a:schemeClr val="dk2"/>
                </a:solidFill>
                <a:latin typeface="Courier New"/>
                <a:ea typeface="Courier New"/>
                <a:cs typeface="Courier New"/>
                <a:sym typeface="Courier New"/>
              </a:defRPr>
            </a:lvl4pPr>
            <a:lvl5pPr lvl="4" rtl="0">
              <a:spcBef>
                <a:spcPts val="0"/>
              </a:spcBef>
              <a:spcAft>
                <a:spcPts val="0"/>
              </a:spcAft>
              <a:buClr>
                <a:schemeClr val="dk2"/>
              </a:buClr>
              <a:buSzPts val="1000"/>
              <a:buFont typeface="Courier New"/>
              <a:buNone/>
              <a:defRPr sz="1333">
                <a:solidFill>
                  <a:schemeClr val="dk2"/>
                </a:solidFill>
                <a:latin typeface="Courier New"/>
                <a:ea typeface="Courier New"/>
                <a:cs typeface="Courier New"/>
                <a:sym typeface="Courier New"/>
              </a:defRPr>
            </a:lvl5pPr>
            <a:lvl6pPr lvl="5" rtl="0">
              <a:spcBef>
                <a:spcPts val="0"/>
              </a:spcBef>
              <a:spcAft>
                <a:spcPts val="0"/>
              </a:spcAft>
              <a:buClr>
                <a:schemeClr val="dk2"/>
              </a:buClr>
              <a:buSzPts val="1000"/>
              <a:buFont typeface="Courier New"/>
              <a:buNone/>
              <a:defRPr sz="1333">
                <a:solidFill>
                  <a:schemeClr val="dk2"/>
                </a:solidFill>
                <a:latin typeface="Courier New"/>
                <a:ea typeface="Courier New"/>
                <a:cs typeface="Courier New"/>
                <a:sym typeface="Courier New"/>
              </a:defRPr>
            </a:lvl6pPr>
            <a:lvl7pPr lvl="6" rtl="0">
              <a:spcBef>
                <a:spcPts val="0"/>
              </a:spcBef>
              <a:spcAft>
                <a:spcPts val="0"/>
              </a:spcAft>
              <a:buClr>
                <a:schemeClr val="dk2"/>
              </a:buClr>
              <a:buSzPts val="1000"/>
              <a:buFont typeface="Courier New"/>
              <a:buNone/>
              <a:defRPr sz="1333">
                <a:solidFill>
                  <a:schemeClr val="dk2"/>
                </a:solidFill>
                <a:latin typeface="Courier New"/>
                <a:ea typeface="Courier New"/>
                <a:cs typeface="Courier New"/>
                <a:sym typeface="Courier New"/>
              </a:defRPr>
            </a:lvl7pPr>
            <a:lvl8pPr lvl="7" rtl="0">
              <a:spcBef>
                <a:spcPts val="0"/>
              </a:spcBef>
              <a:spcAft>
                <a:spcPts val="0"/>
              </a:spcAft>
              <a:buClr>
                <a:schemeClr val="dk2"/>
              </a:buClr>
              <a:buSzPts val="1000"/>
              <a:buFont typeface="Courier New"/>
              <a:buNone/>
              <a:defRPr sz="1333">
                <a:solidFill>
                  <a:schemeClr val="dk2"/>
                </a:solidFill>
                <a:latin typeface="Courier New"/>
                <a:ea typeface="Courier New"/>
                <a:cs typeface="Courier New"/>
                <a:sym typeface="Courier New"/>
              </a:defRPr>
            </a:lvl8pPr>
            <a:lvl9pPr lvl="8" rtl="0">
              <a:spcBef>
                <a:spcPts val="0"/>
              </a:spcBef>
              <a:spcAft>
                <a:spcPts val="0"/>
              </a:spcAft>
              <a:buClr>
                <a:schemeClr val="dk2"/>
              </a:buClr>
              <a:buSzPts val="1000"/>
              <a:buFont typeface="Courier New"/>
              <a:buNone/>
              <a:defRPr sz="1333">
                <a:solidFill>
                  <a:schemeClr val="dk2"/>
                </a:solidFill>
                <a:latin typeface="Courier New"/>
                <a:ea typeface="Courier New"/>
                <a:cs typeface="Courier New"/>
                <a:sym typeface="Courier New"/>
              </a:defRPr>
            </a:lvl9pPr>
          </a:lstStyle>
          <a:p>
            <a:endParaRPr/>
          </a:p>
        </p:txBody>
      </p:sp>
      <p:sp>
        <p:nvSpPr>
          <p:cNvPr id="3847" name="Google Shape;3847;p199"/>
          <p:cNvSpPr txBox="1">
            <a:spLocks noGrp="1"/>
          </p:cNvSpPr>
          <p:nvPr>
            <p:ph type="subTitle" idx="3"/>
          </p:nvPr>
        </p:nvSpPr>
        <p:spPr>
          <a:xfrm>
            <a:off x="3645400" y="2523733"/>
            <a:ext cx="5888800" cy="4144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2pPr>
            <a:lvl3pPr lvl="2"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3pPr>
            <a:lvl4pPr lvl="3"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4pPr>
            <a:lvl5pPr lvl="4"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5pPr>
            <a:lvl6pPr lvl="5"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6pPr>
            <a:lvl7pPr lvl="6"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7pPr>
            <a:lvl8pPr lvl="7"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8pPr>
            <a:lvl9pPr lvl="8" rtl="0">
              <a:spcBef>
                <a:spcPts val="0"/>
              </a:spcBef>
              <a:spcAft>
                <a:spcPts val="0"/>
              </a:spcAft>
              <a:buClr>
                <a:schemeClr val="dk2"/>
              </a:buClr>
              <a:buSzPts val="1600"/>
              <a:buFont typeface="Courier New"/>
              <a:buNone/>
              <a:defRPr sz="2133">
                <a:solidFill>
                  <a:schemeClr val="dk2"/>
                </a:solidFill>
                <a:latin typeface="Courier New"/>
                <a:ea typeface="Courier New"/>
                <a:cs typeface="Courier New"/>
                <a:sym typeface="Courier New"/>
              </a:defRPr>
            </a:lvl9pPr>
          </a:lstStyle>
          <a:p>
            <a:endParaRPr/>
          </a:p>
        </p:txBody>
      </p:sp>
    </p:spTree>
    <p:extLst>
      <p:ext uri="{BB962C8B-B14F-4D97-AF65-F5344CB8AC3E}">
        <p14:creationId xmlns:p14="http://schemas.microsoft.com/office/powerpoint/2010/main" val="3481299673"/>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matchingName="65. One tweet with photo">
  <p:cSld name="65. One tweet with photo">
    <p:spTree>
      <p:nvGrpSpPr>
        <p:cNvPr id="1" name="Shape 3848"/>
        <p:cNvGrpSpPr/>
        <p:nvPr/>
      </p:nvGrpSpPr>
      <p:grpSpPr>
        <a:xfrm>
          <a:off x="0" y="0"/>
          <a:ext cx="0" cy="0"/>
          <a:chOff x="0" y="0"/>
          <a:chExt cx="0" cy="0"/>
        </a:xfrm>
      </p:grpSpPr>
      <p:sp>
        <p:nvSpPr>
          <p:cNvPr id="3849" name="Google Shape;3849;p200"/>
          <p:cNvSpPr>
            <a:spLocks noGrp="1"/>
          </p:cNvSpPr>
          <p:nvPr>
            <p:ph type="pic" idx="2"/>
          </p:nvPr>
        </p:nvSpPr>
        <p:spPr>
          <a:xfrm>
            <a:off x="1548657" y="2194441"/>
            <a:ext cx="2286000" cy="2286000"/>
          </a:xfrm>
          <a:prstGeom prst="roundRect">
            <a:avLst>
              <a:gd name="adj" fmla="val 50000"/>
            </a:avLst>
          </a:prstGeom>
          <a:noFill/>
          <a:ln w="19050" cap="flat" cmpd="sng">
            <a:solidFill>
              <a:srgbClr val="A371F7"/>
            </a:solidFill>
            <a:prstDash val="solid"/>
            <a:round/>
            <a:headEnd type="none" w="sm" len="sm"/>
            <a:tailEnd type="none" w="sm" len="sm"/>
          </a:ln>
          <a:effectLst>
            <a:reflection stA="15000" endPos="25000" fadeDir="5400012" sy="-100000" algn="bl" rotWithShape="0"/>
          </a:effectLst>
        </p:spPr>
      </p:sp>
      <p:pic>
        <p:nvPicPr>
          <p:cNvPr id="3850" name="Google Shape;3850;p200" descr="twitter-seeklogo.com 1.png"/>
          <p:cNvPicPr preferRelativeResize="0"/>
          <p:nvPr/>
        </p:nvPicPr>
        <p:blipFill rotWithShape="1">
          <a:blip r:embed="rId2">
            <a:alphaModFix/>
          </a:blip>
          <a:srcRect/>
          <a:stretch/>
        </p:blipFill>
        <p:spPr>
          <a:xfrm>
            <a:off x="4463585" y="2519115"/>
            <a:ext cx="369147" cy="301408"/>
          </a:xfrm>
          <a:prstGeom prst="rect">
            <a:avLst/>
          </a:prstGeom>
          <a:noFill/>
          <a:ln>
            <a:noFill/>
          </a:ln>
        </p:spPr>
      </p:pic>
      <p:grpSp>
        <p:nvGrpSpPr>
          <p:cNvPr id="3851" name="Google Shape;3851;p200"/>
          <p:cNvGrpSpPr/>
          <p:nvPr/>
        </p:nvGrpSpPr>
        <p:grpSpPr>
          <a:xfrm>
            <a:off x="12253600" y="1"/>
            <a:ext cx="3438989" cy="3424452"/>
            <a:chOff x="22170399" y="777240"/>
            <a:chExt cx="6877978" cy="6848903"/>
          </a:xfrm>
        </p:grpSpPr>
        <p:grpSp>
          <p:nvGrpSpPr>
            <p:cNvPr id="3852" name="Google Shape;3852;p200"/>
            <p:cNvGrpSpPr/>
            <p:nvPr/>
          </p:nvGrpSpPr>
          <p:grpSpPr>
            <a:xfrm>
              <a:off x="22170399" y="777240"/>
              <a:ext cx="6877978" cy="6848903"/>
              <a:chOff x="22155159" y="0"/>
              <a:chExt cx="6877978" cy="6848903"/>
            </a:xfrm>
          </p:grpSpPr>
          <p:sp>
            <p:nvSpPr>
              <p:cNvPr id="3853" name="Google Shape;3853;p200"/>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854" name="Google Shape;3854;p200"/>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855" name="Google Shape;3855;p200"/>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856" name="Google Shape;3856;p200"/>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857" name="Google Shape;3857;p200"/>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858" name="Google Shape;3858;p200"/>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859" name="Google Shape;3859;p200"/>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860" name="Google Shape;3860;p200"/>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861" name="Google Shape;3861;p200"/>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862" name="Google Shape;3862;p200"/>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863" name="Google Shape;3863;p200"/>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864" name="Google Shape;3864;p200"/>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865" name="Google Shape;3865;p200"/>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866" name="Google Shape;3866;p200"/>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867" name="Google Shape;3867;p200"/>
          <p:cNvSpPr txBox="1">
            <a:spLocks noGrp="1"/>
          </p:cNvSpPr>
          <p:nvPr>
            <p:ph type="subTitle" idx="1"/>
          </p:nvPr>
        </p:nvSpPr>
        <p:spPr>
          <a:xfrm>
            <a:off x="4462272" y="2987040"/>
            <a:ext cx="5766800" cy="963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b="1"/>
            </a:lvl2pPr>
            <a:lvl3pPr lvl="2" rtl="0">
              <a:spcBef>
                <a:spcPts val="0"/>
              </a:spcBef>
              <a:spcAft>
                <a:spcPts val="0"/>
              </a:spcAft>
              <a:buSzPts val="1600"/>
              <a:buNone/>
              <a:defRPr sz="2133" b="1"/>
            </a:lvl3pPr>
            <a:lvl4pPr lvl="3" rtl="0">
              <a:spcBef>
                <a:spcPts val="0"/>
              </a:spcBef>
              <a:spcAft>
                <a:spcPts val="0"/>
              </a:spcAft>
              <a:buSzPts val="1600"/>
              <a:buNone/>
              <a:defRPr sz="2133" b="1"/>
            </a:lvl4pPr>
            <a:lvl5pPr lvl="4" rtl="0">
              <a:spcBef>
                <a:spcPts val="0"/>
              </a:spcBef>
              <a:spcAft>
                <a:spcPts val="0"/>
              </a:spcAft>
              <a:buSzPts val="1600"/>
              <a:buNone/>
              <a:defRPr sz="2133" b="1"/>
            </a:lvl5pPr>
            <a:lvl6pPr lvl="5" rtl="0">
              <a:spcBef>
                <a:spcPts val="0"/>
              </a:spcBef>
              <a:spcAft>
                <a:spcPts val="0"/>
              </a:spcAft>
              <a:buSzPts val="1600"/>
              <a:buNone/>
              <a:defRPr sz="2133" b="1"/>
            </a:lvl6pPr>
            <a:lvl7pPr lvl="6" rtl="0">
              <a:spcBef>
                <a:spcPts val="0"/>
              </a:spcBef>
              <a:spcAft>
                <a:spcPts val="0"/>
              </a:spcAft>
              <a:buSzPts val="1600"/>
              <a:buNone/>
              <a:defRPr sz="2133" b="1"/>
            </a:lvl7pPr>
            <a:lvl8pPr lvl="7" rtl="0">
              <a:spcBef>
                <a:spcPts val="0"/>
              </a:spcBef>
              <a:spcAft>
                <a:spcPts val="0"/>
              </a:spcAft>
              <a:buSzPts val="1600"/>
              <a:buNone/>
              <a:defRPr sz="2133" b="1"/>
            </a:lvl8pPr>
            <a:lvl9pPr lvl="8" rtl="0">
              <a:spcBef>
                <a:spcPts val="0"/>
              </a:spcBef>
              <a:spcAft>
                <a:spcPts val="0"/>
              </a:spcAft>
              <a:buSzPts val="1600"/>
              <a:buNone/>
              <a:defRPr sz="2133" b="1"/>
            </a:lvl9pPr>
          </a:lstStyle>
          <a:p>
            <a:endParaRPr/>
          </a:p>
        </p:txBody>
      </p:sp>
      <p:sp>
        <p:nvSpPr>
          <p:cNvPr id="3868" name="Google Shape;3868;p200"/>
          <p:cNvSpPr txBox="1">
            <a:spLocks noGrp="1"/>
          </p:cNvSpPr>
          <p:nvPr>
            <p:ph type="subTitle" idx="3"/>
          </p:nvPr>
        </p:nvSpPr>
        <p:spPr>
          <a:xfrm>
            <a:off x="4462272" y="4084320"/>
            <a:ext cx="5766800" cy="219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3869" name="Google Shape;3869;p200"/>
          <p:cNvSpPr txBox="1">
            <a:spLocks noGrp="1"/>
          </p:cNvSpPr>
          <p:nvPr>
            <p:ph type="subTitle" idx="4"/>
          </p:nvPr>
        </p:nvSpPr>
        <p:spPr>
          <a:xfrm>
            <a:off x="4962132" y="2438533"/>
            <a:ext cx="5824800" cy="4144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309261688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matchingName="66. Two tweets">
  <p:cSld name="66. Two tweets">
    <p:spTree>
      <p:nvGrpSpPr>
        <p:cNvPr id="1" name="Shape 3870"/>
        <p:cNvGrpSpPr/>
        <p:nvPr/>
      </p:nvGrpSpPr>
      <p:grpSpPr>
        <a:xfrm>
          <a:off x="0" y="0"/>
          <a:ext cx="0" cy="0"/>
          <a:chOff x="0" y="0"/>
          <a:chExt cx="0" cy="0"/>
        </a:xfrm>
      </p:grpSpPr>
      <p:pic>
        <p:nvPicPr>
          <p:cNvPr id="3871" name="Google Shape;3871;p201" descr="twitter-seeklogo.com 1.png"/>
          <p:cNvPicPr preferRelativeResize="0"/>
          <p:nvPr/>
        </p:nvPicPr>
        <p:blipFill rotWithShape="1">
          <a:blip r:embed="rId2">
            <a:alphaModFix/>
          </a:blip>
          <a:srcRect/>
          <a:stretch/>
        </p:blipFill>
        <p:spPr>
          <a:xfrm>
            <a:off x="898952" y="2452964"/>
            <a:ext cx="369147" cy="301408"/>
          </a:xfrm>
          <a:prstGeom prst="rect">
            <a:avLst/>
          </a:prstGeom>
          <a:noFill/>
          <a:ln>
            <a:noFill/>
          </a:ln>
        </p:spPr>
      </p:pic>
      <p:pic>
        <p:nvPicPr>
          <p:cNvPr id="3872" name="Google Shape;3872;p201" descr="twitter-seeklogo.com 1.png"/>
          <p:cNvPicPr preferRelativeResize="0"/>
          <p:nvPr/>
        </p:nvPicPr>
        <p:blipFill rotWithShape="1">
          <a:blip r:embed="rId2">
            <a:alphaModFix/>
          </a:blip>
          <a:srcRect/>
          <a:stretch/>
        </p:blipFill>
        <p:spPr>
          <a:xfrm>
            <a:off x="6580833" y="2452964"/>
            <a:ext cx="369147" cy="301408"/>
          </a:xfrm>
          <a:prstGeom prst="rect">
            <a:avLst/>
          </a:prstGeom>
          <a:noFill/>
          <a:ln>
            <a:noFill/>
          </a:ln>
        </p:spPr>
      </p:pic>
      <p:grpSp>
        <p:nvGrpSpPr>
          <p:cNvPr id="3873" name="Google Shape;3873;p201"/>
          <p:cNvGrpSpPr/>
          <p:nvPr/>
        </p:nvGrpSpPr>
        <p:grpSpPr>
          <a:xfrm>
            <a:off x="12253600" y="1"/>
            <a:ext cx="3438989" cy="3424452"/>
            <a:chOff x="22170399" y="777240"/>
            <a:chExt cx="6877978" cy="6848903"/>
          </a:xfrm>
        </p:grpSpPr>
        <p:grpSp>
          <p:nvGrpSpPr>
            <p:cNvPr id="3874" name="Google Shape;3874;p201"/>
            <p:cNvGrpSpPr/>
            <p:nvPr/>
          </p:nvGrpSpPr>
          <p:grpSpPr>
            <a:xfrm>
              <a:off x="22170399" y="777240"/>
              <a:ext cx="6877978" cy="6848903"/>
              <a:chOff x="22155159" y="0"/>
              <a:chExt cx="6877978" cy="6848903"/>
            </a:xfrm>
          </p:grpSpPr>
          <p:sp>
            <p:nvSpPr>
              <p:cNvPr id="3875" name="Google Shape;3875;p201"/>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876" name="Google Shape;3876;p201"/>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877" name="Google Shape;3877;p201"/>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878" name="Google Shape;3878;p201"/>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879" name="Google Shape;3879;p201"/>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880" name="Google Shape;3880;p201"/>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881" name="Google Shape;3881;p201"/>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882" name="Google Shape;3882;p201"/>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883" name="Google Shape;3883;p201"/>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884" name="Google Shape;3884;p201"/>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885" name="Google Shape;3885;p201"/>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886" name="Google Shape;3886;p201"/>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887" name="Google Shape;3887;p201"/>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888" name="Google Shape;3888;p201"/>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889" name="Google Shape;3889;p201"/>
          <p:cNvSpPr txBox="1">
            <a:spLocks noGrp="1"/>
          </p:cNvSpPr>
          <p:nvPr>
            <p:ph type="subTitle" idx="1"/>
          </p:nvPr>
        </p:nvSpPr>
        <p:spPr>
          <a:xfrm>
            <a:off x="902208" y="2926080"/>
            <a:ext cx="4681600" cy="121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890" name="Google Shape;3890;p201"/>
          <p:cNvSpPr txBox="1">
            <a:spLocks noGrp="1"/>
          </p:cNvSpPr>
          <p:nvPr>
            <p:ph type="subTitle" idx="2"/>
          </p:nvPr>
        </p:nvSpPr>
        <p:spPr>
          <a:xfrm>
            <a:off x="902208" y="4255008"/>
            <a:ext cx="4681600" cy="219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3891" name="Google Shape;3891;p201"/>
          <p:cNvSpPr txBox="1">
            <a:spLocks noGrp="1"/>
          </p:cNvSpPr>
          <p:nvPr>
            <p:ph type="subTitle" idx="3"/>
          </p:nvPr>
        </p:nvSpPr>
        <p:spPr>
          <a:xfrm>
            <a:off x="1414272" y="2401824"/>
            <a:ext cx="4194000" cy="4144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9pPr>
          </a:lstStyle>
          <a:p>
            <a:endParaRPr/>
          </a:p>
        </p:txBody>
      </p:sp>
      <p:sp>
        <p:nvSpPr>
          <p:cNvPr id="3892" name="Google Shape;3892;p201"/>
          <p:cNvSpPr txBox="1">
            <a:spLocks noGrp="1"/>
          </p:cNvSpPr>
          <p:nvPr>
            <p:ph type="subTitle" idx="4"/>
          </p:nvPr>
        </p:nvSpPr>
        <p:spPr>
          <a:xfrm>
            <a:off x="6667275" y="2916864"/>
            <a:ext cx="4681600" cy="121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3893" name="Google Shape;3893;p201"/>
          <p:cNvSpPr txBox="1">
            <a:spLocks noGrp="1"/>
          </p:cNvSpPr>
          <p:nvPr>
            <p:ph type="subTitle" idx="5"/>
          </p:nvPr>
        </p:nvSpPr>
        <p:spPr>
          <a:xfrm>
            <a:off x="6667275" y="4245792"/>
            <a:ext cx="4681600" cy="219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3894" name="Google Shape;3894;p201"/>
          <p:cNvSpPr txBox="1">
            <a:spLocks noGrp="1"/>
          </p:cNvSpPr>
          <p:nvPr>
            <p:ph type="subTitle" idx="6"/>
          </p:nvPr>
        </p:nvSpPr>
        <p:spPr>
          <a:xfrm>
            <a:off x="7179339" y="2392608"/>
            <a:ext cx="4194000" cy="4144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600"/>
              <a:buFont typeface="Roboto Mono"/>
              <a:buNone/>
              <a:defRPr sz="2133">
                <a:solidFill>
                  <a:schemeClr val="dk2"/>
                </a:solidFill>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32256020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5089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matchingName="67. Product x ROI">
  <p:cSld name="67. Product x ROI">
    <p:spTree>
      <p:nvGrpSpPr>
        <p:cNvPr id="1" name="Shape 3895"/>
        <p:cNvGrpSpPr/>
        <p:nvPr/>
      </p:nvGrpSpPr>
      <p:grpSpPr>
        <a:xfrm>
          <a:off x="0" y="0"/>
          <a:ext cx="0" cy="0"/>
          <a:chOff x="0" y="0"/>
          <a:chExt cx="0" cy="0"/>
        </a:xfrm>
      </p:grpSpPr>
      <p:grpSp>
        <p:nvGrpSpPr>
          <p:cNvPr id="3896" name="Google Shape;3896;p202"/>
          <p:cNvGrpSpPr/>
          <p:nvPr/>
        </p:nvGrpSpPr>
        <p:grpSpPr>
          <a:xfrm>
            <a:off x="12253600" y="1"/>
            <a:ext cx="3438989" cy="3424452"/>
            <a:chOff x="22170399" y="777240"/>
            <a:chExt cx="6877978" cy="6848903"/>
          </a:xfrm>
        </p:grpSpPr>
        <p:grpSp>
          <p:nvGrpSpPr>
            <p:cNvPr id="3897" name="Google Shape;3897;p202"/>
            <p:cNvGrpSpPr/>
            <p:nvPr/>
          </p:nvGrpSpPr>
          <p:grpSpPr>
            <a:xfrm>
              <a:off x="22170399" y="777240"/>
              <a:ext cx="6877978" cy="6848903"/>
              <a:chOff x="22155159" y="0"/>
              <a:chExt cx="6877978" cy="6848903"/>
            </a:xfrm>
          </p:grpSpPr>
          <p:sp>
            <p:nvSpPr>
              <p:cNvPr id="3898" name="Google Shape;3898;p202"/>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899" name="Google Shape;3899;p202"/>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900" name="Google Shape;3900;p202"/>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901" name="Google Shape;3901;p202"/>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902" name="Google Shape;3902;p202"/>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903" name="Google Shape;3903;p202"/>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904" name="Google Shape;3904;p202"/>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905" name="Google Shape;3905;p202"/>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906" name="Google Shape;3906;p202"/>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907" name="Google Shape;3907;p202"/>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908" name="Google Shape;3908;p202"/>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909" name="Google Shape;3909;p202"/>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910" name="Google Shape;3910;p202"/>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911" name="Google Shape;3911;p202"/>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912" name="Google Shape;3912;p202"/>
          <p:cNvSpPr txBox="1">
            <a:spLocks noGrp="1"/>
          </p:cNvSpPr>
          <p:nvPr>
            <p:ph type="title"/>
          </p:nvPr>
        </p:nvSpPr>
        <p:spPr>
          <a:xfrm>
            <a:off x="451104" y="512064"/>
            <a:ext cx="11424000" cy="890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3913" name="Google Shape;3913;p202"/>
          <p:cNvSpPr txBox="1">
            <a:spLocks noGrp="1"/>
          </p:cNvSpPr>
          <p:nvPr>
            <p:ph type="subTitle" idx="1"/>
          </p:nvPr>
        </p:nvSpPr>
        <p:spPr>
          <a:xfrm>
            <a:off x="451104" y="2682240"/>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3914" name="Google Shape;3914;p202"/>
          <p:cNvSpPr txBox="1">
            <a:spLocks noGrp="1"/>
          </p:cNvSpPr>
          <p:nvPr>
            <p:ph type="subTitle" idx="2"/>
          </p:nvPr>
        </p:nvSpPr>
        <p:spPr>
          <a:xfrm>
            <a:off x="451104" y="3108960"/>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915" name="Google Shape;3915;p202"/>
          <p:cNvSpPr txBox="1"/>
          <p:nvPr/>
        </p:nvSpPr>
        <p:spPr>
          <a:xfrm>
            <a:off x="3998976" y="2682240"/>
            <a:ext cx="365600" cy="329200"/>
          </a:xfrm>
          <a:prstGeom prst="rect">
            <a:avLst/>
          </a:prstGeom>
          <a:noFill/>
          <a:ln>
            <a:noFill/>
          </a:ln>
        </p:spPr>
        <p:txBody>
          <a:bodyPr spcFirstLastPara="1" wrap="square" lIns="121900" tIns="121900" rIns="121900" bIns="121900" anchor="ctr" anchorCtr="0">
            <a:noAutofit/>
          </a:bodyPr>
          <a:lstStyle/>
          <a:p>
            <a:pPr marL="0" lvl="0" indent="0" algn="ctr" rtl="0">
              <a:spcBef>
                <a:spcPts val="0"/>
              </a:spcBef>
              <a:spcAft>
                <a:spcPts val="0"/>
              </a:spcAft>
              <a:buNone/>
            </a:pPr>
            <a:r>
              <a:rPr lang="en" sz="2400">
                <a:solidFill>
                  <a:schemeClr val="lt1"/>
                </a:solidFill>
              </a:rPr>
              <a:t>-</a:t>
            </a:r>
            <a:endParaRPr sz="2400">
              <a:solidFill>
                <a:schemeClr val="lt1"/>
              </a:solidFill>
            </a:endParaRPr>
          </a:p>
        </p:txBody>
      </p:sp>
      <p:sp>
        <p:nvSpPr>
          <p:cNvPr id="3916" name="Google Shape;3916;p202"/>
          <p:cNvSpPr txBox="1"/>
          <p:nvPr/>
        </p:nvSpPr>
        <p:spPr>
          <a:xfrm>
            <a:off x="451104" y="2255520"/>
            <a:ext cx="3279600" cy="390000"/>
          </a:xfrm>
          <a:prstGeom prst="rect">
            <a:avLst/>
          </a:prstGeom>
          <a:no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en" sz="2400">
                <a:solidFill>
                  <a:schemeClr val="accent1"/>
                </a:solidFill>
              </a:rPr>
              <a:t>Benefits</a:t>
            </a:r>
            <a:endParaRPr sz="2400">
              <a:solidFill>
                <a:schemeClr val="accent1"/>
              </a:solidFill>
            </a:endParaRPr>
          </a:p>
        </p:txBody>
      </p:sp>
      <p:sp>
        <p:nvSpPr>
          <p:cNvPr id="3917" name="Google Shape;3917;p202"/>
          <p:cNvSpPr txBox="1">
            <a:spLocks noGrp="1"/>
          </p:cNvSpPr>
          <p:nvPr>
            <p:ph type="subTitle" idx="3"/>
          </p:nvPr>
        </p:nvSpPr>
        <p:spPr>
          <a:xfrm>
            <a:off x="4632960" y="2670048"/>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3918" name="Google Shape;3918;p202"/>
          <p:cNvSpPr txBox="1">
            <a:spLocks noGrp="1"/>
          </p:cNvSpPr>
          <p:nvPr>
            <p:ph type="subTitle" idx="4"/>
          </p:nvPr>
        </p:nvSpPr>
        <p:spPr>
          <a:xfrm>
            <a:off x="4632960" y="3096768"/>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919" name="Google Shape;3919;p202"/>
          <p:cNvSpPr txBox="1"/>
          <p:nvPr/>
        </p:nvSpPr>
        <p:spPr>
          <a:xfrm>
            <a:off x="4632960" y="2243328"/>
            <a:ext cx="3279600" cy="390000"/>
          </a:xfrm>
          <a:prstGeom prst="rect">
            <a:avLst/>
          </a:prstGeom>
          <a:no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en" sz="2400">
                <a:solidFill>
                  <a:schemeClr val="accent3"/>
                </a:solidFill>
              </a:rPr>
              <a:t>Cost</a:t>
            </a:r>
            <a:endParaRPr sz="2400">
              <a:solidFill>
                <a:schemeClr val="accent3"/>
              </a:solidFill>
            </a:endParaRPr>
          </a:p>
        </p:txBody>
      </p:sp>
      <p:sp>
        <p:nvSpPr>
          <p:cNvPr id="3920" name="Google Shape;3920;p202"/>
          <p:cNvSpPr txBox="1"/>
          <p:nvPr/>
        </p:nvSpPr>
        <p:spPr>
          <a:xfrm>
            <a:off x="8241792" y="2718816"/>
            <a:ext cx="365600" cy="329200"/>
          </a:xfrm>
          <a:prstGeom prst="rect">
            <a:avLst/>
          </a:prstGeom>
          <a:noFill/>
          <a:ln>
            <a:noFill/>
          </a:ln>
        </p:spPr>
        <p:txBody>
          <a:bodyPr spcFirstLastPara="1" wrap="square" lIns="121900" tIns="121900" rIns="121900" bIns="121900" anchor="ctr" anchorCtr="0">
            <a:noAutofit/>
          </a:bodyPr>
          <a:lstStyle/>
          <a:p>
            <a:pPr marL="0" lvl="0" indent="0" algn="ctr" rtl="0">
              <a:spcBef>
                <a:spcPts val="0"/>
              </a:spcBef>
              <a:spcAft>
                <a:spcPts val="0"/>
              </a:spcAft>
              <a:buNone/>
            </a:pPr>
            <a:r>
              <a:rPr lang="en" sz="2400">
                <a:solidFill>
                  <a:schemeClr val="lt1"/>
                </a:solidFill>
              </a:rPr>
              <a:t>=</a:t>
            </a:r>
            <a:endParaRPr sz="2400">
              <a:solidFill>
                <a:schemeClr val="lt1"/>
              </a:solidFill>
            </a:endParaRPr>
          </a:p>
        </p:txBody>
      </p:sp>
      <p:sp>
        <p:nvSpPr>
          <p:cNvPr id="3921" name="Google Shape;3921;p202"/>
          <p:cNvSpPr txBox="1">
            <a:spLocks noGrp="1"/>
          </p:cNvSpPr>
          <p:nvPr>
            <p:ph type="subTitle" idx="5"/>
          </p:nvPr>
        </p:nvSpPr>
        <p:spPr>
          <a:xfrm>
            <a:off x="9144000" y="2694432"/>
            <a:ext cx="25968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Tree>
    <p:extLst>
      <p:ext uri="{BB962C8B-B14F-4D97-AF65-F5344CB8AC3E}">
        <p14:creationId xmlns:p14="http://schemas.microsoft.com/office/powerpoint/2010/main" val="107845617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matchingName="68. Product x ROI x 2">
  <p:cSld name="68. Product x ROI x 2">
    <p:spTree>
      <p:nvGrpSpPr>
        <p:cNvPr id="1" name="Shape 3922"/>
        <p:cNvGrpSpPr/>
        <p:nvPr/>
      </p:nvGrpSpPr>
      <p:grpSpPr>
        <a:xfrm>
          <a:off x="0" y="0"/>
          <a:ext cx="0" cy="0"/>
          <a:chOff x="0" y="0"/>
          <a:chExt cx="0" cy="0"/>
        </a:xfrm>
      </p:grpSpPr>
      <p:cxnSp>
        <p:nvCxnSpPr>
          <p:cNvPr id="3923" name="Google Shape;3923;p203"/>
          <p:cNvCxnSpPr/>
          <p:nvPr/>
        </p:nvCxnSpPr>
        <p:spPr>
          <a:xfrm>
            <a:off x="445452" y="4959385"/>
            <a:ext cx="3276800" cy="0"/>
          </a:xfrm>
          <a:prstGeom prst="straightConnector1">
            <a:avLst/>
          </a:prstGeom>
          <a:noFill/>
          <a:ln w="19050" cap="rnd" cmpd="sng">
            <a:solidFill>
              <a:schemeClr val="dk2"/>
            </a:solidFill>
            <a:prstDash val="solid"/>
            <a:round/>
            <a:headEnd type="none" w="sm" len="sm"/>
            <a:tailEnd type="none" w="sm" len="sm"/>
          </a:ln>
        </p:spPr>
      </p:cxnSp>
      <p:cxnSp>
        <p:nvCxnSpPr>
          <p:cNvPr id="3924" name="Google Shape;3924;p203"/>
          <p:cNvCxnSpPr/>
          <p:nvPr/>
        </p:nvCxnSpPr>
        <p:spPr>
          <a:xfrm>
            <a:off x="4630201" y="4965769"/>
            <a:ext cx="3276800" cy="0"/>
          </a:xfrm>
          <a:prstGeom prst="straightConnector1">
            <a:avLst/>
          </a:prstGeom>
          <a:noFill/>
          <a:ln w="19050" cap="rnd" cmpd="sng">
            <a:solidFill>
              <a:schemeClr val="dk2"/>
            </a:solidFill>
            <a:prstDash val="solid"/>
            <a:round/>
            <a:headEnd type="none" w="sm" len="sm"/>
            <a:tailEnd type="none" w="sm" len="sm"/>
          </a:ln>
        </p:spPr>
      </p:cxnSp>
      <p:grpSp>
        <p:nvGrpSpPr>
          <p:cNvPr id="3925" name="Google Shape;3925;p203"/>
          <p:cNvGrpSpPr/>
          <p:nvPr/>
        </p:nvGrpSpPr>
        <p:grpSpPr>
          <a:xfrm>
            <a:off x="12253600" y="1"/>
            <a:ext cx="3438989" cy="3424452"/>
            <a:chOff x="22170399" y="777240"/>
            <a:chExt cx="6877978" cy="6848903"/>
          </a:xfrm>
        </p:grpSpPr>
        <p:grpSp>
          <p:nvGrpSpPr>
            <p:cNvPr id="3926" name="Google Shape;3926;p203"/>
            <p:cNvGrpSpPr/>
            <p:nvPr/>
          </p:nvGrpSpPr>
          <p:grpSpPr>
            <a:xfrm>
              <a:off x="22170399" y="777240"/>
              <a:ext cx="6877978" cy="6848903"/>
              <a:chOff x="22155159" y="0"/>
              <a:chExt cx="6877978" cy="6848903"/>
            </a:xfrm>
          </p:grpSpPr>
          <p:sp>
            <p:nvSpPr>
              <p:cNvPr id="3927" name="Google Shape;3927;p203"/>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928" name="Google Shape;3928;p203"/>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929" name="Google Shape;3929;p203"/>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930" name="Google Shape;3930;p203"/>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931" name="Google Shape;3931;p203"/>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932" name="Google Shape;3932;p203"/>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933" name="Google Shape;3933;p203"/>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934" name="Google Shape;3934;p203"/>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935" name="Google Shape;3935;p203"/>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936" name="Google Shape;3936;p203"/>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937" name="Google Shape;3937;p203"/>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938" name="Google Shape;3938;p203"/>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939" name="Google Shape;3939;p203"/>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940" name="Google Shape;3940;p203"/>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941" name="Google Shape;3941;p203"/>
          <p:cNvSpPr txBox="1">
            <a:spLocks noGrp="1"/>
          </p:cNvSpPr>
          <p:nvPr>
            <p:ph type="title"/>
          </p:nvPr>
        </p:nvSpPr>
        <p:spPr>
          <a:xfrm>
            <a:off x="451104" y="512064"/>
            <a:ext cx="11424000" cy="890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3942" name="Google Shape;3942;p203"/>
          <p:cNvSpPr txBox="1">
            <a:spLocks noGrp="1"/>
          </p:cNvSpPr>
          <p:nvPr>
            <p:ph type="subTitle" idx="1"/>
          </p:nvPr>
        </p:nvSpPr>
        <p:spPr>
          <a:xfrm>
            <a:off x="451104" y="2682240"/>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3943" name="Google Shape;3943;p203"/>
          <p:cNvSpPr txBox="1">
            <a:spLocks noGrp="1"/>
          </p:cNvSpPr>
          <p:nvPr>
            <p:ph type="subTitle" idx="2"/>
          </p:nvPr>
        </p:nvSpPr>
        <p:spPr>
          <a:xfrm>
            <a:off x="451104" y="3108960"/>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944" name="Google Shape;3944;p203"/>
          <p:cNvSpPr txBox="1"/>
          <p:nvPr/>
        </p:nvSpPr>
        <p:spPr>
          <a:xfrm>
            <a:off x="451104" y="2255520"/>
            <a:ext cx="3279600" cy="390000"/>
          </a:xfrm>
          <a:prstGeom prst="rect">
            <a:avLst/>
          </a:prstGeom>
          <a:no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en" sz="2400">
                <a:solidFill>
                  <a:schemeClr val="accent1"/>
                </a:solidFill>
              </a:rPr>
              <a:t>Benefits</a:t>
            </a:r>
            <a:endParaRPr sz="2400">
              <a:solidFill>
                <a:schemeClr val="accent1"/>
              </a:solidFill>
            </a:endParaRPr>
          </a:p>
        </p:txBody>
      </p:sp>
      <p:sp>
        <p:nvSpPr>
          <p:cNvPr id="3945" name="Google Shape;3945;p203"/>
          <p:cNvSpPr txBox="1">
            <a:spLocks noGrp="1"/>
          </p:cNvSpPr>
          <p:nvPr>
            <p:ph type="subTitle" idx="3"/>
          </p:nvPr>
        </p:nvSpPr>
        <p:spPr>
          <a:xfrm>
            <a:off x="4632960" y="2670048"/>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3946" name="Google Shape;3946;p203"/>
          <p:cNvSpPr txBox="1">
            <a:spLocks noGrp="1"/>
          </p:cNvSpPr>
          <p:nvPr>
            <p:ph type="subTitle" idx="4"/>
          </p:nvPr>
        </p:nvSpPr>
        <p:spPr>
          <a:xfrm>
            <a:off x="4632960" y="3096768"/>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947" name="Google Shape;3947;p203"/>
          <p:cNvSpPr txBox="1"/>
          <p:nvPr/>
        </p:nvSpPr>
        <p:spPr>
          <a:xfrm>
            <a:off x="4632960" y="2243328"/>
            <a:ext cx="3279600" cy="390000"/>
          </a:xfrm>
          <a:prstGeom prst="rect">
            <a:avLst/>
          </a:prstGeom>
          <a:no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en" sz="2400">
                <a:solidFill>
                  <a:schemeClr val="accent3"/>
                </a:solidFill>
              </a:rPr>
              <a:t>Cost</a:t>
            </a:r>
            <a:endParaRPr sz="2400">
              <a:solidFill>
                <a:schemeClr val="accent3"/>
              </a:solidFill>
            </a:endParaRPr>
          </a:p>
        </p:txBody>
      </p:sp>
      <p:sp>
        <p:nvSpPr>
          <p:cNvPr id="3948" name="Google Shape;3948;p203"/>
          <p:cNvSpPr txBox="1">
            <a:spLocks noGrp="1"/>
          </p:cNvSpPr>
          <p:nvPr>
            <p:ph type="subTitle" idx="5"/>
          </p:nvPr>
        </p:nvSpPr>
        <p:spPr>
          <a:xfrm>
            <a:off x="9144000" y="5145024"/>
            <a:ext cx="25968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3949" name="Google Shape;3949;p203"/>
          <p:cNvSpPr txBox="1">
            <a:spLocks noGrp="1"/>
          </p:cNvSpPr>
          <p:nvPr>
            <p:ph type="subTitle" idx="6"/>
          </p:nvPr>
        </p:nvSpPr>
        <p:spPr>
          <a:xfrm>
            <a:off x="451104" y="3938016"/>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3950" name="Google Shape;3950;p203"/>
          <p:cNvSpPr txBox="1">
            <a:spLocks noGrp="1"/>
          </p:cNvSpPr>
          <p:nvPr>
            <p:ph type="subTitle" idx="7"/>
          </p:nvPr>
        </p:nvSpPr>
        <p:spPr>
          <a:xfrm>
            <a:off x="451104" y="4364736"/>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951" name="Google Shape;3951;p203"/>
          <p:cNvSpPr txBox="1">
            <a:spLocks noGrp="1"/>
          </p:cNvSpPr>
          <p:nvPr>
            <p:ph type="subTitle" idx="8"/>
          </p:nvPr>
        </p:nvSpPr>
        <p:spPr>
          <a:xfrm>
            <a:off x="4632960" y="3925824"/>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3952" name="Google Shape;3952;p203"/>
          <p:cNvSpPr txBox="1">
            <a:spLocks noGrp="1"/>
          </p:cNvSpPr>
          <p:nvPr>
            <p:ph type="subTitle" idx="9"/>
          </p:nvPr>
        </p:nvSpPr>
        <p:spPr>
          <a:xfrm>
            <a:off x="4632960" y="4352544"/>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3953" name="Google Shape;3953;p203"/>
          <p:cNvSpPr txBox="1">
            <a:spLocks noGrp="1"/>
          </p:cNvSpPr>
          <p:nvPr>
            <p:ph type="subTitle" idx="13"/>
          </p:nvPr>
        </p:nvSpPr>
        <p:spPr>
          <a:xfrm>
            <a:off x="451104" y="5169408"/>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3954" name="Google Shape;3954;p203"/>
          <p:cNvSpPr txBox="1">
            <a:spLocks noGrp="1"/>
          </p:cNvSpPr>
          <p:nvPr>
            <p:ph type="subTitle" idx="14"/>
          </p:nvPr>
        </p:nvSpPr>
        <p:spPr>
          <a:xfrm>
            <a:off x="4632960" y="5157216"/>
            <a:ext cx="32796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3955" name="Google Shape;3955;p203"/>
          <p:cNvSpPr txBox="1"/>
          <p:nvPr/>
        </p:nvSpPr>
        <p:spPr>
          <a:xfrm>
            <a:off x="3998976" y="2682240"/>
            <a:ext cx="365600" cy="329200"/>
          </a:xfrm>
          <a:prstGeom prst="rect">
            <a:avLst/>
          </a:prstGeom>
          <a:noFill/>
          <a:ln>
            <a:noFill/>
          </a:ln>
        </p:spPr>
        <p:txBody>
          <a:bodyPr spcFirstLastPara="1" wrap="square" lIns="121900" tIns="121900" rIns="121900" bIns="121900" anchor="ctr" anchorCtr="0">
            <a:noAutofit/>
          </a:bodyPr>
          <a:lstStyle/>
          <a:p>
            <a:pPr marL="0" lvl="0" indent="0" algn="ctr" rtl="0">
              <a:spcBef>
                <a:spcPts val="0"/>
              </a:spcBef>
              <a:spcAft>
                <a:spcPts val="0"/>
              </a:spcAft>
              <a:buNone/>
            </a:pPr>
            <a:r>
              <a:rPr lang="en" sz="2400">
                <a:solidFill>
                  <a:schemeClr val="lt1"/>
                </a:solidFill>
              </a:rPr>
              <a:t>-</a:t>
            </a:r>
            <a:endParaRPr sz="2400">
              <a:solidFill>
                <a:schemeClr val="lt1"/>
              </a:solidFill>
            </a:endParaRPr>
          </a:p>
        </p:txBody>
      </p:sp>
      <p:sp>
        <p:nvSpPr>
          <p:cNvPr id="3956" name="Google Shape;3956;p203"/>
          <p:cNvSpPr txBox="1"/>
          <p:nvPr/>
        </p:nvSpPr>
        <p:spPr>
          <a:xfrm>
            <a:off x="8241792" y="5169408"/>
            <a:ext cx="365600" cy="329200"/>
          </a:xfrm>
          <a:prstGeom prst="rect">
            <a:avLst/>
          </a:prstGeom>
          <a:noFill/>
          <a:ln>
            <a:noFill/>
          </a:ln>
        </p:spPr>
        <p:txBody>
          <a:bodyPr spcFirstLastPara="1" wrap="square" lIns="121900" tIns="121900" rIns="121900" bIns="121900" anchor="ctr" anchorCtr="0">
            <a:noAutofit/>
          </a:bodyPr>
          <a:lstStyle/>
          <a:p>
            <a:pPr marL="0" lvl="0" indent="0" algn="ctr" rtl="0">
              <a:spcBef>
                <a:spcPts val="0"/>
              </a:spcBef>
              <a:spcAft>
                <a:spcPts val="0"/>
              </a:spcAft>
              <a:buNone/>
            </a:pPr>
            <a:r>
              <a:rPr lang="en" sz="2400">
                <a:solidFill>
                  <a:schemeClr val="lt1"/>
                </a:solidFill>
              </a:rPr>
              <a:t>=</a:t>
            </a:r>
            <a:endParaRPr sz="2400">
              <a:solidFill>
                <a:schemeClr val="lt1"/>
              </a:solidFill>
            </a:endParaRPr>
          </a:p>
        </p:txBody>
      </p:sp>
    </p:spTree>
    <p:extLst>
      <p:ext uri="{BB962C8B-B14F-4D97-AF65-F5344CB8AC3E}">
        <p14:creationId xmlns:p14="http://schemas.microsoft.com/office/powerpoint/2010/main" val="3234093304"/>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matchingName="69. One large number">
  <p:cSld name="69. One large number">
    <p:spTree>
      <p:nvGrpSpPr>
        <p:cNvPr id="1" name="Shape 3957"/>
        <p:cNvGrpSpPr/>
        <p:nvPr/>
      </p:nvGrpSpPr>
      <p:grpSpPr>
        <a:xfrm>
          <a:off x="0" y="0"/>
          <a:ext cx="0" cy="0"/>
          <a:chOff x="0" y="0"/>
          <a:chExt cx="0" cy="0"/>
        </a:xfrm>
      </p:grpSpPr>
      <p:grpSp>
        <p:nvGrpSpPr>
          <p:cNvPr id="3958" name="Google Shape;3958;p204"/>
          <p:cNvGrpSpPr/>
          <p:nvPr/>
        </p:nvGrpSpPr>
        <p:grpSpPr>
          <a:xfrm>
            <a:off x="12253600" y="1"/>
            <a:ext cx="3438989" cy="3424452"/>
            <a:chOff x="22170399" y="777240"/>
            <a:chExt cx="6877978" cy="6848903"/>
          </a:xfrm>
        </p:grpSpPr>
        <p:grpSp>
          <p:nvGrpSpPr>
            <p:cNvPr id="3959" name="Google Shape;3959;p204"/>
            <p:cNvGrpSpPr/>
            <p:nvPr/>
          </p:nvGrpSpPr>
          <p:grpSpPr>
            <a:xfrm>
              <a:off x="22170399" y="777240"/>
              <a:ext cx="6877978" cy="6848903"/>
              <a:chOff x="22155159" y="0"/>
              <a:chExt cx="6877978" cy="6848903"/>
            </a:xfrm>
          </p:grpSpPr>
          <p:sp>
            <p:nvSpPr>
              <p:cNvPr id="3960" name="Google Shape;3960;p204"/>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961" name="Google Shape;3961;p204"/>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962" name="Google Shape;3962;p204"/>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963" name="Google Shape;3963;p204"/>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964" name="Google Shape;3964;p204"/>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965" name="Google Shape;3965;p204"/>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966" name="Google Shape;3966;p204"/>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967" name="Google Shape;3967;p204"/>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968" name="Google Shape;3968;p204"/>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969" name="Google Shape;3969;p204"/>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970" name="Google Shape;3970;p204"/>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971" name="Google Shape;3971;p204"/>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972" name="Google Shape;3972;p204"/>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973" name="Google Shape;3973;p204"/>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974" name="Google Shape;3974;p204"/>
          <p:cNvSpPr txBox="1">
            <a:spLocks noGrp="1"/>
          </p:cNvSpPr>
          <p:nvPr>
            <p:ph type="subTitle" idx="1"/>
          </p:nvPr>
        </p:nvSpPr>
        <p:spPr>
          <a:xfrm>
            <a:off x="3864864" y="2548128"/>
            <a:ext cx="4462400" cy="17436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accent1"/>
              </a:buClr>
              <a:buSzPts val="6000"/>
              <a:buNone/>
              <a:defRPr sz="8000" b="1">
                <a:solidFill>
                  <a:schemeClr val="accent1"/>
                </a:solidFill>
              </a:defRPr>
            </a:lvl1pPr>
            <a:lvl2pPr lvl="1" algn="ctr" rtl="0">
              <a:spcBef>
                <a:spcPts val="0"/>
              </a:spcBef>
              <a:spcAft>
                <a:spcPts val="0"/>
              </a:spcAft>
              <a:buClr>
                <a:schemeClr val="accent1"/>
              </a:buClr>
              <a:buSzPts val="6000"/>
              <a:buNone/>
              <a:defRPr sz="8000" b="1">
                <a:solidFill>
                  <a:schemeClr val="accent1"/>
                </a:solidFill>
              </a:defRPr>
            </a:lvl2pPr>
            <a:lvl3pPr lvl="2" algn="ctr" rtl="0">
              <a:spcBef>
                <a:spcPts val="0"/>
              </a:spcBef>
              <a:spcAft>
                <a:spcPts val="0"/>
              </a:spcAft>
              <a:buClr>
                <a:schemeClr val="accent1"/>
              </a:buClr>
              <a:buSzPts val="6000"/>
              <a:buNone/>
              <a:defRPr sz="8000" b="1">
                <a:solidFill>
                  <a:schemeClr val="accent1"/>
                </a:solidFill>
              </a:defRPr>
            </a:lvl3pPr>
            <a:lvl4pPr lvl="3" algn="ctr" rtl="0">
              <a:spcBef>
                <a:spcPts val="0"/>
              </a:spcBef>
              <a:spcAft>
                <a:spcPts val="0"/>
              </a:spcAft>
              <a:buClr>
                <a:schemeClr val="accent1"/>
              </a:buClr>
              <a:buSzPts val="6000"/>
              <a:buNone/>
              <a:defRPr sz="8000" b="1">
                <a:solidFill>
                  <a:schemeClr val="accent1"/>
                </a:solidFill>
              </a:defRPr>
            </a:lvl4pPr>
            <a:lvl5pPr lvl="4" algn="ctr" rtl="0">
              <a:spcBef>
                <a:spcPts val="0"/>
              </a:spcBef>
              <a:spcAft>
                <a:spcPts val="0"/>
              </a:spcAft>
              <a:buClr>
                <a:schemeClr val="accent1"/>
              </a:buClr>
              <a:buSzPts val="6000"/>
              <a:buNone/>
              <a:defRPr sz="8000" b="1">
                <a:solidFill>
                  <a:schemeClr val="accent1"/>
                </a:solidFill>
              </a:defRPr>
            </a:lvl5pPr>
            <a:lvl6pPr lvl="5" algn="ctr" rtl="0">
              <a:spcBef>
                <a:spcPts val="0"/>
              </a:spcBef>
              <a:spcAft>
                <a:spcPts val="0"/>
              </a:spcAft>
              <a:buClr>
                <a:schemeClr val="accent1"/>
              </a:buClr>
              <a:buSzPts val="6000"/>
              <a:buNone/>
              <a:defRPr sz="8000" b="1">
                <a:solidFill>
                  <a:schemeClr val="accent1"/>
                </a:solidFill>
              </a:defRPr>
            </a:lvl6pPr>
            <a:lvl7pPr lvl="6" algn="ctr" rtl="0">
              <a:spcBef>
                <a:spcPts val="0"/>
              </a:spcBef>
              <a:spcAft>
                <a:spcPts val="0"/>
              </a:spcAft>
              <a:buClr>
                <a:schemeClr val="accent1"/>
              </a:buClr>
              <a:buSzPts val="6000"/>
              <a:buNone/>
              <a:defRPr sz="8000" b="1">
                <a:solidFill>
                  <a:schemeClr val="accent1"/>
                </a:solidFill>
              </a:defRPr>
            </a:lvl7pPr>
            <a:lvl8pPr lvl="7" algn="ctr" rtl="0">
              <a:spcBef>
                <a:spcPts val="0"/>
              </a:spcBef>
              <a:spcAft>
                <a:spcPts val="0"/>
              </a:spcAft>
              <a:buClr>
                <a:schemeClr val="accent1"/>
              </a:buClr>
              <a:buSzPts val="6000"/>
              <a:buNone/>
              <a:defRPr sz="8000" b="1">
                <a:solidFill>
                  <a:schemeClr val="accent1"/>
                </a:solidFill>
              </a:defRPr>
            </a:lvl8pPr>
            <a:lvl9pPr lvl="8" algn="ctr" rtl="0">
              <a:spcBef>
                <a:spcPts val="0"/>
              </a:spcBef>
              <a:spcAft>
                <a:spcPts val="0"/>
              </a:spcAft>
              <a:buClr>
                <a:schemeClr val="accent1"/>
              </a:buClr>
              <a:buSzPts val="6000"/>
              <a:buNone/>
              <a:defRPr sz="8000" b="1">
                <a:solidFill>
                  <a:schemeClr val="accent1"/>
                </a:solidFill>
              </a:defRPr>
            </a:lvl9pPr>
          </a:lstStyle>
          <a:p>
            <a:endParaRPr/>
          </a:p>
        </p:txBody>
      </p:sp>
      <p:sp>
        <p:nvSpPr>
          <p:cNvPr id="3975" name="Google Shape;3975;p204"/>
          <p:cNvSpPr txBox="1">
            <a:spLocks noGrp="1"/>
          </p:cNvSpPr>
          <p:nvPr>
            <p:ph type="subTitle" idx="2"/>
          </p:nvPr>
        </p:nvSpPr>
        <p:spPr>
          <a:xfrm>
            <a:off x="3864864" y="4328160"/>
            <a:ext cx="44624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algn="ctr" rtl="0">
              <a:spcBef>
                <a:spcPts val="0"/>
              </a:spcBef>
              <a:spcAft>
                <a:spcPts val="0"/>
              </a:spcAft>
              <a:buClr>
                <a:schemeClr val="dk2"/>
              </a:buClr>
              <a:buSzPts val="1200"/>
              <a:buNone/>
              <a:defRPr sz="1600">
                <a:solidFill>
                  <a:schemeClr val="dk2"/>
                </a:solidFill>
              </a:defRPr>
            </a:lvl2pPr>
            <a:lvl3pPr lvl="2" algn="ctr" rtl="0">
              <a:spcBef>
                <a:spcPts val="0"/>
              </a:spcBef>
              <a:spcAft>
                <a:spcPts val="0"/>
              </a:spcAft>
              <a:buClr>
                <a:schemeClr val="dk2"/>
              </a:buClr>
              <a:buSzPts val="1200"/>
              <a:buNone/>
              <a:defRPr sz="1600">
                <a:solidFill>
                  <a:schemeClr val="dk2"/>
                </a:solidFill>
              </a:defRPr>
            </a:lvl3pPr>
            <a:lvl4pPr lvl="3" algn="ctr" rtl="0">
              <a:spcBef>
                <a:spcPts val="0"/>
              </a:spcBef>
              <a:spcAft>
                <a:spcPts val="0"/>
              </a:spcAft>
              <a:buClr>
                <a:schemeClr val="dk2"/>
              </a:buClr>
              <a:buSzPts val="1200"/>
              <a:buNone/>
              <a:defRPr sz="1600">
                <a:solidFill>
                  <a:schemeClr val="dk2"/>
                </a:solidFill>
              </a:defRPr>
            </a:lvl4pPr>
            <a:lvl5pPr lvl="4" algn="ctr" rtl="0">
              <a:spcBef>
                <a:spcPts val="0"/>
              </a:spcBef>
              <a:spcAft>
                <a:spcPts val="0"/>
              </a:spcAft>
              <a:buClr>
                <a:schemeClr val="dk2"/>
              </a:buClr>
              <a:buSzPts val="1200"/>
              <a:buNone/>
              <a:defRPr sz="1600">
                <a:solidFill>
                  <a:schemeClr val="dk2"/>
                </a:solidFill>
              </a:defRPr>
            </a:lvl5pPr>
            <a:lvl6pPr lvl="5" algn="ctr" rtl="0">
              <a:spcBef>
                <a:spcPts val="0"/>
              </a:spcBef>
              <a:spcAft>
                <a:spcPts val="0"/>
              </a:spcAft>
              <a:buClr>
                <a:schemeClr val="dk2"/>
              </a:buClr>
              <a:buSzPts val="1200"/>
              <a:buNone/>
              <a:defRPr sz="1600">
                <a:solidFill>
                  <a:schemeClr val="dk2"/>
                </a:solidFill>
              </a:defRPr>
            </a:lvl6pPr>
            <a:lvl7pPr lvl="6" algn="ctr" rtl="0">
              <a:spcBef>
                <a:spcPts val="0"/>
              </a:spcBef>
              <a:spcAft>
                <a:spcPts val="0"/>
              </a:spcAft>
              <a:buClr>
                <a:schemeClr val="dk2"/>
              </a:buClr>
              <a:buSzPts val="1200"/>
              <a:buNone/>
              <a:defRPr sz="1600">
                <a:solidFill>
                  <a:schemeClr val="dk2"/>
                </a:solidFill>
              </a:defRPr>
            </a:lvl7pPr>
            <a:lvl8pPr lvl="7" algn="ctr" rtl="0">
              <a:spcBef>
                <a:spcPts val="0"/>
              </a:spcBef>
              <a:spcAft>
                <a:spcPts val="0"/>
              </a:spcAft>
              <a:buClr>
                <a:schemeClr val="dk2"/>
              </a:buClr>
              <a:buSzPts val="1200"/>
              <a:buNone/>
              <a:defRPr sz="1600">
                <a:solidFill>
                  <a:schemeClr val="dk2"/>
                </a:solidFill>
              </a:defRPr>
            </a:lvl8pPr>
            <a:lvl9pPr lvl="8" algn="ctr" rtl="0">
              <a:spcBef>
                <a:spcPts val="0"/>
              </a:spcBef>
              <a:spcAft>
                <a:spcPts val="0"/>
              </a:spcAft>
              <a:buClr>
                <a:schemeClr val="dk2"/>
              </a:buClr>
              <a:buSzPts val="1200"/>
              <a:buNone/>
              <a:defRPr sz="1600">
                <a:solidFill>
                  <a:schemeClr val="dk2"/>
                </a:solidFill>
              </a:defRPr>
            </a:lvl9pPr>
          </a:lstStyle>
          <a:p>
            <a:endParaRPr/>
          </a:p>
        </p:txBody>
      </p:sp>
      <p:sp>
        <p:nvSpPr>
          <p:cNvPr id="3976" name="Google Shape;3976;p204"/>
          <p:cNvSpPr txBox="1">
            <a:spLocks noGrp="1"/>
          </p:cNvSpPr>
          <p:nvPr>
            <p:ph type="subTitle" idx="3"/>
          </p:nvPr>
        </p:nvSpPr>
        <p:spPr>
          <a:xfrm>
            <a:off x="3864864" y="2109216"/>
            <a:ext cx="4462400" cy="3900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Tree>
    <p:extLst>
      <p:ext uri="{BB962C8B-B14F-4D97-AF65-F5344CB8AC3E}">
        <p14:creationId xmlns:p14="http://schemas.microsoft.com/office/powerpoint/2010/main" val="3620271106"/>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matchingName="70. Three large numbers">
  <p:cSld name="70. Three large numbers">
    <p:spTree>
      <p:nvGrpSpPr>
        <p:cNvPr id="1" name="Shape 3977"/>
        <p:cNvGrpSpPr/>
        <p:nvPr/>
      </p:nvGrpSpPr>
      <p:grpSpPr>
        <a:xfrm>
          <a:off x="0" y="0"/>
          <a:ext cx="0" cy="0"/>
          <a:chOff x="0" y="0"/>
          <a:chExt cx="0" cy="0"/>
        </a:xfrm>
      </p:grpSpPr>
      <p:grpSp>
        <p:nvGrpSpPr>
          <p:cNvPr id="3978" name="Google Shape;3978;p205"/>
          <p:cNvGrpSpPr/>
          <p:nvPr/>
        </p:nvGrpSpPr>
        <p:grpSpPr>
          <a:xfrm>
            <a:off x="12253600" y="1"/>
            <a:ext cx="3438989" cy="3424452"/>
            <a:chOff x="22170399" y="777240"/>
            <a:chExt cx="6877978" cy="6848903"/>
          </a:xfrm>
        </p:grpSpPr>
        <p:grpSp>
          <p:nvGrpSpPr>
            <p:cNvPr id="3979" name="Google Shape;3979;p205"/>
            <p:cNvGrpSpPr/>
            <p:nvPr/>
          </p:nvGrpSpPr>
          <p:grpSpPr>
            <a:xfrm>
              <a:off x="22170399" y="777240"/>
              <a:ext cx="6877978" cy="6848903"/>
              <a:chOff x="22155159" y="0"/>
              <a:chExt cx="6877978" cy="6848903"/>
            </a:xfrm>
          </p:grpSpPr>
          <p:sp>
            <p:nvSpPr>
              <p:cNvPr id="3980" name="Google Shape;3980;p205"/>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3981" name="Google Shape;3981;p205"/>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3982" name="Google Shape;3982;p205"/>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3983" name="Google Shape;3983;p205"/>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3984" name="Google Shape;3984;p205"/>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3985" name="Google Shape;3985;p205"/>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3986" name="Google Shape;3986;p205"/>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3987" name="Google Shape;3987;p205"/>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3988" name="Google Shape;3988;p205"/>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3989" name="Google Shape;3989;p205"/>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3990" name="Google Shape;3990;p205"/>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3991" name="Google Shape;3991;p205"/>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3992" name="Google Shape;3992;p205"/>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3993" name="Google Shape;3993;p205"/>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3994" name="Google Shape;3994;p205"/>
          <p:cNvSpPr txBox="1">
            <a:spLocks noGrp="1"/>
          </p:cNvSpPr>
          <p:nvPr>
            <p:ph type="subTitle" idx="1"/>
          </p:nvPr>
        </p:nvSpPr>
        <p:spPr>
          <a:xfrm>
            <a:off x="243840" y="2791968"/>
            <a:ext cx="3645600" cy="1280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accent1"/>
              </a:buClr>
              <a:buSzPts val="6000"/>
              <a:buNone/>
              <a:defRPr sz="8000" b="1">
                <a:solidFill>
                  <a:schemeClr val="accent1"/>
                </a:solidFill>
              </a:defRPr>
            </a:lvl1pPr>
            <a:lvl2pPr lvl="1" algn="ctr" rtl="0">
              <a:spcBef>
                <a:spcPts val="0"/>
              </a:spcBef>
              <a:spcAft>
                <a:spcPts val="0"/>
              </a:spcAft>
              <a:buClr>
                <a:schemeClr val="accent1"/>
              </a:buClr>
              <a:buSzPts val="6000"/>
              <a:buNone/>
              <a:defRPr sz="8000" b="1">
                <a:solidFill>
                  <a:schemeClr val="accent1"/>
                </a:solidFill>
              </a:defRPr>
            </a:lvl2pPr>
            <a:lvl3pPr lvl="2" algn="ctr" rtl="0">
              <a:spcBef>
                <a:spcPts val="0"/>
              </a:spcBef>
              <a:spcAft>
                <a:spcPts val="0"/>
              </a:spcAft>
              <a:buClr>
                <a:schemeClr val="accent1"/>
              </a:buClr>
              <a:buSzPts val="6000"/>
              <a:buNone/>
              <a:defRPr sz="8000" b="1">
                <a:solidFill>
                  <a:schemeClr val="accent1"/>
                </a:solidFill>
              </a:defRPr>
            </a:lvl3pPr>
            <a:lvl4pPr lvl="3" algn="ctr" rtl="0">
              <a:spcBef>
                <a:spcPts val="0"/>
              </a:spcBef>
              <a:spcAft>
                <a:spcPts val="0"/>
              </a:spcAft>
              <a:buClr>
                <a:schemeClr val="accent1"/>
              </a:buClr>
              <a:buSzPts val="6000"/>
              <a:buNone/>
              <a:defRPr sz="8000" b="1">
                <a:solidFill>
                  <a:schemeClr val="accent1"/>
                </a:solidFill>
              </a:defRPr>
            </a:lvl4pPr>
            <a:lvl5pPr lvl="4" algn="ctr" rtl="0">
              <a:spcBef>
                <a:spcPts val="0"/>
              </a:spcBef>
              <a:spcAft>
                <a:spcPts val="0"/>
              </a:spcAft>
              <a:buClr>
                <a:schemeClr val="accent1"/>
              </a:buClr>
              <a:buSzPts val="6000"/>
              <a:buNone/>
              <a:defRPr sz="8000" b="1">
                <a:solidFill>
                  <a:schemeClr val="accent1"/>
                </a:solidFill>
              </a:defRPr>
            </a:lvl5pPr>
            <a:lvl6pPr lvl="5" algn="ctr" rtl="0">
              <a:spcBef>
                <a:spcPts val="0"/>
              </a:spcBef>
              <a:spcAft>
                <a:spcPts val="0"/>
              </a:spcAft>
              <a:buClr>
                <a:schemeClr val="accent1"/>
              </a:buClr>
              <a:buSzPts val="6000"/>
              <a:buNone/>
              <a:defRPr sz="8000" b="1">
                <a:solidFill>
                  <a:schemeClr val="accent1"/>
                </a:solidFill>
              </a:defRPr>
            </a:lvl6pPr>
            <a:lvl7pPr lvl="6" algn="ctr" rtl="0">
              <a:spcBef>
                <a:spcPts val="0"/>
              </a:spcBef>
              <a:spcAft>
                <a:spcPts val="0"/>
              </a:spcAft>
              <a:buClr>
                <a:schemeClr val="accent1"/>
              </a:buClr>
              <a:buSzPts val="6000"/>
              <a:buNone/>
              <a:defRPr sz="8000" b="1">
                <a:solidFill>
                  <a:schemeClr val="accent1"/>
                </a:solidFill>
              </a:defRPr>
            </a:lvl7pPr>
            <a:lvl8pPr lvl="7" algn="ctr" rtl="0">
              <a:spcBef>
                <a:spcPts val="0"/>
              </a:spcBef>
              <a:spcAft>
                <a:spcPts val="0"/>
              </a:spcAft>
              <a:buClr>
                <a:schemeClr val="accent1"/>
              </a:buClr>
              <a:buSzPts val="6000"/>
              <a:buNone/>
              <a:defRPr sz="8000" b="1">
                <a:solidFill>
                  <a:schemeClr val="accent1"/>
                </a:solidFill>
              </a:defRPr>
            </a:lvl8pPr>
            <a:lvl9pPr lvl="8" algn="ctr" rtl="0">
              <a:spcBef>
                <a:spcPts val="0"/>
              </a:spcBef>
              <a:spcAft>
                <a:spcPts val="0"/>
              </a:spcAft>
              <a:buClr>
                <a:schemeClr val="accent1"/>
              </a:buClr>
              <a:buSzPts val="6000"/>
              <a:buNone/>
              <a:defRPr sz="8000" b="1">
                <a:solidFill>
                  <a:schemeClr val="accent1"/>
                </a:solidFill>
              </a:defRPr>
            </a:lvl9pPr>
          </a:lstStyle>
          <a:p>
            <a:endParaRPr/>
          </a:p>
        </p:txBody>
      </p:sp>
      <p:sp>
        <p:nvSpPr>
          <p:cNvPr id="3995" name="Google Shape;3995;p205"/>
          <p:cNvSpPr txBox="1">
            <a:spLocks noGrp="1"/>
          </p:cNvSpPr>
          <p:nvPr>
            <p:ph type="subTitle" idx="2"/>
          </p:nvPr>
        </p:nvSpPr>
        <p:spPr>
          <a:xfrm>
            <a:off x="243840" y="4108704"/>
            <a:ext cx="3645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algn="ctr" rtl="0">
              <a:spcBef>
                <a:spcPts val="0"/>
              </a:spcBef>
              <a:spcAft>
                <a:spcPts val="0"/>
              </a:spcAft>
              <a:buClr>
                <a:schemeClr val="dk2"/>
              </a:buClr>
              <a:buSzPts val="1200"/>
              <a:buNone/>
              <a:defRPr sz="1600">
                <a:solidFill>
                  <a:schemeClr val="dk2"/>
                </a:solidFill>
              </a:defRPr>
            </a:lvl2pPr>
            <a:lvl3pPr lvl="2" algn="ctr" rtl="0">
              <a:spcBef>
                <a:spcPts val="0"/>
              </a:spcBef>
              <a:spcAft>
                <a:spcPts val="0"/>
              </a:spcAft>
              <a:buClr>
                <a:schemeClr val="dk2"/>
              </a:buClr>
              <a:buSzPts val="1200"/>
              <a:buNone/>
              <a:defRPr sz="1600">
                <a:solidFill>
                  <a:schemeClr val="dk2"/>
                </a:solidFill>
              </a:defRPr>
            </a:lvl3pPr>
            <a:lvl4pPr lvl="3" algn="ctr" rtl="0">
              <a:spcBef>
                <a:spcPts val="0"/>
              </a:spcBef>
              <a:spcAft>
                <a:spcPts val="0"/>
              </a:spcAft>
              <a:buClr>
                <a:schemeClr val="dk2"/>
              </a:buClr>
              <a:buSzPts val="1200"/>
              <a:buNone/>
              <a:defRPr sz="1600">
                <a:solidFill>
                  <a:schemeClr val="dk2"/>
                </a:solidFill>
              </a:defRPr>
            </a:lvl4pPr>
            <a:lvl5pPr lvl="4" algn="ctr" rtl="0">
              <a:spcBef>
                <a:spcPts val="0"/>
              </a:spcBef>
              <a:spcAft>
                <a:spcPts val="0"/>
              </a:spcAft>
              <a:buClr>
                <a:schemeClr val="dk2"/>
              </a:buClr>
              <a:buSzPts val="1200"/>
              <a:buNone/>
              <a:defRPr sz="1600">
                <a:solidFill>
                  <a:schemeClr val="dk2"/>
                </a:solidFill>
              </a:defRPr>
            </a:lvl5pPr>
            <a:lvl6pPr lvl="5" algn="ctr" rtl="0">
              <a:spcBef>
                <a:spcPts val="0"/>
              </a:spcBef>
              <a:spcAft>
                <a:spcPts val="0"/>
              </a:spcAft>
              <a:buClr>
                <a:schemeClr val="dk2"/>
              </a:buClr>
              <a:buSzPts val="1200"/>
              <a:buNone/>
              <a:defRPr sz="1600">
                <a:solidFill>
                  <a:schemeClr val="dk2"/>
                </a:solidFill>
              </a:defRPr>
            </a:lvl6pPr>
            <a:lvl7pPr lvl="6" algn="ctr" rtl="0">
              <a:spcBef>
                <a:spcPts val="0"/>
              </a:spcBef>
              <a:spcAft>
                <a:spcPts val="0"/>
              </a:spcAft>
              <a:buClr>
                <a:schemeClr val="dk2"/>
              </a:buClr>
              <a:buSzPts val="1200"/>
              <a:buNone/>
              <a:defRPr sz="1600">
                <a:solidFill>
                  <a:schemeClr val="dk2"/>
                </a:solidFill>
              </a:defRPr>
            </a:lvl7pPr>
            <a:lvl8pPr lvl="7" algn="ctr" rtl="0">
              <a:spcBef>
                <a:spcPts val="0"/>
              </a:spcBef>
              <a:spcAft>
                <a:spcPts val="0"/>
              </a:spcAft>
              <a:buClr>
                <a:schemeClr val="dk2"/>
              </a:buClr>
              <a:buSzPts val="1200"/>
              <a:buNone/>
              <a:defRPr sz="1600">
                <a:solidFill>
                  <a:schemeClr val="dk2"/>
                </a:solidFill>
              </a:defRPr>
            </a:lvl8pPr>
            <a:lvl9pPr lvl="8" algn="ctr" rtl="0">
              <a:spcBef>
                <a:spcPts val="0"/>
              </a:spcBef>
              <a:spcAft>
                <a:spcPts val="0"/>
              </a:spcAft>
              <a:buClr>
                <a:schemeClr val="dk2"/>
              </a:buClr>
              <a:buSzPts val="1200"/>
              <a:buNone/>
              <a:defRPr sz="1600">
                <a:solidFill>
                  <a:schemeClr val="dk2"/>
                </a:solidFill>
              </a:defRPr>
            </a:lvl9pPr>
          </a:lstStyle>
          <a:p>
            <a:endParaRPr/>
          </a:p>
        </p:txBody>
      </p:sp>
      <p:sp>
        <p:nvSpPr>
          <p:cNvPr id="3996" name="Google Shape;3996;p205"/>
          <p:cNvSpPr txBox="1">
            <a:spLocks noGrp="1"/>
          </p:cNvSpPr>
          <p:nvPr>
            <p:ph type="subTitle" idx="3"/>
          </p:nvPr>
        </p:nvSpPr>
        <p:spPr>
          <a:xfrm>
            <a:off x="243840" y="2389632"/>
            <a:ext cx="3645600" cy="3900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
        <p:nvSpPr>
          <p:cNvPr id="3997" name="Google Shape;3997;p205"/>
          <p:cNvSpPr txBox="1">
            <a:spLocks noGrp="1"/>
          </p:cNvSpPr>
          <p:nvPr>
            <p:ph type="subTitle" idx="4"/>
          </p:nvPr>
        </p:nvSpPr>
        <p:spPr>
          <a:xfrm>
            <a:off x="4273200" y="2810168"/>
            <a:ext cx="3645600" cy="1280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accent2"/>
              </a:buClr>
              <a:buSzPts val="6000"/>
              <a:buNone/>
              <a:defRPr sz="8000" b="1">
                <a:solidFill>
                  <a:schemeClr val="accent2"/>
                </a:solidFill>
              </a:defRPr>
            </a:lvl1pPr>
            <a:lvl2pPr lvl="1" algn="ctr" rtl="0">
              <a:spcBef>
                <a:spcPts val="0"/>
              </a:spcBef>
              <a:spcAft>
                <a:spcPts val="0"/>
              </a:spcAft>
              <a:buClr>
                <a:schemeClr val="accent2"/>
              </a:buClr>
              <a:buSzPts val="6000"/>
              <a:buNone/>
              <a:defRPr sz="8000" b="1">
                <a:solidFill>
                  <a:schemeClr val="accent2"/>
                </a:solidFill>
              </a:defRPr>
            </a:lvl2pPr>
            <a:lvl3pPr lvl="2" algn="ctr" rtl="0">
              <a:spcBef>
                <a:spcPts val="0"/>
              </a:spcBef>
              <a:spcAft>
                <a:spcPts val="0"/>
              </a:spcAft>
              <a:buClr>
                <a:schemeClr val="accent2"/>
              </a:buClr>
              <a:buSzPts val="6000"/>
              <a:buNone/>
              <a:defRPr sz="8000" b="1">
                <a:solidFill>
                  <a:schemeClr val="accent2"/>
                </a:solidFill>
              </a:defRPr>
            </a:lvl3pPr>
            <a:lvl4pPr lvl="3" algn="ctr" rtl="0">
              <a:spcBef>
                <a:spcPts val="0"/>
              </a:spcBef>
              <a:spcAft>
                <a:spcPts val="0"/>
              </a:spcAft>
              <a:buClr>
                <a:schemeClr val="accent2"/>
              </a:buClr>
              <a:buSzPts val="6000"/>
              <a:buNone/>
              <a:defRPr sz="8000" b="1">
                <a:solidFill>
                  <a:schemeClr val="accent2"/>
                </a:solidFill>
              </a:defRPr>
            </a:lvl4pPr>
            <a:lvl5pPr lvl="4" algn="ctr" rtl="0">
              <a:spcBef>
                <a:spcPts val="0"/>
              </a:spcBef>
              <a:spcAft>
                <a:spcPts val="0"/>
              </a:spcAft>
              <a:buClr>
                <a:schemeClr val="accent2"/>
              </a:buClr>
              <a:buSzPts val="6000"/>
              <a:buNone/>
              <a:defRPr sz="8000" b="1">
                <a:solidFill>
                  <a:schemeClr val="accent2"/>
                </a:solidFill>
              </a:defRPr>
            </a:lvl5pPr>
            <a:lvl6pPr lvl="5" algn="ctr" rtl="0">
              <a:spcBef>
                <a:spcPts val="0"/>
              </a:spcBef>
              <a:spcAft>
                <a:spcPts val="0"/>
              </a:spcAft>
              <a:buClr>
                <a:schemeClr val="accent2"/>
              </a:buClr>
              <a:buSzPts val="6000"/>
              <a:buNone/>
              <a:defRPr sz="8000" b="1">
                <a:solidFill>
                  <a:schemeClr val="accent2"/>
                </a:solidFill>
              </a:defRPr>
            </a:lvl6pPr>
            <a:lvl7pPr lvl="6" algn="ctr" rtl="0">
              <a:spcBef>
                <a:spcPts val="0"/>
              </a:spcBef>
              <a:spcAft>
                <a:spcPts val="0"/>
              </a:spcAft>
              <a:buClr>
                <a:schemeClr val="accent2"/>
              </a:buClr>
              <a:buSzPts val="6000"/>
              <a:buNone/>
              <a:defRPr sz="8000" b="1">
                <a:solidFill>
                  <a:schemeClr val="accent2"/>
                </a:solidFill>
              </a:defRPr>
            </a:lvl7pPr>
            <a:lvl8pPr lvl="7" algn="ctr" rtl="0">
              <a:spcBef>
                <a:spcPts val="0"/>
              </a:spcBef>
              <a:spcAft>
                <a:spcPts val="0"/>
              </a:spcAft>
              <a:buClr>
                <a:schemeClr val="accent2"/>
              </a:buClr>
              <a:buSzPts val="6000"/>
              <a:buNone/>
              <a:defRPr sz="8000" b="1">
                <a:solidFill>
                  <a:schemeClr val="accent2"/>
                </a:solidFill>
              </a:defRPr>
            </a:lvl8pPr>
            <a:lvl9pPr lvl="8" algn="ctr" rtl="0">
              <a:spcBef>
                <a:spcPts val="0"/>
              </a:spcBef>
              <a:spcAft>
                <a:spcPts val="0"/>
              </a:spcAft>
              <a:buClr>
                <a:schemeClr val="accent2"/>
              </a:buClr>
              <a:buSzPts val="6000"/>
              <a:buNone/>
              <a:defRPr sz="8000" b="1">
                <a:solidFill>
                  <a:schemeClr val="accent2"/>
                </a:solidFill>
              </a:defRPr>
            </a:lvl9pPr>
          </a:lstStyle>
          <a:p>
            <a:endParaRPr/>
          </a:p>
        </p:txBody>
      </p:sp>
      <p:sp>
        <p:nvSpPr>
          <p:cNvPr id="3998" name="Google Shape;3998;p205"/>
          <p:cNvSpPr txBox="1">
            <a:spLocks noGrp="1"/>
          </p:cNvSpPr>
          <p:nvPr>
            <p:ph type="subTitle" idx="5"/>
          </p:nvPr>
        </p:nvSpPr>
        <p:spPr>
          <a:xfrm>
            <a:off x="4273200" y="4126904"/>
            <a:ext cx="3645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algn="ctr" rtl="0">
              <a:spcBef>
                <a:spcPts val="0"/>
              </a:spcBef>
              <a:spcAft>
                <a:spcPts val="0"/>
              </a:spcAft>
              <a:buClr>
                <a:schemeClr val="dk2"/>
              </a:buClr>
              <a:buSzPts val="1200"/>
              <a:buNone/>
              <a:defRPr sz="1600">
                <a:solidFill>
                  <a:schemeClr val="dk2"/>
                </a:solidFill>
              </a:defRPr>
            </a:lvl2pPr>
            <a:lvl3pPr lvl="2" algn="ctr" rtl="0">
              <a:spcBef>
                <a:spcPts val="0"/>
              </a:spcBef>
              <a:spcAft>
                <a:spcPts val="0"/>
              </a:spcAft>
              <a:buClr>
                <a:schemeClr val="dk2"/>
              </a:buClr>
              <a:buSzPts val="1200"/>
              <a:buNone/>
              <a:defRPr sz="1600">
                <a:solidFill>
                  <a:schemeClr val="dk2"/>
                </a:solidFill>
              </a:defRPr>
            </a:lvl3pPr>
            <a:lvl4pPr lvl="3" algn="ctr" rtl="0">
              <a:spcBef>
                <a:spcPts val="0"/>
              </a:spcBef>
              <a:spcAft>
                <a:spcPts val="0"/>
              </a:spcAft>
              <a:buClr>
                <a:schemeClr val="dk2"/>
              </a:buClr>
              <a:buSzPts val="1200"/>
              <a:buNone/>
              <a:defRPr sz="1600">
                <a:solidFill>
                  <a:schemeClr val="dk2"/>
                </a:solidFill>
              </a:defRPr>
            </a:lvl4pPr>
            <a:lvl5pPr lvl="4" algn="ctr" rtl="0">
              <a:spcBef>
                <a:spcPts val="0"/>
              </a:spcBef>
              <a:spcAft>
                <a:spcPts val="0"/>
              </a:spcAft>
              <a:buClr>
                <a:schemeClr val="dk2"/>
              </a:buClr>
              <a:buSzPts val="1200"/>
              <a:buNone/>
              <a:defRPr sz="1600">
                <a:solidFill>
                  <a:schemeClr val="dk2"/>
                </a:solidFill>
              </a:defRPr>
            </a:lvl5pPr>
            <a:lvl6pPr lvl="5" algn="ctr" rtl="0">
              <a:spcBef>
                <a:spcPts val="0"/>
              </a:spcBef>
              <a:spcAft>
                <a:spcPts val="0"/>
              </a:spcAft>
              <a:buClr>
                <a:schemeClr val="dk2"/>
              </a:buClr>
              <a:buSzPts val="1200"/>
              <a:buNone/>
              <a:defRPr sz="1600">
                <a:solidFill>
                  <a:schemeClr val="dk2"/>
                </a:solidFill>
              </a:defRPr>
            </a:lvl6pPr>
            <a:lvl7pPr lvl="6" algn="ctr" rtl="0">
              <a:spcBef>
                <a:spcPts val="0"/>
              </a:spcBef>
              <a:spcAft>
                <a:spcPts val="0"/>
              </a:spcAft>
              <a:buClr>
                <a:schemeClr val="dk2"/>
              </a:buClr>
              <a:buSzPts val="1200"/>
              <a:buNone/>
              <a:defRPr sz="1600">
                <a:solidFill>
                  <a:schemeClr val="dk2"/>
                </a:solidFill>
              </a:defRPr>
            </a:lvl7pPr>
            <a:lvl8pPr lvl="7" algn="ctr" rtl="0">
              <a:spcBef>
                <a:spcPts val="0"/>
              </a:spcBef>
              <a:spcAft>
                <a:spcPts val="0"/>
              </a:spcAft>
              <a:buClr>
                <a:schemeClr val="dk2"/>
              </a:buClr>
              <a:buSzPts val="1200"/>
              <a:buNone/>
              <a:defRPr sz="1600">
                <a:solidFill>
                  <a:schemeClr val="dk2"/>
                </a:solidFill>
              </a:defRPr>
            </a:lvl8pPr>
            <a:lvl9pPr lvl="8" algn="ctr" rtl="0">
              <a:spcBef>
                <a:spcPts val="0"/>
              </a:spcBef>
              <a:spcAft>
                <a:spcPts val="0"/>
              </a:spcAft>
              <a:buClr>
                <a:schemeClr val="dk2"/>
              </a:buClr>
              <a:buSzPts val="1200"/>
              <a:buNone/>
              <a:defRPr sz="1600">
                <a:solidFill>
                  <a:schemeClr val="dk2"/>
                </a:solidFill>
              </a:defRPr>
            </a:lvl9pPr>
          </a:lstStyle>
          <a:p>
            <a:endParaRPr/>
          </a:p>
        </p:txBody>
      </p:sp>
      <p:sp>
        <p:nvSpPr>
          <p:cNvPr id="3999" name="Google Shape;3999;p205"/>
          <p:cNvSpPr txBox="1">
            <a:spLocks noGrp="1"/>
          </p:cNvSpPr>
          <p:nvPr>
            <p:ph type="subTitle" idx="6"/>
          </p:nvPr>
        </p:nvSpPr>
        <p:spPr>
          <a:xfrm>
            <a:off x="4273200" y="2407832"/>
            <a:ext cx="3645600" cy="3900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
        <p:nvSpPr>
          <p:cNvPr id="4000" name="Google Shape;4000;p205"/>
          <p:cNvSpPr txBox="1">
            <a:spLocks noGrp="1"/>
          </p:cNvSpPr>
          <p:nvPr>
            <p:ph type="subTitle" idx="7"/>
          </p:nvPr>
        </p:nvSpPr>
        <p:spPr>
          <a:xfrm>
            <a:off x="8302752" y="2807200"/>
            <a:ext cx="3645600" cy="1280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accent3"/>
              </a:buClr>
              <a:buSzPts val="6000"/>
              <a:buNone/>
              <a:defRPr sz="8000" b="1">
                <a:solidFill>
                  <a:schemeClr val="accent3"/>
                </a:solidFill>
              </a:defRPr>
            </a:lvl1pPr>
            <a:lvl2pPr lvl="1" algn="ctr" rtl="0">
              <a:spcBef>
                <a:spcPts val="0"/>
              </a:spcBef>
              <a:spcAft>
                <a:spcPts val="0"/>
              </a:spcAft>
              <a:buClr>
                <a:schemeClr val="accent3"/>
              </a:buClr>
              <a:buSzPts val="6000"/>
              <a:buNone/>
              <a:defRPr sz="8000" b="1">
                <a:solidFill>
                  <a:schemeClr val="accent3"/>
                </a:solidFill>
              </a:defRPr>
            </a:lvl2pPr>
            <a:lvl3pPr lvl="2" algn="ctr" rtl="0">
              <a:spcBef>
                <a:spcPts val="0"/>
              </a:spcBef>
              <a:spcAft>
                <a:spcPts val="0"/>
              </a:spcAft>
              <a:buClr>
                <a:schemeClr val="accent3"/>
              </a:buClr>
              <a:buSzPts val="6000"/>
              <a:buNone/>
              <a:defRPr sz="8000" b="1">
                <a:solidFill>
                  <a:schemeClr val="accent3"/>
                </a:solidFill>
              </a:defRPr>
            </a:lvl3pPr>
            <a:lvl4pPr lvl="3" algn="ctr" rtl="0">
              <a:spcBef>
                <a:spcPts val="0"/>
              </a:spcBef>
              <a:spcAft>
                <a:spcPts val="0"/>
              </a:spcAft>
              <a:buClr>
                <a:schemeClr val="accent3"/>
              </a:buClr>
              <a:buSzPts val="6000"/>
              <a:buNone/>
              <a:defRPr sz="8000" b="1">
                <a:solidFill>
                  <a:schemeClr val="accent3"/>
                </a:solidFill>
              </a:defRPr>
            </a:lvl4pPr>
            <a:lvl5pPr lvl="4" algn="ctr" rtl="0">
              <a:spcBef>
                <a:spcPts val="0"/>
              </a:spcBef>
              <a:spcAft>
                <a:spcPts val="0"/>
              </a:spcAft>
              <a:buClr>
                <a:schemeClr val="accent3"/>
              </a:buClr>
              <a:buSzPts val="6000"/>
              <a:buNone/>
              <a:defRPr sz="8000" b="1">
                <a:solidFill>
                  <a:schemeClr val="accent3"/>
                </a:solidFill>
              </a:defRPr>
            </a:lvl5pPr>
            <a:lvl6pPr lvl="5" algn="ctr" rtl="0">
              <a:spcBef>
                <a:spcPts val="0"/>
              </a:spcBef>
              <a:spcAft>
                <a:spcPts val="0"/>
              </a:spcAft>
              <a:buClr>
                <a:schemeClr val="accent3"/>
              </a:buClr>
              <a:buSzPts val="6000"/>
              <a:buNone/>
              <a:defRPr sz="8000" b="1">
                <a:solidFill>
                  <a:schemeClr val="accent3"/>
                </a:solidFill>
              </a:defRPr>
            </a:lvl6pPr>
            <a:lvl7pPr lvl="6" algn="ctr" rtl="0">
              <a:spcBef>
                <a:spcPts val="0"/>
              </a:spcBef>
              <a:spcAft>
                <a:spcPts val="0"/>
              </a:spcAft>
              <a:buClr>
                <a:schemeClr val="accent3"/>
              </a:buClr>
              <a:buSzPts val="6000"/>
              <a:buNone/>
              <a:defRPr sz="8000" b="1">
                <a:solidFill>
                  <a:schemeClr val="accent3"/>
                </a:solidFill>
              </a:defRPr>
            </a:lvl7pPr>
            <a:lvl8pPr lvl="7" algn="ctr" rtl="0">
              <a:spcBef>
                <a:spcPts val="0"/>
              </a:spcBef>
              <a:spcAft>
                <a:spcPts val="0"/>
              </a:spcAft>
              <a:buClr>
                <a:schemeClr val="accent3"/>
              </a:buClr>
              <a:buSzPts val="6000"/>
              <a:buNone/>
              <a:defRPr sz="8000" b="1">
                <a:solidFill>
                  <a:schemeClr val="accent3"/>
                </a:solidFill>
              </a:defRPr>
            </a:lvl8pPr>
            <a:lvl9pPr lvl="8" algn="ctr" rtl="0">
              <a:spcBef>
                <a:spcPts val="0"/>
              </a:spcBef>
              <a:spcAft>
                <a:spcPts val="0"/>
              </a:spcAft>
              <a:buClr>
                <a:schemeClr val="accent3"/>
              </a:buClr>
              <a:buSzPts val="6000"/>
              <a:buNone/>
              <a:defRPr sz="8000" b="1">
                <a:solidFill>
                  <a:schemeClr val="accent3"/>
                </a:solidFill>
              </a:defRPr>
            </a:lvl9pPr>
          </a:lstStyle>
          <a:p>
            <a:endParaRPr/>
          </a:p>
        </p:txBody>
      </p:sp>
      <p:sp>
        <p:nvSpPr>
          <p:cNvPr id="4001" name="Google Shape;4001;p205"/>
          <p:cNvSpPr txBox="1">
            <a:spLocks noGrp="1"/>
          </p:cNvSpPr>
          <p:nvPr>
            <p:ph type="subTitle" idx="8"/>
          </p:nvPr>
        </p:nvSpPr>
        <p:spPr>
          <a:xfrm>
            <a:off x="8302752" y="4123936"/>
            <a:ext cx="3645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algn="ctr" rtl="0">
              <a:spcBef>
                <a:spcPts val="0"/>
              </a:spcBef>
              <a:spcAft>
                <a:spcPts val="0"/>
              </a:spcAft>
              <a:buClr>
                <a:schemeClr val="dk2"/>
              </a:buClr>
              <a:buSzPts val="1200"/>
              <a:buNone/>
              <a:defRPr sz="1600">
                <a:solidFill>
                  <a:schemeClr val="dk2"/>
                </a:solidFill>
              </a:defRPr>
            </a:lvl2pPr>
            <a:lvl3pPr lvl="2" algn="ctr" rtl="0">
              <a:spcBef>
                <a:spcPts val="0"/>
              </a:spcBef>
              <a:spcAft>
                <a:spcPts val="0"/>
              </a:spcAft>
              <a:buClr>
                <a:schemeClr val="dk2"/>
              </a:buClr>
              <a:buSzPts val="1200"/>
              <a:buNone/>
              <a:defRPr sz="1600">
                <a:solidFill>
                  <a:schemeClr val="dk2"/>
                </a:solidFill>
              </a:defRPr>
            </a:lvl3pPr>
            <a:lvl4pPr lvl="3" algn="ctr" rtl="0">
              <a:spcBef>
                <a:spcPts val="0"/>
              </a:spcBef>
              <a:spcAft>
                <a:spcPts val="0"/>
              </a:spcAft>
              <a:buClr>
                <a:schemeClr val="dk2"/>
              </a:buClr>
              <a:buSzPts val="1200"/>
              <a:buNone/>
              <a:defRPr sz="1600">
                <a:solidFill>
                  <a:schemeClr val="dk2"/>
                </a:solidFill>
              </a:defRPr>
            </a:lvl4pPr>
            <a:lvl5pPr lvl="4" algn="ctr" rtl="0">
              <a:spcBef>
                <a:spcPts val="0"/>
              </a:spcBef>
              <a:spcAft>
                <a:spcPts val="0"/>
              </a:spcAft>
              <a:buClr>
                <a:schemeClr val="dk2"/>
              </a:buClr>
              <a:buSzPts val="1200"/>
              <a:buNone/>
              <a:defRPr sz="1600">
                <a:solidFill>
                  <a:schemeClr val="dk2"/>
                </a:solidFill>
              </a:defRPr>
            </a:lvl5pPr>
            <a:lvl6pPr lvl="5" algn="ctr" rtl="0">
              <a:spcBef>
                <a:spcPts val="0"/>
              </a:spcBef>
              <a:spcAft>
                <a:spcPts val="0"/>
              </a:spcAft>
              <a:buClr>
                <a:schemeClr val="dk2"/>
              </a:buClr>
              <a:buSzPts val="1200"/>
              <a:buNone/>
              <a:defRPr sz="1600">
                <a:solidFill>
                  <a:schemeClr val="dk2"/>
                </a:solidFill>
              </a:defRPr>
            </a:lvl6pPr>
            <a:lvl7pPr lvl="6" algn="ctr" rtl="0">
              <a:spcBef>
                <a:spcPts val="0"/>
              </a:spcBef>
              <a:spcAft>
                <a:spcPts val="0"/>
              </a:spcAft>
              <a:buClr>
                <a:schemeClr val="dk2"/>
              </a:buClr>
              <a:buSzPts val="1200"/>
              <a:buNone/>
              <a:defRPr sz="1600">
                <a:solidFill>
                  <a:schemeClr val="dk2"/>
                </a:solidFill>
              </a:defRPr>
            </a:lvl7pPr>
            <a:lvl8pPr lvl="7" algn="ctr" rtl="0">
              <a:spcBef>
                <a:spcPts val="0"/>
              </a:spcBef>
              <a:spcAft>
                <a:spcPts val="0"/>
              </a:spcAft>
              <a:buClr>
                <a:schemeClr val="dk2"/>
              </a:buClr>
              <a:buSzPts val="1200"/>
              <a:buNone/>
              <a:defRPr sz="1600">
                <a:solidFill>
                  <a:schemeClr val="dk2"/>
                </a:solidFill>
              </a:defRPr>
            </a:lvl8pPr>
            <a:lvl9pPr lvl="8" algn="ctr" rtl="0">
              <a:spcBef>
                <a:spcPts val="0"/>
              </a:spcBef>
              <a:spcAft>
                <a:spcPts val="0"/>
              </a:spcAft>
              <a:buClr>
                <a:schemeClr val="dk2"/>
              </a:buClr>
              <a:buSzPts val="1200"/>
              <a:buNone/>
              <a:defRPr sz="1600">
                <a:solidFill>
                  <a:schemeClr val="dk2"/>
                </a:solidFill>
              </a:defRPr>
            </a:lvl9pPr>
          </a:lstStyle>
          <a:p>
            <a:endParaRPr/>
          </a:p>
        </p:txBody>
      </p:sp>
      <p:sp>
        <p:nvSpPr>
          <p:cNvPr id="4002" name="Google Shape;4002;p205"/>
          <p:cNvSpPr txBox="1">
            <a:spLocks noGrp="1"/>
          </p:cNvSpPr>
          <p:nvPr>
            <p:ph type="subTitle" idx="9"/>
          </p:nvPr>
        </p:nvSpPr>
        <p:spPr>
          <a:xfrm>
            <a:off x="8302752" y="2404864"/>
            <a:ext cx="3645600" cy="3900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Tree>
    <p:extLst>
      <p:ext uri="{BB962C8B-B14F-4D97-AF65-F5344CB8AC3E}">
        <p14:creationId xmlns:p14="http://schemas.microsoft.com/office/powerpoint/2010/main" val="286813936"/>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matchingName="71. Four large numbers">
  <p:cSld name="71. Four large numbers">
    <p:spTree>
      <p:nvGrpSpPr>
        <p:cNvPr id="1" name="Shape 4003"/>
        <p:cNvGrpSpPr/>
        <p:nvPr/>
      </p:nvGrpSpPr>
      <p:grpSpPr>
        <a:xfrm>
          <a:off x="0" y="0"/>
          <a:ext cx="0" cy="0"/>
          <a:chOff x="0" y="0"/>
          <a:chExt cx="0" cy="0"/>
        </a:xfrm>
      </p:grpSpPr>
      <p:grpSp>
        <p:nvGrpSpPr>
          <p:cNvPr id="4004" name="Google Shape;4004;p206"/>
          <p:cNvGrpSpPr/>
          <p:nvPr/>
        </p:nvGrpSpPr>
        <p:grpSpPr>
          <a:xfrm>
            <a:off x="12253600" y="1"/>
            <a:ext cx="3438989" cy="3424452"/>
            <a:chOff x="22170399" y="777240"/>
            <a:chExt cx="6877978" cy="6848903"/>
          </a:xfrm>
        </p:grpSpPr>
        <p:grpSp>
          <p:nvGrpSpPr>
            <p:cNvPr id="4005" name="Google Shape;4005;p206"/>
            <p:cNvGrpSpPr/>
            <p:nvPr/>
          </p:nvGrpSpPr>
          <p:grpSpPr>
            <a:xfrm>
              <a:off x="22170399" y="777240"/>
              <a:ext cx="6877978" cy="6848903"/>
              <a:chOff x="22155159" y="0"/>
              <a:chExt cx="6877978" cy="6848903"/>
            </a:xfrm>
          </p:grpSpPr>
          <p:sp>
            <p:nvSpPr>
              <p:cNvPr id="4006" name="Google Shape;4006;p206"/>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007" name="Google Shape;4007;p206"/>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008" name="Google Shape;4008;p206"/>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009" name="Google Shape;4009;p206"/>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010" name="Google Shape;4010;p206"/>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011" name="Google Shape;4011;p206"/>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012" name="Google Shape;4012;p206"/>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013" name="Google Shape;4013;p206"/>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014" name="Google Shape;4014;p206"/>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015" name="Google Shape;4015;p206"/>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016" name="Google Shape;4016;p206"/>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017" name="Google Shape;4017;p206"/>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018" name="Google Shape;4018;p206"/>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019" name="Google Shape;4019;p206"/>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020" name="Google Shape;4020;p206"/>
          <p:cNvSpPr txBox="1">
            <a:spLocks noGrp="1"/>
          </p:cNvSpPr>
          <p:nvPr>
            <p:ph type="subTitle" idx="1"/>
          </p:nvPr>
        </p:nvSpPr>
        <p:spPr>
          <a:xfrm>
            <a:off x="1219200" y="1475232"/>
            <a:ext cx="4462400" cy="12924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accent1"/>
              </a:buClr>
              <a:buSzPts val="6000"/>
              <a:buNone/>
              <a:defRPr sz="8000" b="1">
                <a:solidFill>
                  <a:schemeClr val="accent1"/>
                </a:solidFill>
              </a:defRPr>
            </a:lvl1pPr>
            <a:lvl2pPr lvl="1" algn="ctr" rtl="0">
              <a:spcBef>
                <a:spcPts val="0"/>
              </a:spcBef>
              <a:spcAft>
                <a:spcPts val="0"/>
              </a:spcAft>
              <a:buClr>
                <a:schemeClr val="accent1"/>
              </a:buClr>
              <a:buSzPts val="6000"/>
              <a:buNone/>
              <a:defRPr sz="8000" b="1">
                <a:solidFill>
                  <a:schemeClr val="accent1"/>
                </a:solidFill>
              </a:defRPr>
            </a:lvl2pPr>
            <a:lvl3pPr lvl="2" algn="ctr" rtl="0">
              <a:spcBef>
                <a:spcPts val="0"/>
              </a:spcBef>
              <a:spcAft>
                <a:spcPts val="0"/>
              </a:spcAft>
              <a:buClr>
                <a:schemeClr val="accent1"/>
              </a:buClr>
              <a:buSzPts val="6000"/>
              <a:buNone/>
              <a:defRPr sz="8000" b="1">
                <a:solidFill>
                  <a:schemeClr val="accent1"/>
                </a:solidFill>
              </a:defRPr>
            </a:lvl3pPr>
            <a:lvl4pPr lvl="3" algn="ctr" rtl="0">
              <a:spcBef>
                <a:spcPts val="0"/>
              </a:spcBef>
              <a:spcAft>
                <a:spcPts val="0"/>
              </a:spcAft>
              <a:buClr>
                <a:schemeClr val="accent1"/>
              </a:buClr>
              <a:buSzPts val="6000"/>
              <a:buNone/>
              <a:defRPr sz="8000" b="1">
                <a:solidFill>
                  <a:schemeClr val="accent1"/>
                </a:solidFill>
              </a:defRPr>
            </a:lvl4pPr>
            <a:lvl5pPr lvl="4" algn="ctr" rtl="0">
              <a:spcBef>
                <a:spcPts val="0"/>
              </a:spcBef>
              <a:spcAft>
                <a:spcPts val="0"/>
              </a:spcAft>
              <a:buClr>
                <a:schemeClr val="accent1"/>
              </a:buClr>
              <a:buSzPts val="6000"/>
              <a:buNone/>
              <a:defRPr sz="8000" b="1">
                <a:solidFill>
                  <a:schemeClr val="accent1"/>
                </a:solidFill>
              </a:defRPr>
            </a:lvl5pPr>
            <a:lvl6pPr lvl="5" algn="ctr" rtl="0">
              <a:spcBef>
                <a:spcPts val="0"/>
              </a:spcBef>
              <a:spcAft>
                <a:spcPts val="0"/>
              </a:spcAft>
              <a:buClr>
                <a:schemeClr val="accent1"/>
              </a:buClr>
              <a:buSzPts val="6000"/>
              <a:buNone/>
              <a:defRPr sz="8000" b="1">
                <a:solidFill>
                  <a:schemeClr val="accent1"/>
                </a:solidFill>
              </a:defRPr>
            </a:lvl6pPr>
            <a:lvl7pPr lvl="6" algn="ctr" rtl="0">
              <a:spcBef>
                <a:spcPts val="0"/>
              </a:spcBef>
              <a:spcAft>
                <a:spcPts val="0"/>
              </a:spcAft>
              <a:buClr>
                <a:schemeClr val="accent1"/>
              </a:buClr>
              <a:buSzPts val="6000"/>
              <a:buNone/>
              <a:defRPr sz="8000" b="1">
                <a:solidFill>
                  <a:schemeClr val="accent1"/>
                </a:solidFill>
              </a:defRPr>
            </a:lvl7pPr>
            <a:lvl8pPr lvl="7" algn="ctr" rtl="0">
              <a:spcBef>
                <a:spcPts val="0"/>
              </a:spcBef>
              <a:spcAft>
                <a:spcPts val="0"/>
              </a:spcAft>
              <a:buClr>
                <a:schemeClr val="accent1"/>
              </a:buClr>
              <a:buSzPts val="6000"/>
              <a:buNone/>
              <a:defRPr sz="8000" b="1">
                <a:solidFill>
                  <a:schemeClr val="accent1"/>
                </a:solidFill>
              </a:defRPr>
            </a:lvl8pPr>
            <a:lvl9pPr lvl="8" algn="ctr" rtl="0">
              <a:spcBef>
                <a:spcPts val="0"/>
              </a:spcBef>
              <a:spcAft>
                <a:spcPts val="0"/>
              </a:spcAft>
              <a:buClr>
                <a:schemeClr val="accent1"/>
              </a:buClr>
              <a:buSzPts val="6000"/>
              <a:buNone/>
              <a:defRPr sz="8000" b="1">
                <a:solidFill>
                  <a:schemeClr val="accent1"/>
                </a:solidFill>
              </a:defRPr>
            </a:lvl9pPr>
          </a:lstStyle>
          <a:p>
            <a:endParaRPr/>
          </a:p>
        </p:txBody>
      </p:sp>
      <p:sp>
        <p:nvSpPr>
          <p:cNvPr id="4021" name="Google Shape;4021;p206"/>
          <p:cNvSpPr txBox="1">
            <a:spLocks noGrp="1"/>
          </p:cNvSpPr>
          <p:nvPr>
            <p:ph type="subTitle" idx="2"/>
          </p:nvPr>
        </p:nvSpPr>
        <p:spPr>
          <a:xfrm>
            <a:off x="1219200" y="2816531"/>
            <a:ext cx="44624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algn="ctr" rtl="0">
              <a:spcBef>
                <a:spcPts val="0"/>
              </a:spcBef>
              <a:spcAft>
                <a:spcPts val="0"/>
              </a:spcAft>
              <a:buClr>
                <a:schemeClr val="dk2"/>
              </a:buClr>
              <a:buSzPts val="1200"/>
              <a:buNone/>
              <a:defRPr sz="1600">
                <a:solidFill>
                  <a:schemeClr val="dk2"/>
                </a:solidFill>
              </a:defRPr>
            </a:lvl2pPr>
            <a:lvl3pPr lvl="2" algn="ctr" rtl="0">
              <a:spcBef>
                <a:spcPts val="0"/>
              </a:spcBef>
              <a:spcAft>
                <a:spcPts val="0"/>
              </a:spcAft>
              <a:buClr>
                <a:schemeClr val="dk2"/>
              </a:buClr>
              <a:buSzPts val="1200"/>
              <a:buNone/>
              <a:defRPr sz="1600">
                <a:solidFill>
                  <a:schemeClr val="dk2"/>
                </a:solidFill>
              </a:defRPr>
            </a:lvl3pPr>
            <a:lvl4pPr lvl="3" algn="ctr" rtl="0">
              <a:spcBef>
                <a:spcPts val="0"/>
              </a:spcBef>
              <a:spcAft>
                <a:spcPts val="0"/>
              </a:spcAft>
              <a:buClr>
                <a:schemeClr val="dk2"/>
              </a:buClr>
              <a:buSzPts val="1200"/>
              <a:buNone/>
              <a:defRPr sz="1600">
                <a:solidFill>
                  <a:schemeClr val="dk2"/>
                </a:solidFill>
              </a:defRPr>
            </a:lvl4pPr>
            <a:lvl5pPr lvl="4" algn="ctr" rtl="0">
              <a:spcBef>
                <a:spcPts val="0"/>
              </a:spcBef>
              <a:spcAft>
                <a:spcPts val="0"/>
              </a:spcAft>
              <a:buClr>
                <a:schemeClr val="dk2"/>
              </a:buClr>
              <a:buSzPts val="1200"/>
              <a:buNone/>
              <a:defRPr sz="1600">
                <a:solidFill>
                  <a:schemeClr val="dk2"/>
                </a:solidFill>
              </a:defRPr>
            </a:lvl5pPr>
            <a:lvl6pPr lvl="5" algn="ctr" rtl="0">
              <a:spcBef>
                <a:spcPts val="0"/>
              </a:spcBef>
              <a:spcAft>
                <a:spcPts val="0"/>
              </a:spcAft>
              <a:buClr>
                <a:schemeClr val="dk2"/>
              </a:buClr>
              <a:buSzPts val="1200"/>
              <a:buNone/>
              <a:defRPr sz="1600">
                <a:solidFill>
                  <a:schemeClr val="dk2"/>
                </a:solidFill>
              </a:defRPr>
            </a:lvl6pPr>
            <a:lvl7pPr lvl="6" algn="ctr" rtl="0">
              <a:spcBef>
                <a:spcPts val="0"/>
              </a:spcBef>
              <a:spcAft>
                <a:spcPts val="0"/>
              </a:spcAft>
              <a:buClr>
                <a:schemeClr val="dk2"/>
              </a:buClr>
              <a:buSzPts val="1200"/>
              <a:buNone/>
              <a:defRPr sz="1600">
                <a:solidFill>
                  <a:schemeClr val="dk2"/>
                </a:solidFill>
              </a:defRPr>
            </a:lvl7pPr>
            <a:lvl8pPr lvl="7" algn="ctr" rtl="0">
              <a:spcBef>
                <a:spcPts val="0"/>
              </a:spcBef>
              <a:spcAft>
                <a:spcPts val="0"/>
              </a:spcAft>
              <a:buClr>
                <a:schemeClr val="dk2"/>
              </a:buClr>
              <a:buSzPts val="1200"/>
              <a:buNone/>
              <a:defRPr sz="1600">
                <a:solidFill>
                  <a:schemeClr val="dk2"/>
                </a:solidFill>
              </a:defRPr>
            </a:lvl8pPr>
            <a:lvl9pPr lvl="8" algn="ctr" rtl="0">
              <a:spcBef>
                <a:spcPts val="0"/>
              </a:spcBef>
              <a:spcAft>
                <a:spcPts val="0"/>
              </a:spcAft>
              <a:buClr>
                <a:schemeClr val="dk2"/>
              </a:buClr>
              <a:buSzPts val="1200"/>
              <a:buNone/>
              <a:defRPr sz="1600">
                <a:solidFill>
                  <a:schemeClr val="dk2"/>
                </a:solidFill>
              </a:defRPr>
            </a:lvl9pPr>
          </a:lstStyle>
          <a:p>
            <a:endParaRPr/>
          </a:p>
        </p:txBody>
      </p:sp>
      <p:sp>
        <p:nvSpPr>
          <p:cNvPr id="4022" name="Google Shape;4022;p206"/>
          <p:cNvSpPr txBox="1">
            <a:spLocks noGrp="1"/>
          </p:cNvSpPr>
          <p:nvPr>
            <p:ph type="subTitle" idx="3"/>
          </p:nvPr>
        </p:nvSpPr>
        <p:spPr>
          <a:xfrm>
            <a:off x="1219200" y="1036320"/>
            <a:ext cx="4462400" cy="3900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
        <p:nvSpPr>
          <p:cNvPr id="4023" name="Google Shape;4023;p206"/>
          <p:cNvSpPr txBox="1">
            <a:spLocks noGrp="1"/>
          </p:cNvSpPr>
          <p:nvPr>
            <p:ph type="subTitle" idx="4"/>
          </p:nvPr>
        </p:nvSpPr>
        <p:spPr>
          <a:xfrm>
            <a:off x="1219200" y="4181856"/>
            <a:ext cx="4462400" cy="12924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accent3"/>
              </a:buClr>
              <a:buSzPts val="6000"/>
              <a:buNone/>
              <a:defRPr sz="8000" b="1">
                <a:solidFill>
                  <a:schemeClr val="accent3"/>
                </a:solidFill>
              </a:defRPr>
            </a:lvl1pPr>
            <a:lvl2pPr lvl="1" algn="ctr" rtl="0">
              <a:spcBef>
                <a:spcPts val="0"/>
              </a:spcBef>
              <a:spcAft>
                <a:spcPts val="0"/>
              </a:spcAft>
              <a:buClr>
                <a:schemeClr val="accent3"/>
              </a:buClr>
              <a:buSzPts val="6000"/>
              <a:buNone/>
              <a:defRPr sz="8000" b="1">
                <a:solidFill>
                  <a:schemeClr val="accent3"/>
                </a:solidFill>
              </a:defRPr>
            </a:lvl2pPr>
            <a:lvl3pPr lvl="2" algn="ctr" rtl="0">
              <a:spcBef>
                <a:spcPts val="0"/>
              </a:spcBef>
              <a:spcAft>
                <a:spcPts val="0"/>
              </a:spcAft>
              <a:buClr>
                <a:schemeClr val="accent3"/>
              </a:buClr>
              <a:buSzPts val="6000"/>
              <a:buNone/>
              <a:defRPr sz="8000" b="1">
                <a:solidFill>
                  <a:schemeClr val="accent3"/>
                </a:solidFill>
              </a:defRPr>
            </a:lvl3pPr>
            <a:lvl4pPr lvl="3" algn="ctr" rtl="0">
              <a:spcBef>
                <a:spcPts val="0"/>
              </a:spcBef>
              <a:spcAft>
                <a:spcPts val="0"/>
              </a:spcAft>
              <a:buClr>
                <a:schemeClr val="accent3"/>
              </a:buClr>
              <a:buSzPts val="6000"/>
              <a:buNone/>
              <a:defRPr sz="8000" b="1">
                <a:solidFill>
                  <a:schemeClr val="accent3"/>
                </a:solidFill>
              </a:defRPr>
            </a:lvl4pPr>
            <a:lvl5pPr lvl="4" algn="ctr" rtl="0">
              <a:spcBef>
                <a:spcPts val="0"/>
              </a:spcBef>
              <a:spcAft>
                <a:spcPts val="0"/>
              </a:spcAft>
              <a:buClr>
                <a:schemeClr val="accent3"/>
              </a:buClr>
              <a:buSzPts val="6000"/>
              <a:buNone/>
              <a:defRPr sz="8000" b="1">
                <a:solidFill>
                  <a:schemeClr val="accent3"/>
                </a:solidFill>
              </a:defRPr>
            </a:lvl5pPr>
            <a:lvl6pPr lvl="5" algn="ctr" rtl="0">
              <a:spcBef>
                <a:spcPts val="0"/>
              </a:spcBef>
              <a:spcAft>
                <a:spcPts val="0"/>
              </a:spcAft>
              <a:buClr>
                <a:schemeClr val="accent3"/>
              </a:buClr>
              <a:buSzPts val="6000"/>
              <a:buNone/>
              <a:defRPr sz="8000" b="1">
                <a:solidFill>
                  <a:schemeClr val="accent3"/>
                </a:solidFill>
              </a:defRPr>
            </a:lvl6pPr>
            <a:lvl7pPr lvl="6" algn="ctr" rtl="0">
              <a:spcBef>
                <a:spcPts val="0"/>
              </a:spcBef>
              <a:spcAft>
                <a:spcPts val="0"/>
              </a:spcAft>
              <a:buClr>
                <a:schemeClr val="accent3"/>
              </a:buClr>
              <a:buSzPts val="6000"/>
              <a:buNone/>
              <a:defRPr sz="8000" b="1">
                <a:solidFill>
                  <a:schemeClr val="accent3"/>
                </a:solidFill>
              </a:defRPr>
            </a:lvl7pPr>
            <a:lvl8pPr lvl="7" algn="ctr" rtl="0">
              <a:spcBef>
                <a:spcPts val="0"/>
              </a:spcBef>
              <a:spcAft>
                <a:spcPts val="0"/>
              </a:spcAft>
              <a:buClr>
                <a:schemeClr val="accent3"/>
              </a:buClr>
              <a:buSzPts val="6000"/>
              <a:buNone/>
              <a:defRPr sz="8000" b="1">
                <a:solidFill>
                  <a:schemeClr val="accent3"/>
                </a:solidFill>
              </a:defRPr>
            </a:lvl8pPr>
            <a:lvl9pPr lvl="8" algn="ctr" rtl="0">
              <a:spcBef>
                <a:spcPts val="0"/>
              </a:spcBef>
              <a:spcAft>
                <a:spcPts val="0"/>
              </a:spcAft>
              <a:buClr>
                <a:schemeClr val="accent3"/>
              </a:buClr>
              <a:buSzPts val="6000"/>
              <a:buNone/>
              <a:defRPr sz="8000" b="1">
                <a:solidFill>
                  <a:schemeClr val="accent3"/>
                </a:solidFill>
              </a:defRPr>
            </a:lvl9pPr>
          </a:lstStyle>
          <a:p>
            <a:endParaRPr/>
          </a:p>
        </p:txBody>
      </p:sp>
      <p:sp>
        <p:nvSpPr>
          <p:cNvPr id="4024" name="Google Shape;4024;p206"/>
          <p:cNvSpPr txBox="1">
            <a:spLocks noGrp="1"/>
          </p:cNvSpPr>
          <p:nvPr>
            <p:ph type="subTitle" idx="5"/>
          </p:nvPr>
        </p:nvSpPr>
        <p:spPr>
          <a:xfrm>
            <a:off x="1219200" y="5523155"/>
            <a:ext cx="44624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algn="ctr" rtl="0">
              <a:spcBef>
                <a:spcPts val="0"/>
              </a:spcBef>
              <a:spcAft>
                <a:spcPts val="0"/>
              </a:spcAft>
              <a:buClr>
                <a:schemeClr val="dk2"/>
              </a:buClr>
              <a:buSzPts val="1200"/>
              <a:buNone/>
              <a:defRPr sz="1600">
                <a:solidFill>
                  <a:schemeClr val="dk2"/>
                </a:solidFill>
              </a:defRPr>
            </a:lvl2pPr>
            <a:lvl3pPr lvl="2" algn="ctr" rtl="0">
              <a:spcBef>
                <a:spcPts val="0"/>
              </a:spcBef>
              <a:spcAft>
                <a:spcPts val="0"/>
              </a:spcAft>
              <a:buClr>
                <a:schemeClr val="dk2"/>
              </a:buClr>
              <a:buSzPts val="1200"/>
              <a:buNone/>
              <a:defRPr sz="1600">
                <a:solidFill>
                  <a:schemeClr val="dk2"/>
                </a:solidFill>
              </a:defRPr>
            </a:lvl3pPr>
            <a:lvl4pPr lvl="3" algn="ctr" rtl="0">
              <a:spcBef>
                <a:spcPts val="0"/>
              </a:spcBef>
              <a:spcAft>
                <a:spcPts val="0"/>
              </a:spcAft>
              <a:buClr>
                <a:schemeClr val="dk2"/>
              </a:buClr>
              <a:buSzPts val="1200"/>
              <a:buNone/>
              <a:defRPr sz="1600">
                <a:solidFill>
                  <a:schemeClr val="dk2"/>
                </a:solidFill>
              </a:defRPr>
            </a:lvl4pPr>
            <a:lvl5pPr lvl="4" algn="ctr" rtl="0">
              <a:spcBef>
                <a:spcPts val="0"/>
              </a:spcBef>
              <a:spcAft>
                <a:spcPts val="0"/>
              </a:spcAft>
              <a:buClr>
                <a:schemeClr val="dk2"/>
              </a:buClr>
              <a:buSzPts val="1200"/>
              <a:buNone/>
              <a:defRPr sz="1600">
                <a:solidFill>
                  <a:schemeClr val="dk2"/>
                </a:solidFill>
              </a:defRPr>
            </a:lvl5pPr>
            <a:lvl6pPr lvl="5" algn="ctr" rtl="0">
              <a:spcBef>
                <a:spcPts val="0"/>
              </a:spcBef>
              <a:spcAft>
                <a:spcPts val="0"/>
              </a:spcAft>
              <a:buClr>
                <a:schemeClr val="dk2"/>
              </a:buClr>
              <a:buSzPts val="1200"/>
              <a:buNone/>
              <a:defRPr sz="1600">
                <a:solidFill>
                  <a:schemeClr val="dk2"/>
                </a:solidFill>
              </a:defRPr>
            </a:lvl6pPr>
            <a:lvl7pPr lvl="6" algn="ctr" rtl="0">
              <a:spcBef>
                <a:spcPts val="0"/>
              </a:spcBef>
              <a:spcAft>
                <a:spcPts val="0"/>
              </a:spcAft>
              <a:buClr>
                <a:schemeClr val="dk2"/>
              </a:buClr>
              <a:buSzPts val="1200"/>
              <a:buNone/>
              <a:defRPr sz="1600">
                <a:solidFill>
                  <a:schemeClr val="dk2"/>
                </a:solidFill>
              </a:defRPr>
            </a:lvl7pPr>
            <a:lvl8pPr lvl="7" algn="ctr" rtl="0">
              <a:spcBef>
                <a:spcPts val="0"/>
              </a:spcBef>
              <a:spcAft>
                <a:spcPts val="0"/>
              </a:spcAft>
              <a:buClr>
                <a:schemeClr val="dk2"/>
              </a:buClr>
              <a:buSzPts val="1200"/>
              <a:buNone/>
              <a:defRPr sz="1600">
                <a:solidFill>
                  <a:schemeClr val="dk2"/>
                </a:solidFill>
              </a:defRPr>
            </a:lvl8pPr>
            <a:lvl9pPr lvl="8" algn="ctr" rtl="0">
              <a:spcBef>
                <a:spcPts val="0"/>
              </a:spcBef>
              <a:spcAft>
                <a:spcPts val="0"/>
              </a:spcAft>
              <a:buClr>
                <a:schemeClr val="dk2"/>
              </a:buClr>
              <a:buSzPts val="1200"/>
              <a:buNone/>
              <a:defRPr sz="1600">
                <a:solidFill>
                  <a:schemeClr val="dk2"/>
                </a:solidFill>
              </a:defRPr>
            </a:lvl9pPr>
          </a:lstStyle>
          <a:p>
            <a:endParaRPr/>
          </a:p>
        </p:txBody>
      </p:sp>
      <p:sp>
        <p:nvSpPr>
          <p:cNvPr id="4025" name="Google Shape;4025;p206"/>
          <p:cNvSpPr txBox="1">
            <a:spLocks noGrp="1"/>
          </p:cNvSpPr>
          <p:nvPr>
            <p:ph type="subTitle" idx="6"/>
          </p:nvPr>
        </p:nvSpPr>
        <p:spPr>
          <a:xfrm>
            <a:off x="1219200" y="3742944"/>
            <a:ext cx="4462400" cy="3900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
        <p:nvSpPr>
          <p:cNvPr id="4026" name="Google Shape;4026;p206"/>
          <p:cNvSpPr txBox="1">
            <a:spLocks noGrp="1"/>
          </p:cNvSpPr>
          <p:nvPr>
            <p:ph type="subTitle" idx="7"/>
          </p:nvPr>
        </p:nvSpPr>
        <p:spPr>
          <a:xfrm>
            <a:off x="6736400" y="1459899"/>
            <a:ext cx="4462400" cy="12924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accent2"/>
              </a:buClr>
              <a:buSzPts val="6000"/>
              <a:buNone/>
              <a:defRPr sz="8000" b="1">
                <a:solidFill>
                  <a:schemeClr val="accent2"/>
                </a:solidFill>
              </a:defRPr>
            </a:lvl1pPr>
            <a:lvl2pPr lvl="1" algn="ctr" rtl="0">
              <a:spcBef>
                <a:spcPts val="0"/>
              </a:spcBef>
              <a:spcAft>
                <a:spcPts val="0"/>
              </a:spcAft>
              <a:buClr>
                <a:schemeClr val="accent2"/>
              </a:buClr>
              <a:buSzPts val="6000"/>
              <a:buNone/>
              <a:defRPr sz="8000" b="1">
                <a:solidFill>
                  <a:schemeClr val="accent2"/>
                </a:solidFill>
              </a:defRPr>
            </a:lvl2pPr>
            <a:lvl3pPr lvl="2" algn="ctr" rtl="0">
              <a:spcBef>
                <a:spcPts val="0"/>
              </a:spcBef>
              <a:spcAft>
                <a:spcPts val="0"/>
              </a:spcAft>
              <a:buClr>
                <a:schemeClr val="accent2"/>
              </a:buClr>
              <a:buSzPts val="6000"/>
              <a:buNone/>
              <a:defRPr sz="8000" b="1">
                <a:solidFill>
                  <a:schemeClr val="accent2"/>
                </a:solidFill>
              </a:defRPr>
            </a:lvl3pPr>
            <a:lvl4pPr lvl="3" algn="ctr" rtl="0">
              <a:spcBef>
                <a:spcPts val="0"/>
              </a:spcBef>
              <a:spcAft>
                <a:spcPts val="0"/>
              </a:spcAft>
              <a:buClr>
                <a:schemeClr val="accent2"/>
              </a:buClr>
              <a:buSzPts val="6000"/>
              <a:buNone/>
              <a:defRPr sz="8000" b="1">
                <a:solidFill>
                  <a:schemeClr val="accent2"/>
                </a:solidFill>
              </a:defRPr>
            </a:lvl4pPr>
            <a:lvl5pPr lvl="4" algn="ctr" rtl="0">
              <a:spcBef>
                <a:spcPts val="0"/>
              </a:spcBef>
              <a:spcAft>
                <a:spcPts val="0"/>
              </a:spcAft>
              <a:buClr>
                <a:schemeClr val="accent2"/>
              </a:buClr>
              <a:buSzPts val="6000"/>
              <a:buNone/>
              <a:defRPr sz="8000" b="1">
                <a:solidFill>
                  <a:schemeClr val="accent2"/>
                </a:solidFill>
              </a:defRPr>
            </a:lvl5pPr>
            <a:lvl6pPr lvl="5" algn="ctr" rtl="0">
              <a:spcBef>
                <a:spcPts val="0"/>
              </a:spcBef>
              <a:spcAft>
                <a:spcPts val="0"/>
              </a:spcAft>
              <a:buClr>
                <a:schemeClr val="accent2"/>
              </a:buClr>
              <a:buSzPts val="6000"/>
              <a:buNone/>
              <a:defRPr sz="8000" b="1">
                <a:solidFill>
                  <a:schemeClr val="accent2"/>
                </a:solidFill>
              </a:defRPr>
            </a:lvl6pPr>
            <a:lvl7pPr lvl="6" algn="ctr" rtl="0">
              <a:spcBef>
                <a:spcPts val="0"/>
              </a:spcBef>
              <a:spcAft>
                <a:spcPts val="0"/>
              </a:spcAft>
              <a:buClr>
                <a:schemeClr val="accent2"/>
              </a:buClr>
              <a:buSzPts val="6000"/>
              <a:buNone/>
              <a:defRPr sz="8000" b="1">
                <a:solidFill>
                  <a:schemeClr val="accent2"/>
                </a:solidFill>
              </a:defRPr>
            </a:lvl7pPr>
            <a:lvl8pPr lvl="7" algn="ctr" rtl="0">
              <a:spcBef>
                <a:spcPts val="0"/>
              </a:spcBef>
              <a:spcAft>
                <a:spcPts val="0"/>
              </a:spcAft>
              <a:buClr>
                <a:schemeClr val="accent2"/>
              </a:buClr>
              <a:buSzPts val="6000"/>
              <a:buNone/>
              <a:defRPr sz="8000" b="1">
                <a:solidFill>
                  <a:schemeClr val="accent2"/>
                </a:solidFill>
              </a:defRPr>
            </a:lvl8pPr>
            <a:lvl9pPr lvl="8" algn="ctr" rtl="0">
              <a:spcBef>
                <a:spcPts val="0"/>
              </a:spcBef>
              <a:spcAft>
                <a:spcPts val="0"/>
              </a:spcAft>
              <a:buClr>
                <a:schemeClr val="accent2"/>
              </a:buClr>
              <a:buSzPts val="6000"/>
              <a:buNone/>
              <a:defRPr sz="8000" b="1">
                <a:solidFill>
                  <a:schemeClr val="accent2"/>
                </a:solidFill>
              </a:defRPr>
            </a:lvl9pPr>
          </a:lstStyle>
          <a:p>
            <a:endParaRPr/>
          </a:p>
        </p:txBody>
      </p:sp>
      <p:sp>
        <p:nvSpPr>
          <p:cNvPr id="4027" name="Google Shape;4027;p206"/>
          <p:cNvSpPr txBox="1">
            <a:spLocks noGrp="1"/>
          </p:cNvSpPr>
          <p:nvPr>
            <p:ph type="subTitle" idx="8"/>
          </p:nvPr>
        </p:nvSpPr>
        <p:spPr>
          <a:xfrm>
            <a:off x="6736400" y="2801197"/>
            <a:ext cx="44624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algn="ctr" rtl="0">
              <a:spcBef>
                <a:spcPts val="0"/>
              </a:spcBef>
              <a:spcAft>
                <a:spcPts val="0"/>
              </a:spcAft>
              <a:buClr>
                <a:schemeClr val="dk2"/>
              </a:buClr>
              <a:buSzPts val="1200"/>
              <a:buNone/>
              <a:defRPr sz="1600">
                <a:solidFill>
                  <a:schemeClr val="dk2"/>
                </a:solidFill>
              </a:defRPr>
            </a:lvl2pPr>
            <a:lvl3pPr lvl="2" algn="ctr" rtl="0">
              <a:spcBef>
                <a:spcPts val="0"/>
              </a:spcBef>
              <a:spcAft>
                <a:spcPts val="0"/>
              </a:spcAft>
              <a:buClr>
                <a:schemeClr val="dk2"/>
              </a:buClr>
              <a:buSzPts val="1200"/>
              <a:buNone/>
              <a:defRPr sz="1600">
                <a:solidFill>
                  <a:schemeClr val="dk2"/>
                </a:solidFill>
              </a:defRPr>
            </a:lvl3pPr>
            <a:lvl4pPr lvl="3" algn="ctr" rtl="0">
              <a:spcBef>
                <a:spcPts val="0"/>
              </a:spcBef>
              <a:spcAft>
                <a:spcPts val="0"/>
              </a:spcAft>
              <a:buClr>
                <a:schemeClr val="dk2"/>
              </a:buClr>
              <a:buSzPts val="1200"/>
              <a:buNone/>
              <a:defRPr sz="1600">
                <a:solidFill>
                  <a:schemeClr val="dk2"/>
                </a:solidFill>
              </a:defRPr>
            </a:lvl4pPr>
            <a:lvl5pPr lvl="4" algn="ctr" rtl="0">
              <a:spcBef>
                <a:spcPts val="0"/>
              </a:spcBef>
              <a:spcAft>
                <a:spcPts val="0"/>
              </a:spcAft>
              <a:buClr>
                <a:schemeClr val="dk2"/>
              </a:buClr>
              <a:buSzPts val="1200"/>
              <a:buNone/>
              <a:defRPr sz="1600">
                <a:solidFill>
                  <a:schemeClr val="dk2"/>
                </a:solidFill>
              </a:defRPr>
            </a:lvl5pPr>
            <a:lvl6pPr lvl="5" algn="ctr" rtl="0">
              <a:spcBef>
                <a:spcPts val="0"/>
              </a:spcBef>
              <a:spcAft>
                <a:spcPts val="0"/>
              </a:spcAft>
              <a:buClr>
                <a:schemeClr val="dk2"/>
              </a:buClr>
              <a:buSzPts val="1200"/>
              <a:buNone/>
              <a:defRPr sz="1600">
                <a:solidFill>
                  <a:schemeClr val="dk2"/>
                </a:solidFill>
              </a:defRPr>
            </a:lvl6pPr>
            <a:lvl7pPr lvl="6" algn="ctr" rtl="0">
              <a:spcBef>
                <a:spcPts val="0"/>
              </a:spcBef>
              <a:spcAft>
                <a:spcPts val="0"/>
              </a:spcAft>
              <a:buClr>
                <a:schemeClr val="dk2"/>
              </a:buClr>
              <a:buSzPts val="1200"/>
              <a:buNone/>
              <a:defRPr sz="1600">
                <a:solidFill>
                  <a:schemeClr val="dk2"/>
                </a:solidFill>
              </a:defRPr>
            </a:lvl7pPr>
            <a:lvl8pPr lvl="7" algn="ctr" rtl="0">
              <a:spcBef>
                <a:spcPts val="0"/>
              </a:spcBef>
              <a:spcAft>
                <a:spcPts val="0"/>
              </a:spcAft>
              <a:buClr>
                <a:schemeClr val="dk2"/>
              </a:buClr>
              <a:buSzPts val="1200"/>
              <a:buNone/>
              <a:defRPr sz="1600">
                <a:solidFill>
                  <a:schemeClr val="dk2"/>
                </a:solidFill>
              </a:defRPr>
            </a:lvl8pPr>
            <a:lvl9pPr lvl="8" algn="ctr" rtl="0">
              <a:spcBef>
                <a:spcPts val="0"/>
              </a:spcBef>
              <a:spcAft>
                <a:spcPts val="0"/>
              </a:spcAft>
              <a:buClr>
                <a:schemeClr val="dk2"/>
              </a:buClr>
              <a:buSzPts val="1200"/>
              <a:buNone/>
              <a:defRPr sz="1600">
                <a:solidFill>
                  <a:schemeClr val="dk2"/>
                </a:solidFill>
              </a:defRPr>
            </a:lvl9pPr>
          </a:lstStyle>
          <a:p>
            <a:endParaRPr/>
          </a:p>
        </p:txBody>
      </p:sp>
      <p:sp>
        <p:nvSpPr>
          <p:cNvPr id="4028" name="Google Shape;4028;p206"/>
          <p:cNvSpPr txBox="1">
            <a:spLocks noGrp="1"/>
          </p:cNvSpPr>
          <p:nvPr>
            <p:ph type="subTitle" idx="9"/>
          </p:nvPr>
        </p:nvSpPr>
        <p:spPr>
          <a:xfrm>
            <a:off x="6736400" y="1020987"/>
            <a:ext cx="4462400" cy="3900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
        <p:nvSpPr>
          <p:cNvPr id="4029" name="Google Shape;4029;p206"/>
          <p:cNvSpPr txBox="1">
            <a:spLocks noGrp="1"/>
          </p:cNvSpPr>
          <p:nvPr>
            <p:ph type="subTitle" idx="13"/>
          </p:nvPr>
        </p:nvSpPr>
        <p:spPr>
          <a:xfrm>
            <a:off x="6736400" y="4166523"/>
            <a:ext cx="4462400" cy="12924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accent4"/>
              </a:buClr>
              <a:buSzPts val="6000"/>
              <a:buNone/>
              <a:defRPr sz="8000" b="1">
                <a:solidFill>
                  <a:schemeClr val="accent4"/>
                </a:solidFill>
              </a:defRPr>
            </a:lvl1pPr>
            <a:lvl2pPr lvl="1" algn="ctr" rtl="0">
              <a:spcBef>
                <a:spcPts val="0"/>
              </a:spcBef>
              <a:spcAft>
                <a:spcPts val="0"/>
              </a:spcAft>
              <a:buClr>
                <a:schemeClr val="accent4"/>
              </a:buClr>
              <a:buSzPts val="6000"/>
              <a:buNone/>
              <a:defRPr sz="8000" b="1">
                <a:solidFill>
                  <a:schemeClr val="accent4"/>
                </a:solidFill>
              </a:defRPr>
            </a:lvl2pPr>
            <a:lvl3pPr lvl="2" algn="ctr" rtl="0">
              <a:spcBef>
                <a:spcPts val="0"/>
              </a:spcBef>
              <a:spcAft>
                <a:spcPts val="0"/>
              </a:spcAft>
              <a:buClr>
                <a:schemeClr val="accent4"/>
              </a:buClr>
              <a:buSzPts val="6000"/>
              <a:buNone/>
              <a:defRPr sz="8000" b="1">
                <a:solidFill>
                  <a:schemeClr val="accent4"/>
                </a:solidFill>
              </a:defRPr>
            </a:lvl3pPr>
            <a:lvl4pPr lvl="3" algn="ctr" rtl="0">
              <a:spcBef>
                <a:spcPts val="0"/>
              </a:spcBef>
              <a:spcAft>
                <a:spcPts val="0"/>
              </a:spcAft>
              <a:buClr>
                <a:schemeClr val="accent4"/>
              </a:buClr>
              <a:buSzPts val="6000"/>
              <a:buNone/>
              <a:defRPr sz="8000" b="1">
                <a:solidFill>
                  <a:schemeClr val="accent4"/>
                </a:solidFill>
              </a:defRPr>
            </a:lvl4pPr>
            <a:lvl5pPr lvl="4" algn="ctr" rtl="0">
              <a:spcBef>
                <a:spcPts val="0"/>
              </a:spcBef>
              <a:spcAft>
                <a:spcPts val="0"/>
              </a:spcAft>
              <a:buClr>
                <a:schemeClr val="accent4"/>
              </a:buClr>
              <a:buSzPts val="6000"/>
              <a:buNone/>
              <a:defRPr sz="8000" b="1">
                <a:solidFill>
                  <a:schemeClr val="accent4"/>
                </a:solidFill>
              </a:defRPr>
            </a:lvl5pPr>
            <a:lvl6pPr lvl="5" algn="ctr" rtl="0">
              <a:spcBef>
                <a:spcPts val="0"/>
              </a:spcBef>
              <a:spcAft>
                <a:spcPts val="0"/>
              </a:spcAft>
              <a:buClr>
                <a:schemeClr val="accent4"/>
              </a:buClr>
              <a:buSzPts val="6000"/>
              <a:buNone/>
              <a:defRPr sz="8000" b="1">
                <a:solidFill>
                  <a:schemeClr val="accent4"/>
                </a:solidFill>
              </a:defRPr>
            </a:lvl6pPr>
            <a:lvl7pPr lvl="6" algn="ctr" rtl="0">
              <a:spcBef>
                <a:spcPts val="0"/>
              </a:spcBef>
              <a:spcAft>
                <a:spcPts val="0"/>
              </a:spcAft>
              <a:buClr>
                <a:schemeClr val="accent4"/>
              </a:buClr>
              <a:buSzPts val="6000"/>
              <a:buNone/>
              <a:defRPr sz="8000" b="1">
                <a:solidFill>
                  <a:schemeClr val="accent4"/>
                </a:solidFill>
              </a:defRPr>
            </a:lvl7pPr>
            <a:lvl8pPr lvl="7" algn="ctr" rtl="0">
              <a:spcBef>
                <a:spcPts val="0"/>
              </a:spcBef>
              <a:spcAft>
                <a:spcPts val="0"/>
              </a:spcAft>
              <a:buClr>
                <a:schemeClr val="accent4"/>
              </a:buClr>
              <a:buSzPts val="6000"/>
              <a:buNone/>
              <a:defRPr sz="8000" b="1">
                <a:solidFill>
                  <a:schemeClr val="accent4"/>
                </a:solidFill>
              </a:defRPr>
            </a:lvl8pPr>
            <a:lvl9pPr lvl="8" algn="ctr" rtl="0">
              <a:spcBef>
                <a:spcPts val="0"/>
              </a:spcBef>
              <a:spcAft>
                <a:spcPts val="0"/>
              </a:spcAft>
              <a:buClr>
                <a:schemeClr val="accent4"/>
              </a:buClr>
              <a:buSzPts val="6000"/>
              <a:buNone/>
              <a:defRPr sz="8000" b="1">
                <a:solidFill>
                  <a:schemeClr val="accent4"/>
                </a:solidFill>
              </a:defRPr>
            </a:lvl9pPr>
          </a:lstStyle>
          <a:p>
            <a:endParaRPr/>
          </a:p>
        </p:txBody>
      </p:sp>
      <p:sp>
        <p:nvSpPr>
          <p:cNvPr id="4030" name="Google Shape;4030;p206"/>
          <p:cNvSpPr txBox="1">
            <a:spLocks noGrp="1"/>
          </p:cNvSpPr>
          <p:nvPr>
            <p:ph type="subTitle" idx="14"/>
          </p:nvPr>
        </p:nvSpPr>
        <p:spPr>
          <a:xfrm>
            <a:off x="6736400" y="5507821"/>
            <a:ext cx="44624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2"/>
              </a:buClr>
              <a:buSzPts val="1200"/>
              <a:buNone/>
              <a:defRPr sz="1600">
                <a:solidFill>
                  <a:schemeClr val="dk2"/>
                </a:solidFill>
              </a:defRPr>
            </a:lvl1pPr>
            <a:lvl2pPr lvl="1" algn="ctr" rtl="0">
              <a:spcBef>
                <a:spcPts val="0"/>
              </a:spcBef>
              <a:spcAft>
                <a:spcPts val="0"/>
              </a:spcAft>
              <a:buClr>
                <a:schemeClr val="dk2"/>
              </a:buClr>
              <a:buSzPts val="1200"/>
              <a:buNone/>
              <a:defRPr sz="1600">
                <a:solidFill>
                  <a:schemeClr val="dk2"/>
                </a:solidFill>
              </a:defRPr>
            </a:lvl2pPr>
            <a:lvl3pPr lvl="2" algn="ctr" rtl="0">
              <a:spcBef>
                <a:spcPts val="0"/>
              </a:spcBef>
              <a:spcAft>
                <a:spcPts val="0"/>
              </a:spcAft>
              <a:buClr>
                <a:schemeClr val="dk2"/>
              </a:buClr>
              <a:buSzPts val="1200"/>
              <a:buNone/>
              <a:defRPr sz="1600">
                <a:solidFill>
                  <a:schemeClr val="dk2"/>
                </a:solidFill>
              </a:defRPr>
            </a:lvl3pPr>
            <a:lvl4pPr lvl="3" algn="ctr" rtl="0">
              <a:spcBef>
                <a:spcPts val="0"/>
              </a:spcBef>
              <a:spcAft>
                <a:spcPts val="0"/>
              </a:spcAft>
              <a:buClr>
                <a:schemeClr val="dk2"/>
              </a:buClr>
              <a:buSzPts val="1200"/>
              <a:buNone/>
              <a:defRPr sz="1600">
                <a:solidFill>
                  <a:schemeClr val="dk2"/>
                </a:solidFill>
              </a:defRPr>
            </a:lvl4pPr>
            <a:lvl5pPr lvl="4" algn="ctr" rtl="0">
              <a:spcBef>
                <a:spcPts val="0"/>
              </a:spcBef>
              <a:spcAft>
                <a:spcPts val="0"/>
              </a:spcAft>
              <a:buClr>
                <a:schemeClr val="dk2"/>
              </a:buClr>
              <a:buSzPts val="1200"/>
              <a:buNone/>
              <a:defRPr sz="1600">
                <a:solidFill>
                  <a:schemeClr val="dk2"/>
                </a:solidFill>
              </a:defRPr>
            </a:lvl5pPr>
            <a:lvl6pPr lvl="5" algn="ctr" rtl="0">
              <a:spcBef>
                <a:spcPts val="0"/>
              </a:spcBef>
              <a:spcAft>
                <a:spcPts val="0"/>
              </a:spcAft>
              <a:buClr>
                <a:schemeClr val="dk2"/>
              </a:buClr>
              <a:buSzPts val="1200"/>
              <a:buNone/>
              <a:defRPr sz="1600">
                <a:solidFill>
                  <a:schemeClr val="dk2"/>
                </a:solidFill>
              </a:defRPr>
            </a:lvl6pPr>
            <a:lvl7pPr lvl="6" algn="ctr" rtl="0">
              <a:spcBef>
                <a:spcPts val="0"/>
              </a:spcBef>
              <a:spcAft>
                <a:spcPts val="0"/>
              </a:spcAft>
              <a:buClr>
                <a:schemeClr val="dk2"/>
              </a:buClr>
              <a:buSzPts val="1200"/>
              <a:buNone/>
              <a:defRPr sz="1600">
                <a:solidFill>
                  <a:schemeClr val="dk2"/>
                </a:solidFill>
              </a:defRPr>
            </a:lvl7pPr>
            <a:lvl8pPr lvl="7" algn="ctr" rtl="0">
              <a:spcBef>
                <a:spcPts val="0"/>
              </a:spcBef>
              <a:spcAft>
                <a:spcPts val="0"/>
              </a:spcAft>
              <a:buClr>
                <a:schemeClr val="dk2"/>
              </a:buClr>
              <a:buSzPts val="1200"/>
              <a:buNone/>
              <a:defRPr sz="1600">
                <a:solidFill>
                  <a:schemeClr val="dk2"/>
                </a:solidFill>
              </a:defRPr>
            </a:lvl8pPr>
            <a:lvl9pPr lvl="8" algn="ctr" rtl="0">
              <a:spcBef>
                <a:spcPts val="0"/>
              </a:spcBef>
              <a:spcAft>
                <a:spcPts val="0"/>
              </a:spcAft>
              <a:buClr>
                <a:schemeClr val="dk2"/>
              </a:buClr>
              <a:buSzPts val="1200"/>
              <a:buNone/>
              <a:defRPr sz="1600">
                <a:solidFill>
                  <a:schemeClr val="dk2"/>
                </a:solidFill>
              </a:defRPr>
            </a:lvl9pPr>
          </a:lstStyle>
          <a:p>
            <a:endParaRPr/>
          </a:p>
        </p:txBody>
      </p:sp>
      <p:sp>
        <p:nvSpPr>
          <p:cNvPr id="4031" name="Google Shape;4031;p206"/>
          <p:cNvSpPr txBox="1">
            <a:spLocks noGrp="1"/>
          </p:cNvSpPr>
          <p:nvPr>
            <p:ph type="subTitle" idx="15"/>
          </p:nvPr>
        </p:nvSpPr>
        <p:spPr>
          <a:xfrm>
            <a:off x="6736400" y="3727611"/>
            <a:ext cx="4462400" cy="3900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Tree>
    <p:extLst>
      <p:ext uri="{BB962C8B-B14F-4D97-AF65-F5344CB8AC3E}">
        <p14:creationId xmlns:p14="http://schemas.microsoft.com/office/powerpoint/2010/main" val="218488394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72. Two silos">
  <p:cSld name="72. Two silos">
    <p:spTree>
      <p:nvGrpSpPr>
        <p:cNvPr id="1" name="Shape 4032"/>
        <p:cNvGrpSpPr/>
        <p:nvPr/>
      </p:nvGrpSpPr>
      <p:grpSpPr>
        <a:xfrm>
          <a:off x="0" y="0"/>
          <a:ext cx="0" cy="0"/>
          <a:chOff x="0" y="0"/>
          <a:chExt cx="0" cy="0"/>
        </a:xfrm>
      </p:grpSpPr>
      <p:sp>
        <p:nvSpPr>
          <p:cNvPr id="4033" name="Google Shape;4033;p207"/>
          <p:cNvSpPr/>
          <p:nvPr/>
        </p:nvSpPr>
        <p:spPr>
          <a:xfrm>
            <a:off x="6438700" y="990600"/>
            <a:ext cx="4851600" cy="4559200"/>
          </a:xfrm>
          <a:prstGeom prst="roundRect">
            <a:avLst>
              <a:gd name="adj" fmla="val 2778"/>
            </a:avLst>
          </a:prstGeom>
          <a:noFill/>
          <a:ln w="19050" cap="flat" cmpd="sng">
            <a:solidFill>
              <a:srgbClr val="388BFD"/>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034" name="Google Shape;4034;p207"/>
          <p:cNvSpPr/>
          <p:nvPr/>
        </p:nvSpPr>
        <p:spPr>
          <a:xfrm>
            <a:off x="901700" y="990600"/>
            <a:ext cx="4851600" cy="4559200"/>
          </a:xfrm>
          <a:prstGeom prst="roundRect">
            <a:avLst>
              <a:gd name="adj" fmla="val 3159"/>
            </a:avLst>
          </a:prstGeom>
          <a:noFill/>
          <a:ln w="1905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cxnSp>
        <p:nvCxnSpPr>
          <p:cNvPr id="4035" name="Google Shape;4035;p207"/>
          <p:cNvCxnSpPr/>
          <p:nvPr/>
        </p:nvCxnSpPr>
        <p:spPr>
          <a:xfrm>
            <a:off x="1624633" y="2884520"/>
            <a:ext cx="3378400" cy="0"/>
          </a:xfrm>
          <a:prstGeom prst="straightConnector1">
            <a:avLst/>
          </a:prstGeom>
          <a:noFill/>
          <a:ln w="19050" cap="rnd" cmpd="sng">
            <a:solidFill>
              <a:schemeClr val="dk2"/>
            </a:solidFill>
            <a:prstDash val="solid"/>
            <a:round/>
            <a:headEnd type="none" w="sm" len="sm"/>
            <a:tailEnd type="none" w="sm" len="sm"/>
          </a:ln>
        </p:spPr>
      </p:cxnSp>
      <p:cxnSp>
        <p:nvCxnSpPr>
          <p:cNvPr id="4036" name="Google Shape;4036;p207"/>
          <p:cNvCxnSpPr/>
          <p:nvPr/>
        </p:nvCxnSpPr>
        <p:spPr>
          <a:xfrm>
            <a:off x="1654221" y="3979861"/>
            <a:ext cx="3378400" cy="0"/>
          </a:xfrm>
          <a:prstGeom prst="straightConnector1">
            <a:avLst/>
          </a:prstGeom>
          <a:noFill/>
          <a:ln w="19050" cap="rnd" cmpd="sng">
            <a:solidFill>
              <a:schemeClr val="dk2"/>
            </a:solidFill>
            <a:prstDash val="solid"/>
            <a:round/>
            <a:headEnd type="none" w="sm" len="sm"/>
            <a:tailEnd type="none" w="sm" len="sm"/>
          </a:ln>
        </p:spPr>
      </p:cxnSp>
      <p:cxnSp>
        <p:nvCxnSpPr>
          <p:cNvPr id="4037" name="Google Shape;4037;p207"/>
          <p:cNvCxnSpPr/>
          <p:nvPr/>
        </p:nvCxnSpPr>
        <p:spPr>
          <a:xfrm>
            <a:off x="7161635" y="2884520"/>
            <a:ext cx="3378400" cy="0"/>
          </a:xfrm>
          <a:prstGeom prst="straightConnector1">
            <a:avLst/>
          </a:prstGeom>
          <a:noFill/>
          <a:ln w="19050" cap="rnd" cmpd="sng">
            <a:solidFill>
              <a:schemeClr val="dk2"/>
            </a:solidFill>
            <a:prstDash val="solid"/>
            <a:round/>
            <a:headEnd type="none" w="sm" len="sm"/>
            <a:tailEnd type="none" w="sm" len="sm"/>
          </a:ln>
        </p:spPr>
      </p:cxnSp>
      <p:cxnSp>
        <p:nvCxnSpPr>
          <p:cNvPr id="4038" name="Google Shape;4038;p207"/>
          <p:cNvCxnSpPr/>
          <p:nvPr/>
        </p:nvCxnSpPr>
        <p:spPr>
          <a:xfrm>
            <a:off x="7191223" y="3979861"/>
            <a:ext cx="3378400" cy="0"/>
          </a:xfrm>
          <a:prstGeom prst="straightConnector1">
            <a:avLst/>
          </a:prstGeom>
          <a:noFill/>
          <a:ln w="19050" cap="rnd" cmpd="sng">
            <a:solidFill>
              <a:schemeClr val="dk2"/>
            </a:solidFill>
            <a:prstDash val="solid"/>
            <a:round/>
            <a:headEnd type="none" w="sm" len="sm"/>
            <a:tailEnd type="none" w="sm" len="sm"/>
          </a:ln>
        </p:spPr>
      </p:cxnSp>
      <p:sp>
        <p:nvSpPr>
          <p:cNvPr id="4039" name="Google Shape;4039;p207"/>
          <p:cNvSpPr/>
          <p:nvPr/>
        </p:nvSpPr>
        <p:spPr>
          <a:xfrm>
            <a:off x="1616700" y="735911"/>
            <a:ext cx="3421600" cy="554000"/>
          </a:xfrm>
          <a:prstGeom prst="rect">
            <a:avLst/>
          </a:prstGeom>
          <a:solidFill>
            <a:srgbClr val="090C0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040" name="Google Shape;4040;p207"/>
          <p:cNvSpPr/>
          <p:nvPr/>
        </p:nvSpPr>
        <p:spPr>
          <a:xfrm>
            <a:off x="7153711" y="735911"/>
            <a:ext cx="3421600" cy="554000"/>
          </a:xfrm>
          <a:prstGeom prst="rect">
            <a:avLst/>
          </a:prstGeom>
          <a:solidFill>
            <a:srgbClr val="090C0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grpSp>
        <p:nvGrpSpPr>
          <p:cNvPr id="4041" name="Google Shape;4041;p207"/>
          <p:cNvGrpSpPr/>
          <p:nvPr/>
        </p:nvGrpSpPr>
        <p:grpSpPr>
          <a:xfrm>
            <a:off x="12253600" y="1"/>
            <a:ext cx="3438989" cy="3424452"/>
            <a:chOff x="22170399" y="777240"/>
            <a:chExt cx="6877978" cy="6848903"/>
          </a:xfrm>
        </p:grpSpPr>
        <p:grpSp>
          <p:nvGrpSpPr>
            <p:cNvPr id="4042" name="Google Shape;4042;p207"/>
            <p:cNvGrpSpPr/>
            <p:nvPr/>
          </p:nvGrpSpPr>
          <p:grpSpPr>
            <a:xfrm>
              <a:off x="22170399" y="777240"/>
              <a:ext cx="6877978" cy="6848903"/>
              <a:chOff x="22155159" y="0"/>
              <a:chExt cx="6877978" cy="6848903"/>
            </a:xfrm>
          </p:grpSpPr>
          <p:sp>
            <p:nvSpPr>
              <p:cNvPr id="4043" name="Google Shape;4043;p207"/>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044" name="Google Shape;4044;p207"/>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045" name="Google Shape;4045;p207"/>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046" name="Google Shape;4046;p207"/>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047" name="Google Shape;4047;p207"/>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048" name="Google Shape;4048;p207"/>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049" name="Google Shape;4049;p207"/>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050" name="Google Shape;4050;p207"/>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051" name="Google Shape;4051;p207"/>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052" name="Google Shape;4052;p207"/>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053" name="Google Shape;4053;p207"/>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054" name="Google Shape;4054;p207"/>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055" name="Google Shape;4055;p207"/>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056" name="Google Shape;4056;p207"/>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057" name="Google Shape;4057;p207"/>
          <p:cNvSpPr txBox="1">
            <a:spLocks noGrp="1"/>
          </p:cNvSpPr>
          <p:nvPr>
            <p:ph type="subTitle" idx="1"/>
          </p:nvPr>
        </p:nvSpPr>
        <p:spPr>
          <a:xfrm>
            <a:off x="1930033" y="771100"/>
            <a:ext cx="2767600" cy="4572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
        <p:nvSpPr>
          <p:cNvPr id="4058" name="Google Shape;4058;p207"/>
          <p:cNvSpPr txBox="1">
            <a:spLocks noGrp="1"/>
          </p:cNvSpPr>
          <p:nvPr>
            <p:ph type="subTitle" idx="2"/>
          </p:nvPr>
        </p:nvSpPr>
        <p:spPr>
          <a:xfrm>
            <a:off x="2231133" y="2023867"/>
            <a:ext cx="2767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059" name="Google Shape;4059;p207"/>
          <p:cNvSpPr txBox="1">
            <a:spLocks noGrp="1"/>
          </p:cNvSpPr>
          <p:nvPr>
            <p:ph type="subTitle" idx="3"/>
          </p:nvPr>
        </p:nvSpPr>
        <p:spPr>
          <a:xfrm>
            <a:off x="2231136" y="3121152"/>
            <a:ext cx="2767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060" name="Google Shape;4060;p207"/>
          <p:cNvSpPr txBox="1">
            <a:spLocks noGrp="1"/>
          </p:cNvSpPr>
          <p:nvPr>
            <p:ph type="subTitle" idx="4"/>
          </p:nvPr>
        </p:nvSpPr>
        <p:spPr>
          <a:xfrm>
            <a:off x="2231136" y="4206240"/>
            <a:ext cx="2767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061" name="Google Shape;4061;p207"/>
          <p:cNvSpPr txBox="1">
            <a:spLocks noGrp="1"/>
          </p:cNvSpPr>
          <p:nvPr>
            <p:ph type="subTitle" idx="5"/>
          </p:nvPr>
        </p:nvSpPr>
        <p:spPr>
          <a:xfrm>
            <a:off x="8010603" y="2020823"/>
            <a:ext cx="2767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062" name="Google Shape;4062;p207"/>
          <p:cNvSpPr txBox="1">
            <a:spLocks noGrp="1"/>
          </p:cNvSpPr>
          <p:nvPr>
            <p:ph type="subTitle" idx="6"/>
          </p:nvPr>
        </p:nvSpPr>
        <p:spPr>
          <a:xfrm>
            <a:off x="8010603" y="3118103"/>
            <a:ext cx="2767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063" name="Google Shape;4063;p207"/>
          <p:cNvSpPr txBox="1">
            <a:spLocks noGrp="1"/>
          </p:cNvSpPr>
          <p:nvPr>
            <p:ph type="subTitle" idx="7"/>
          </p:nvPr>
        </p:nvSpPr>
        <p:spPr>
          <a:xfrm>
            <a:off x="8010603" y="4203191"/>
            <a:ext cx="27676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064" name="Google Shape;4064;p207"/>
          <p:cNvSpPr txBox="1">
            <a:spLocks noGrp="1"/>
          </p:cNvSpPr>
          <p:nvPr>
            <p:ph type="subTitle" idx="8"/>
          </p:nvPr>
        </p:nvSpPr>
        <p:spPr>
          <a:xfrm>
            <a:off x="7496633" y="768100"/>
            <a:ext cx="2767600" cy="4632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Tree>
    <p:extLst>
      <p:ext uri="{BB962C8B-B14F-4D97-AF65-F5344CB8AC3E}">
        <p14:creationId xmlns:p14="http://schemas.microsoft.com/office/powerpoint/2010/main" val="108821080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73. Three silos">
  <p:cSld name="73. Three silos">
    <p:spTree>
      <p:nvGrpSpPr>
        <p:cNvPr id="1" name="Shape 4065"/>
        <p:cNvGrpSpPr/>
        <p:nvPr/>
      </p:nvGrpSpPr>
      <p:grpSpPr>
        <a:xfrm>
          <a:off x="0" y="0"/>
          <a:ext cx="0" cy="0"/>
          <a:chOff x="0" y="0"/>
          <a:chExt cx="0" cy="0"/>
        </a:xfrm>
      </p:grpSpPr>
      <p:sp>
        <p:nvSpPr>
          <p:cNvPr id="4066" name="Google Shape;4066;p208"/>
          <p:cNvSpPr/>
          <p:nvPr/>
        </p:nvSpPr>
        <p:spPr>
          <a:xfrm>
            <a:off x="8205611" y="1107559"/>
            <a:ext cx="3436800" cy="4559200"/>
          </a:xfrm>
          <a:prstGeom prst="roundRect">
            <a:avLst>
              <a:gd name="adj" fmla="val 2991"/>
            </a:avLst>
          </a:prstGeom>
          <a:noFill/>
          <a:ln w="19050" cap="flat" cmpd="sng">
            <a:solidFill>
              <a:srgbClr val="388BFD"/>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067" name="Google Shape;4067;p208"/>
          <p:cNvSpPr/>
          <p:nvPr/>
        </p:nvSpPr>
        <p:spPr>
          <a:xfrm>
            <a:off x="4377668" y="1107559"/>
            <a:ext cx="3436800" cy="4559200"/>
          </a:xfrm>
          <a:prstGeom prst="roundRect">
            <a:avLst>
              <a:gd name="adj" fmla="val 3685"/>
            </a:avLst>
          </a:prstGeom>
          <a:noFill/>
          <a:ln w="19050" cap="flat" cmpd="sng">
            <a:solidFill>
              <a:srgbClr val="797EF9"/>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068" name="Google Shape;4068;p208"/>
          <p:cNvSpPr/>
          <p:nvPr/>
        </p:nvSpPr>
        <p:spPr>
          <a:xfrm>
            <a:off x="607787" y="1107559"/>
            <a:ext cx="3436800" cy="4559200"/>
          </a:xfrm>
          <a:prstGeom prst="roundRect">
            <a:avLst>
              <a:gd name="adj" fmla="val 3647"/>
            </a:avLst>
          </a:prstGeom>
          <a:noFill/>
          <a:ln w="1905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cxnSp>
        <p:nvCxnSpPr>
          <p:cNvPr id="4069" name="Google Shape;4069;p208"/>
          <p:cNvCxnSpPr/>
          <p:nvPr/>
        </p:nvCxnSpPr>
        <p:spPr>
          <a:xfrm>
            <a:off x="982125" y="3001479"/>
            <a:ext cx="2697600" cy="0"/>
          </a:xfrm>
          <a:prstGeom prst="straightConnector1">
            <a:avLst/>
          </a:prstGeom>
          <a:noFill/>
          <a:ln w="19050" cap="rnd" cmpd="sng">
            <a:solidFill>
              <a:schemeClr val="dk2"/>
            </a:solidFill>
            <a:prstDash val="solid"/>
            <a:round/>
            <a:headEnd type="none" w="sm" len="sm"/>
            <a:tailEnd type="none" w="sm" len="sm"/>
          </a:ln>
        </p:spPr>
      </p:cxnSp>
      <p:cxnSp>
        <p:nvCxnSpPr>
          <p:cNvPr id="4070" name="Google Shape;4070;p208"/>
          <p:cNvCxnSpPr/>
          <p:nvPr/>
        </p:nvCxnSpPr>
        <p:spPr>
          <a:xfrm>
            <a:off x="1011713" y="4096820"/>
            <a:ext cx="2697600" cy="0"/>
          </a:xfrm>
          <a:prstGeom prst="straightConnector1">
            <a:avLst/>
          </a:prstGeom>
          <a:noFill/>
          <a:ln w="19050" cap="rnd" cmpd="sng">
            <a:solidFill>
              <a:schemeClr val="dk2"/>
            </a:solidFill>
            <a:prstDash val="solid"/>
            <a:round/>
            <a:headEnd type="none" w="sm" len="sm"/>
            <a:tailEnd type="none" w="sm" len="sm"/>
          </a:ln>
        </p:spPr>
      </p:cxnSp>
      <p:cxnSp>
        <p:nvCxnSpPr>
          <p:cNvPr id="4071" name="Google Shape;4071;p208"/>
          <p:cNvCxnSpPr/>
          <p:nvPr/>
        </p:nvCxnSpPr>
        <p:spPr>
          <a:xfrm>
            <a:off x="4761339" y="3001479"/>
            <a:ext cx="2697600" cy="0"/>
          </a:xfrm>
          <a:prstGeom prst="straightConnector1">
            <a:avLst/>
          </a:prstGeom>
          <a:noFill/>
          <a:ln w="19050" cap="rnd" cmpd="sng">
            <a:solidFill>
              <a:schemeClr val="dk2"/>
            </a:solidFill>
            <a:prstDash val="solid"/>
            <a:round/>
            <a:headEnd type="none" w="sm" len="sm"/>
            <a:tailEnd type="none" w="sm" len="sm"/>
          </a:ln>
        </p:spPr>
      </p:cxnSp>
      <p:cxnSp>
        <p:nvCxnSpPr>
          <p:cNvPr id="4072" name="Google Shape;4072;p208"/>
          <p:cNvCxnSpPr/>
          <p:nvPr/>
        </p:nvCxnSpPr>
        <p:spPr>
          <a:xfrm>
            <a:off x="4790927" y="4096820"/>
            <a:ext cx="2697600" cy="0"/>
          </a:xfrm>
          <a:prstGeom prst="straightConnector1">
            <a:avLst/>
          </a:prstGeom>
          <a:noFill/>
          <a:ln w="19050" cap="rnd" cmpd="sng">
            <a:solidFill>
              <a:schemeClr val="dk2"/>
            </a:solidFill>
            <a:prstDash val="solid"/>
            <a:round/>
            <a:headEnd type="none" w="sm" len="sm"/>
            <a:tailEnd type="none" w="sm" len="sm"/>
          </a:ln>
        </p:spPr>
      </p:cxnSp>
      <p:cxnSp>
        <p:nvCxnSpPr>
          <p:cNvPr id="4073" name="Google Shape;4073;p208"/>
          <p:cNvCxnSpPr/>
          <p:nvPr/>
        </p:nvCxnSpPr>
        <p:spPr>
          <a:xfrm>
            <a:off x="8569319" y="3001479"/>
            <a:ext cx="2697600" cy="0"/>
          </a:xfrm>
          <a:prstGeom prst="straightConnector1">
            <a:avLst/>
          </a:prstGeom>
          <a:noFill/>
          <a:ln w="19050" cap="rnd" cmpd="sng">
            <a:solidFill>
              <a:schemeClr val="dk2"/>
            </a:solidFill>
            <a:prstDash val="solid"/>
            <a:round/>
            <a:headEnd type="none" w="sm" len="sm"/>
            <a:tailEnd type="none" w="sm" len="sm"/>
          </a:ln>
        </p:spPr>
      </p:cxnSp>
      <p:cxnSp>
        <p:nvCxnSpPr>
          <p:cNvPr id="4074" name="Google Shape;4074;p208"/>
          <p:cNvCxnSpPr/>
          <p:nvPr/>
        </p:nvCxnSpPr>
        <p:spPr>
          <a:xfrm>
            <a:off x="8598907" y="4096820"/>
            <a:ext cx="2697600" cy="0"/>
          </a:xfrm>
          <a:prstGeom prst="straightConnector1">
            <a:avLst/>
          </a:prstGeom>
          <a:noFill/>
          <a:ln w="19050" cap="rnd" cmpd="sng">
            <a:solidFill>
              <a:schemeClr val="dk2"/>
            </a:solidFill>
            <a:prstDash val="solid"/>
            <a:round/>
            <a:headEnd type="none" w="sm" len="sm"/>
            <a:tailEnd type="none" w="sm" len="sm"/>
          </a:ln>
        </p:spPr>
      </p:cxnSp>
      <p:sp>
        <p:nvSpPr>
          <p:cNvPr id="4075" name="Google Shape;4075;p208"/>
          <p:cNvSpPr/>
          <p:nvPr/>
        </p:nvSpPr>
        <p:spPr>
          <a:xfrm>
            <a:off x="983717" y="849679"/>
            <a:ext cx="2684800" cy="554000"/>
          </a:xfrm>
          <a:prstGeom prst="rect">
            <a:avLst/>
          </a:prstGeom>
          <a:solidFill>
            <a:srgbClr val="090C0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076" name="Google Shape;4076;p208"/>
          <p:cNvSpPr/>
          <p:nvPr/>
        </p:nvSpPr>
        <p:spPr>
          <a:xfrm>
            <a:off x="4753600" y="877541"/>
            <a:ext cx="2684800" cy="554000"/>
          </a:xfrm>
          <a:prstGeom prst="rect">
            <a:avLst/>
          </a:prstGeom>
          <a:solidFill>
            <a:srgbClr val="090C0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077" name="Google Shape;4077;p208"/>
          <p:cNvSpPr/>
          <p:nvPr/>
        </p:nvSpPr>
        <p:spPr>
          <a:xfrm>
            <a:off x="8581543" y="849679"/>
            <a:ext cx="2684800" cy="554000"/>
          </a:xfrm>
          <a:prstGeom prst="rect">
            <a:avLst/>
          </a:prstGeom>
          <a:solidFill>
            <a:srgbClr val="090C0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grpSp>
        <p:nvGrpSpPr>
          <p:cNvPr id="4078" name="Google Shape;4078;p208"/>
          <p:cNvGrpSpPr/>
          <p:nvPr/>
        </p:nvGrpSpPr>
        <p:grpSpPr>
          <a:xfrm>
            <a:off x="12253600" y="1"/>
            <a:ext cx="3438989" cy="3424452"/>
            <a:chOff x="22170399" y="777240"/>
            <a:chExt cx="6877978" cy="6848903"/>
          </a:xfrm>
        </p:grpSpPr>
        <p:grpSp>
          <p:nvGrpSpPr>
            <p:cNvPr id="4079" name="Google Shape;4079;p208"/>
            <p:cNvGrpSpPr/>
            <p:nvPr/>
          </p:nvGrpSpPr>
          <p:grpSpPr>
            <a:xfrm>
              <a:off x="22170399" y="777240"/>
              <a:ext cx="6877978" cy="6848903"/>
              <a:chOff x="22155159" y="0"/>
              <a:chExt cx="6877978" cy="6848903"/>
            </a:xfrm>
          </p:grpSpPr>
          <p:sp>
            <p:nvSpPr>
              <p:cNvPr id="4080" name="Google Shape;4080;p208"/>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081" name="Google Shape;4081;p208"/>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082" name="Google Shape;4082;p208"/>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083" name="Google Shape;4083;p208"/>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084" name="Google Shape;4084;p208"/>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085" name="Google Shape;4085;p208"/>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086" name="Google Shape;4086;p208"/>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087" name="Google Shape;4087;p208"/>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088" name="Google Shape;4088;p208"/>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089" name="Google Shape;4089;p208"/>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090" name="Google Shape;4090;p208"/>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091" name="Google Shape;4091;p208"/>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092" name="Google Shape;4092;p208"/>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093" name="Google Shape;4093;p208"/>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094" name="Google Shape;4094;p208"/>
          <p:cNvSpPr txBox="1">
            <a:spLocks noGrp="1"/>
          </p:cNvSpPr>
          <p:nvPr>
            <p:ph type="subTitle" idx="1"/>
          </p:nvPr>
        </p:nvSpPr>
        <p:spPr>
          <a:xfrm>
            <a:off x="1317917" y="863600"/>
            <a:ext cx="2016400" cy="4632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
        <p:nvSpPr>
          <p:cNvPr id="4095" name="Google Shape;4095;p208"/>
          <p:cNvSpPr txBox="1">
            <a:spLocks noGrp="1"/>
          </p:cNvSpPr>
          <p:nvPr>
            <p:ph type="subTitle" idx="2"/>
          </p:nvPr>
        </p:nvSpPr>
        <p:spPr>
          <a:xfrm>
            <a:off x="1700431" y="2133300"/>
            <a:ext cx="21392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096" name="Google Shape;4096;p208"/>
          <p:cNvSpPr txBox="1">
            <a:spLocks noGrp="1"/>
          </p:cNvSpPr>
          <p:nvPr>
            <p:ph type="subTitle" idx="3"/>
          </p:nvPr>
        </p:nvSpPr>
        <p:spPr>
          <a:xfrm>
            <a:off x="1700431" y="3230580"/>
            <a:ext cx="21392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097" name="Google Shape;4097;p208"/>
          <p:cNvSpPr txBox="1">
            <a:spLocks noGrp="1"/>
          </p:cNvSpPr>
          <p:nvPr>
            <p:ph type="subTitle" idx="4"/>
          </p:nvPr>
        </p:nvSpPr>
        <p:spPr>
          <a:xfrm>
            <a:off x="1700431" y="4315667"/>
            <a:ext cx="21392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098" name="Google Shape;4098;p208"/>
          <p:cNvSpPr txBox="1">
            <a:spLocks noGrp="1"/>
          </p:cNvSpPr>
          <p:nvPr>
            <p:ph type="subTitle" idx="5"/>
          </p:nvPr>
        </p:nvSpPr>
        <p:spPr>
          <a:xfrm>
            <a:off x="5087800" y="863600"/>
            <a:ext cx="2016400" cy="4632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
        <p:nvSpPr>
          <p:cNvPr id="4099" name="Google Shape;4099;p208"/>
          <p:cNvSpPr txBox="1">
            <a:spLocks noGrp="1"/>
          </p:cNvSpPr>
          <p:nvPr>
            <p:ph type="subTitle" idx="6"/>
          </p:nvPr>
        </p:nvSpPr>
        <p:spPr>
          <a:xfrm>
            <a:off x="5524731" y="2105433"/>
            <a:ext cx="21392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100" name="Google Shape;4100;p208"/>
          <p:cNvSpPr txBox="1">
            <a:spLocks noGrp="1"/>
          </p:cNvSpPr>
          <p:nvPr>
            <p:ph type="subTitle" idx="7"/>
          </p:nvPr>
        </p:nvSpPr>
        <p:spPr>
          <a:xfrm>
            <a:off x="5524731" y="3202713"/>
            <a:ext cx="21392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101" name="Google Shape;4101;p208"/>
          <p:cNvSpPr txBox="1">
            <a:spLocks noGrp="1"/>
          </p:cNvSpPr>
          <p:nvPr>
            <p:ph type="subTitle" idx="8"/>
          </p:nvPr>
        </p:nvSpPr>
        <p:spPr>
          <a:xfrm>
            <a:off x="5524731" y="4287800"/>
            <a:ext cx="21392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102" name="Google Shape;4102;p208"/>
          <p:cNvSpPr txBox="1">
            <a:spLocks noGrp="1"/>
          </p:cNvSpPr>
          <p:nvPr>
            <p:ph type="subTitle" idx="9"/>
          </p:nvPr>
        </p:nvSpPr>
        <p:spPr>
          <a:xfrm>
            <a:off x="8915743" y="863600"/>
            <a:ext cx="2016400" cy="4632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Clr>
                <a:schemeClr val="lt1"/>
              </a:buClr>
              <a:buSzPts val="1600"/>
              <a:buNone/>
              <a:defRPr sz="2133">
                <a:solidFill>
                  <a:schemeClr val="lt1"/>
                </a:solidFill>
              </a:defRPr>
            </a:lvl2pPr>
            <a:lvl3pPr lvl="2" algn="ctr" rtl="0">
              <a:spcBef>
                <a:spcPts val="0"/>
              </a:spcBef>
              <a:spcAft>
                <a:spcPts val="0"/>
              </a:spcAft>
              <a:buClr>
                <a:schemeClr val="lt1"/>
              </a:buClr>
              <a:buSzPts val="1600"/>
              <a:buNone/>
              <a:defRPr sz="2133">
                <a:solidFill>
                  <a:schemeClr val="lt1"/>
                </a:solidFill>
              </a:defRPr>
            </a:lvl3pPr>
            <a:lvl4pPr lvl="3" algn="ctr" rtl="0">
              <a:spcBef>
                <a:spcPts val="0"/>
              </a:spcBef>
              <a:spcAft>
                <a:spcPts val="0"/>
              </a:spcAft>
              <a:buClr>
                <a:schemeClr val="lt1"/>
              </a:buClr>
              <a:buSzPts val="1600"/>
              <a:buNone/>
              <a:defRPr sz="2133">
                <a:solidFill>
                  <a:schemeClr val="lt1"/>
                </a:solidFill>
              </a:defRPr>
            </a:lvl4pPr>
            <a:lvl5pPr lvl="4" algn="ctr" rtl="0">
              <a:spcBef>
                <a:spcPts val="0"/>
              </a:spcBef>
              <a:spcAft>
                <a:spcPts val="0"/>
              </a:spcAft>
              <a:buClr>
                <a:schemeClr val="lt1"/>
              </a:buClr>
              <a:buSzPts val="1600"/>
              <a:buNone/>
              <a:defRPr sz="2133">
                <a:solidFill>
                  <a:schemeClr val="lt1"/>
                </a:solidFill>
              </a:defRPr>
            </a:lvl5pPr>
            <a:lvl6pPr lvl="5" algn="ctr" rtl="0">
              <a:spcBef>
                <a:spcPts val="0"/>
              </a:spcBef>
              <a:spcAft>
                <a:spcPts val="0"/>
              </a:spcAft>
              <a:buClr>
                <a:schemeClr val="lt1"/>
              </a:buClr>
              <a:buSzPts val="1600"/>
              <a:buNone/>
              <a:defRPr sz="2133">
                <a:solidFill>
                  <a:schemeClr val="lt1"/>
                </a:solidFill>
              </a:defRPr>
            </a:lvl6pPr>
            <a:lvl7pPr lvl="6" algn="ctr" rtl="0">
              <a:spcBef>
                <a:spcPts val="0"/>
              </a:spcBef>
              <a:spcAft>
                <a:spcPts val="0"/>
              </a:spcAft>
              <a:buClr>
                <a:schemeClr val="lt1"/>
              </a:buClr>
              <a:buSzPts val="1600"/>
              <a:buNone/>
              <a:defRPr sz="2133">
                <a:solidFill>
                  <a:schemeClr val="lt1"/>
                </a:solidFill>
              </a:defRPr>
            </a:lvl7pPr>
            <a:lvl8pPr lvl="7" algn="ctr" rtl="0">
              <a:spcBef>
                <a:spcPts val="0"/>
              </a:spcBef>
              <a:spcAft>
                <a:spcPts val="0"/>
              </a:spcAft>
              <a:buClr>
                <a:schemeClr val="lt1"/>
              </a:buClr>
              <a:buSzPts val="1600"/>
              <a:buNone/>
              <a:defRPr sz="2133">
                <a:solidFill>
                  <a:schemeClr val="lt1"/>
                </a:solidFill>
              </a:defRPr>
            </a:lvl8pPr>
            <a:lvl9pPr lvl="8" algn="ctr" rtl="0">
              <a:spcBef>
                <a:spcPts val="0"/>
              </a:spcBef>
              <a:spcAft>
                <a:spcPts val="0"/>
              </a:spcAft>
              <a:buClr>
                <a:schemeClr val="lt1"/>
              </a:buClr>
              <a:buSzPts val="1600"/>
              <a:buNone/>
              <a:defRPr sz="2133">
                <a:solidFill>
                  <a:schemeClr val="lt1"/>
                </a:solidFill>
              </a:defRPr>
            </a:lvl9pPr>
          </a:lstStyle>
          <a:p>
            <a:endParaRPr/>
          </a:p>
        </p:txBody>
      </p:sp>
      <p:sp>
        <p:nvSpPr>
          <p:cNvPr id="4103" name="Google Shape;4103;p208"/>
          <p:cNvSpPr txBox="1">
            <a:spLocks noGrp="1"/>
          </p:cNvSpPr>
          <p:nvPr>
            <p:ph type="subTitle" idx="13"/>
          </p:nvPr>
        </p:nvSpPr>
        <p:spPr>
          <a:xfrm>
            <a:off x="9355831" y="2105433"/>
            <a:ext cx="21392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104" name="Google Shape;4104;p208"/>
          <p:cNvSpPr txBox="1">
            <a:spLocks noGrp="1"/>
          </p:cNvSpPr>
          <p:nvPr>
            <p:ph type="subTitle" idx="14"/>
          </p:nvPr>
        </p:nvSpPr>
        <p:spPr>
          <a:xfrm>
            <a:off x="9355831" y="3202713"/>
            <a:ext cx="21392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
        <p:nvSpPr>
          <p:cNvPr id="4105" name="Google Shape;4105;p208"/>
          <p:cNvSpPr txBox="1">
            <a:spLocks noGrp="1"/>
          </p:cNvSpPr>
          <p:nvPr>
            <p:ph type="subTitle" idx="15"/>
          </p:nvPr>
        </p:nvSpPr>
        <p:spPr>
          <a:xfrm>
            <a:off x="9355831" y="4287800"/>
            <a:ext cx="2139200" cy="634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None/>
              <a:defRPr sz="1600">
                <a:solidFill>
                  <a:schemeClr val="lt1"/>
                </a:solidFill>
              </a:defRPr>
            </a:lvl1pPr>
            <a:lvl2pPr lvl="1" rtl="0">
              <a:spcBef>
                <a:spcPts val="0"/>
              </a:spcBef>
              <a:spcAft>
                <a:spcPts val="0"/>
              </a:spcAft>
              <a:buClr>
                <a:schemeClr val="lt1"/>
              </a:buClr>
              <a:buSzPts val="1200"/>
              <a:buNone/>
              <a:defRPr sz="1600">
                <a:solidFill>
                  <a:schemeClr val="lt1"/>
                </a:solidFill>
              </a:defRPr>
            </a:lvl2pPr>
            <a:lvl3pPr lvl="2" rtl="0">
              <a:spcBef>
                <a:spcPts val="0"/>
              </a:spcBef>
              <a:spcAft>
                <a:spcPts val="0"/>
              </a:spcAft>
              <a:buClr>
                <a:schemeClr val="lt1"/>
              </a:buClr>
              <a:buSzPts val="1200"/>
              <a:buNone/>
              <a:defRPr sz="1600">
                <a:solidFill>
                  <a:schemeClr val="lt1"/>
                </a:solidFill>
              </a:defRPr>
            </a:lvl3pPr>
            <a:lvl4pPr lvl="3" rtl="0">
              <a:spcBef>
                <a:spcPts val="0"/>
              </a:spcBef>
              <a:spcAft>
                <a:spcPts val="0"/>
              </a:spcAft>
              <a:buClr>
                <a:schemeClr val="lt1"/>
              </a:buClr>
              <a:buSzPts val="1200"/>
              <a:buNone/>
              <a:defRPr sz="1600">
                <a:solidFill>
                  <a:schemeClr val="lt1"/>
                </a:solidFill>
              </a:defRPr>
            </a:lvl4pPr>
            <a:lvl5pPr lvl="4" rtl="0">
              <a:spcBef>
                <a:spcPts val="0"/>
              </a:spcBef>
              <a:spcAft>
                <a:spcPts val="0"/>
              </a:spcAft>
              <a:buClr>
                <a:schemeClr val="lt1"/>
              </a:buClr>
              <a:buSzPts val="1200"/>
              <a:buNone/>
              <a:defRPr sz="1600">
                <a:solidFill>
                  <a:schemeClr val="lt1"/>
                </a:solidFill>
              </a:defRPr>
            </a:lvl5pPr>
            <a:lvl6pPr lvl="5" rtl="0">
              <a:spcBef>
                <a:spcPts val="0"/>
              </a:spcBef>
              <a:spcAft>
                <a:spcPts val="0"/>
              </a:spcAft>
              <a:buClr>
                <a:schemeClr val="lt1"/>
              </a:buClr>
              <a:buSzPts val="1200"/>
              <a:buNone/>
              <a:defRPr sz="1600">
                <a:solidFill>
                  <a:schemeClr val="lt1"/>
                </a:solidFill>
              </a:defRPr>
            </a:lvl6pPr>
            <a:lvl7pPr lvl="6" rtl="0">
              <a:spcBef>
                <a:spcPts val="0"/>
              </a:spcBef>
              <a:spcAft>
                <a:spcPts val="0"/>
              </a:spcAft>
              <a:buClr>
                <a:schemeClr val="lt1"/>
              </a:buClr>
              <a:buSzPts val="1200"/>
              <a:buNone/>
              <a:defRPr sz="1600">
                <a:solidFill>
                  <a:schemeClr val="lt1"/>
                </a:solidFill>
              </a:defRPr>
            </a:lvl7pPr>
            <a:lvl8pPr lvl="7" rtl="0">
              <a:spcBef>
                <a:spcPts val="0"/>
              </a:spcBef>
              <a:spcAft>
                <a:spcPts val="0"/>
              </a:spcAft>
              <a:buClr>
                <a:schemeClr val="lt1"/>
              </a:buClr>
              <a:buSzPts val="1200"/>
              <a:buNone/>
              <a:defRPr sz="1600">
                <a:solidFill>
                  <a:schemeClr val="lt1"/>
                </a:solidFill>
              </a:defRPr>
            </a:lvl8pPr>
            <a:lvl9pPr lvl="8" rtl="0">
              <a:spcBef>
                <a:spcPts val="0"/>
              </a:spcBef>
              <a:spcAft>
                <a:spcPts val="0"/>
              </a:spcAft>
              <a:buClr>
                <a:schemeClr val="lt1"/>
              </a:buClr>
              <a:buSzPts val="1200"/>
              <a:buNone/>
              <a:defRPr sz="1600">
                <a:solidFill>
                  <a:schemeClr val="lt1"/>
                </a:solidFill>
              </a:defRPr>
            </a:lvl9pPr>
          </a:lstStyle>
          <a:p>
            <a:endParaRPr/>
          </a:p>
        </p:txBody>
      </p:sp>
    </p:spTree>
    <p:extLst>
      <p:ext uri="{BB962C8B-B14F-4D97-AF65-F5344CB8AC3E}">
        <p14:creationId xmlns:p14="http://schemas.microsoft.com/office/powerpoint/2010/main" val="82448303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74. Four part gradient cycle_1">
  <p:cSld name="74. Four part gradient cycle_1">
    <p:spTree>
      <p:nvGrpSpPr>
        <p:cNvPr id="1" name="Shape 4106"/>
        <p:cNvGrpSpPr/>
        <p:nvPr/>
      </p:nvGrpSpPr>
      <p:grpSpPr>
        <a:xfrm>
          <a:off x="0" y="0"/>
          <a:ext cx="0" cy="0"/>
          <a:chOff x="0" y="0"/>
          <a:chExt cx="0" cy="0"/>
        </a:xfrm>
      </p:grpSpPr>
      <p:grpSp>
        <p:nvGrpSpPr>
          <p:cNvPr id="4107" name="Google Shape;4107;p209"/>
          <p:cNvGrpSpPr/>
          <p:nvPr/>
        </p:nvGrpSpPr>
        <p:grpSpPr>
          <a:xfrm rot="-5400000" flipH="1">
            <a:off x="7959567" y="2560101"/>
            <a:ext cx="160051" cy="1390020"/>
            <a:chOff x="8582641" y="8238480"/>
            <a:chExt cx="320100" cy="2780040"/>
          </a:xfrm>
        </p:grpSpPr>
        <p:cxnSp>
          <p:nvCxnSpPr>
            <p:cNvPr id="4108" name="Google Shape;4108;p209"/>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109" name="Google Shape;4109;p209"/>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110" name="Google Shape;4110;p209"/>
          <p:cNvGrpSpPr/>
          <p:nvPr/>
        </p:nvGrpSpPr>
        <p:grpSpPr>
          <a:xfrm rot="5400000">
            <a:off x="4057710" y="2543477"/>
            <a:ext cx="160049" cy="1390020"/>
            <a:chOff x="8582641" y="8238480"/>
            <a:chExt cx="320100" cy="2780040"/>
          </a:xfrm>
        </p:grpSpPr>
        <p:cxnSp>
          <p:nvCxnSpPr>
            <p:cNvPr id="4111" name="Google Shape;4111;p209"/>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112" name="Google Shape;4112;p209"/>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113" name="Google Shape;4113;p209"/>
          <p:cNvGrpSpPr/>
          <p:nvPr/>
        </p:nvGrpSpPr>
        <p:grpSpPr>
          <a:xfrm>
            <a:off x="6027636" y="4371867"/>
            <a:ext cx="160049" cy="1390020"/>
            <a:chOff x="8582641" y="8238480"/>
            <a:chExt cx="320100" cy="2780040"/>
          </a:xfrm>
        </p:grpSpPr>
        <p:cxnSp>
          <p:nvCxnSpPr>
            <p:cNvPr id="4114" name="Google Shape;4114;p209"/>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115" name="Google Shape;4115;p209"/>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116" name="Google Shape;4116;p209"/>
          <p:cNvGrpSpPr/>
          <p:nvPr/>
        </p:nvGrpSpPr>
        <p:grpSpPr>
          <a:xfrm rot="10800000" flipH="1">
            <a:off x="6027636" y="552575"/>
            <a:ext cx="160049" cy="1390020"/>
            <a:chOff x="8582641" y="8238480"/>
            <a:chExt cx="320100" cy="2780040"/>
          </a:xfrm>
        </p:grpSpPr>
        <p:cxnSp>
          <p:nvCxnSpPr>
            <p:cNvPr id="4117" name="Google Shape;4117;p209"/>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118" name="Google Shape;4118;p209"/>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119" name="Google Shape;4119;p209"/>
          <p:cNvGrpSpPr/>
          <p:nvPr/>
        </p:nvGrpSpPr>
        <p:grpSpPr>
          <a:xfrm flipH="1">
            <a:off x="4302809" y="1409735"/>
            <a:ext cx="3586204" cy="3657235"/>
            <a:chOff x="2466726" y="-956149"/>
            <a:chExt cx="10032274" cy="10058401"/>
          </a:xfrm>
        </p:grpSpPr>
        <p:sp>
          <p:nvSpPr>
            <p:cNvPr id="4120" name="Google Shape;4120;p209"/>
            <p:cNvSpPr/>
            <p:nvPr/>
          </p:nvSpPr>
          <p:spPr>
            <a:xfrm>
              <a:off x="6050072" y="-956149"/>
              <a:ext cx="6447769" cy="4983482"/>
            </a:xfrm>
            <a:custGeom>
              <a:avLst/>
              <a:gdLst/>
              <a:ahLst/>
              <a:cxnLst/>
              <a:rect l="l" t="t" r="r" b="b"/>
              <a:pathLst>
                <a:path w="6447769" h="4983482" extrusionOk="0">
                  <a:moveTo>
                    <a:pt x="1419727" y="0"/>
                  </a:moveTo>
                  <a:lnTo>
                    <a:pt x="1465447" y="2309"/>
                  </a:lnTo>
                  <a:lnTo>
                    <a:pt x="1465447" y="1157"/>
                  </a:lnTo>
                  <a:lnTo>
                    <a:pt x="1678528" y="6545"/>
                  </a:lnTo>
                  <a:cubicBezTo>
                    <a:pt x="4250087" y="136898"/>
                    <a:pt x="6312029" y="2198841"/>
                    <a:pt x="6442381" y="4770399"/>
                  </a:cubicBezTo>
                  <a:lnTo>
                    <a:pt x="6447769" y="4983482"/>
                  </a:lnTo>
                  <a:lnTo>
                    <a:pt x="6446619" y="4983482"/>
                  </a:lnTo>
                  <a:lnTo>
                    <a:pt x="6441597" y="4884041"/>
                  </a:lnTo>
                  <a:cubicBezTo>
                    <a:pt x="6368893" y="4168135"/>
                    <a:pt x="5764288" y="3609473"/>
                    <a:pt x="5029200" y="3609473"/>
                  </a:cubicBezTo>
                  <a:cubicBezTo>
                    <a:pt x="4294112" y="3609473"/>
                    <a:pt x="3689507" y="4168135"/>
                    <a:pt x="3616803" y="4884041"/>
                  </a:cubicBezTo>
                  <a:lnTo>
                    <a:pt x="3614562" y="4928423"/>
                  </a:lnTo>
                  <a:lnTo>
                    <a:pt x="3608185" y="4802127"/>
                  </a:lnTo>
                  <a:cubicBezTo>
                    <a:pt x="3495325" y="3690812"/>
                    <a:pt x="2556784" y="2823590"/>
                    <a:pt x="1415693" y="2823590"/>
                  </a:cubicBezTo>
                  <a:lnTo>
                    <a:pt x="1267636" y="2831067"/>
                  </a:lnTo>
                  <a:lnTo>
                    <a:pt x="1133602" y="2810611"/>
                  </a:lnTo>
                  <a:cubicBezTo>
                    <a:pt x="486657" y="2678226"/>
                    <a:pt x="0" y="2105810"/>
                    <a:pt x="0" y="1419727"/>
                  </a:cubicBezTo>
                  <a:cubicBezTo>
                    <a:pt x="0" y="635633"/>
                    <a:pt x="635633" y="0"/>
                    <a:pt x="1419727" y="0"/>
                  </a:cubicBezTo>
                  <a:close/>
                </a:path>
              </a:pathLst>
            </a:custGeom>
            <a:gradFill>
              <a:gsLst>
                <a:gs pos="0">
                  <a:srgbClr val="A371F7"/>
                </a:gs>
                <a:gs pos="100000">
                  <a:srgbClr val="6E40C9"/>
                </a:gs>
              </a:gsLst>
              <a:lin ang="2700006"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1" i="0" u="none" strike="noStrike" cap="none">
                <a:solidFill>
                  <a:schemeClr val="lt1"/>
                </a:solidFill>
                <a:latin typeface="Arial"/>
                <a:ea typeface="Arial"/>
                <a:cs typeface="Arial"/>
                <a:sym typeface="Arial"/>
              </a:endParaRPr>
            </a:p>
          </p:txBody>
        </p:sp>
        <p:sp>
          <p:nvSpPr>
            <p:cNvPr id="4121" name="Google Shape;4121;p209"/>
            <p:cNvSpPr/>
            <p:nvPr/>
          </p:nvSpPr>
          <p:spPr>
            <a:xfrm>
              <a:off x="2466726" y="-954993"/>
              <a:ext cx="4983482" cy="6447770"/>
            </a:xfrm>
            <a:custGeom>
              <a:avLst/>
              <a:gdLst/>
              <a:ahLst/>
              <a:cxnLst/>
              <a:rect l="l" t="t" r="r" b="b"/>
              <a:pathLst>
                <a:path w="4983482" h="6447770" extrusionOk="0">
                  <a:moveTo>
                    <a:pt x="4983482" y="0"/>
                  </a:moveTo>
                  <a:lnTo>
                    <a:pt x="4983482" y="1152"/>
                  </a:lnTo>
                  <a:lnTo>
                    <a:pt x="4884042" y="6173"/>
                  </a:lnTo>
                  <a:cubicBezTo>
                    <a:pt x="4168136" y="78877"/>
                    <a:pt x="3609474" y="683482"/>
                    <a:pt x="3609474" y="1418570"/>
                  </a:cubicBezTo>
                  <a:cubicBezTo>
                    <a:pt x="3609474" y="2107715"/>
                    <a:pt x="4100486" y="2682178"/>
                    <a:pt x="4751750" y="2811200"/>
                  </a:cubicBezTo>
                  <a:lnTo>
                    <a:pt x="4877001" y="2829915"/>
                  </a:lnTo>
                  <a:lnTo>
                    <a:pt x="4799835" y="2833812"/>
                  </a:lnTo>
                  <a:cubicBezTo>
                    <a:pt x="3688520" y="2946672"/>
                    <a:pt x="2821298" y="3885212"/>
                    <a:pt x="2821298" y="5026303"/>
                  </a:cubicBezTo>
                  <a:lnTo>
                    <a:pt x="2829563" y="5189982"/>
                  </a:lnTo>
                  <a:lnTo>
                    <a:pt x="2810610" y="5314168"/>
                  </a:lnTo>
                  <a:cubicBezTo>
                    <a:pt x="2678226" y="5961114"/>
                    <a:pt x="2105809" y="6447770"/>
                    <a:pt x="1419727" y="6447770"/>
                  </a:cubicBezTo>
                  <a:cubicBezTo>
                    <a:pt x="635633" y="6447770"/>
                    <a:pt x="0" y="5812137"/>
                    <a:pt x="0" y="5028043"/>
                  </a:cubicBezTo>
                  <a:lnTo>
                    <a:pt x="2309" y="4982324"/>
                  </a:lnTo>
                  <a:lnTo>
                    <a:pt x="1157" y="4982324"/>
                  </a:lnTo>
                  <a:lnTo>
                    <a:pt x="6545" y="4769242"/>
                  </a:lnTo>
                  <a:cubicBezTo>
                    <a:pt x="136898" y="2197684"/>
                    <a:pt x="2198840" y="135741"/>
                    <a:pt x="4770399" y="5388"/>
                  </a:cubicBezTo>
                  <a:close/>
                </a:path>
              </a:pathLst>
            </a:custGeom>
            <a:gradFill>
              <a:gsLst>
                <a:gs pos="0">
                  <a:srgbClr val="A371F7"/>
                </a:gs>
                <a:gs pos="100000">
                  <a:srgbClr val="388BFD"/>
                </a:gs>
              </a:gsLst>
              <a:lin ang="5400012"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1" i="0" u="none" strike="noStrike" cap="none">
                <a:solidFill>
                  <a:schemeClr val="lt1"/>
                </a:solidFill>
                <a:latin typeface="Arial"/>
                <a:ea typeface="Arial"/>
                <a:cs typeface="Arial"/>
                <a:sym typeface="Arial"/>
              </a:endParaRPr>
            </a:p>
          </p:txBody>
        </p:sp>
        <p:sp>
          <p:nvSpPr>
            <p:cNvPr id="4122" name="Google Shape;4122;p209"/>
            <p:cNvSpPr/>
            <p:nvPr/>
          </p:nvSpPr>
          <p:spPr>
            <a:xfrm>
              <a:off x="2467884" y="4118771"/>
              <a:ext cx="6447771" cy="4983481"/>
            </a:xfrm>
            <a:custGeom>
              <a:avLst/>
              <a:gdLst/>
              <a:ahLst/>
              <a:cxnLst/>
              <a:rect l="l" t="t" r="r" b="b"/>
              <a:pathLst>
                <a:path w="6447771" h="4983481" extrusionOk="0">
                  <a:moveTo>
                    <a:pt x="0" y="0"/>
                  </a:moveTo>
                  <a:lnTo>
                    <a:pt x="1152" y="0"/>
                  </a:lnTo>
                  <a:lnTo>
                    <a:pt x="6173" y="99439"/>
                  </a:lnTo>
                  <a:cubicBezTo>
                    <a:pt x="78877" y="815345"/>
                    <a:pt x="683482" y="1374007"/>
                    <a:pt x="1418570" y="1374007"/>
                  </a:cubicBezTo>
                  <a:cubicBezTo>
                    <a:pt x="2107715" y="1374007"/>
                    <a:pt x="2682178" y="882996"/>
                    <a:pt x="2811200" y="231731"/>
                  </a:cubicBezTo>
                  <a:lnTo>
                    <a:pt x="2828419" y="116492"/>
                  </a:lnTo>
                  <a:lnTo>
                    <a:pt x="2831519" y="177872"/>
                  </a:lnTo>
                  <a:cubicBezTo>
                    <a:pt x="2944379" y="1289187"/>
                    <a:pt x="3882919" y="2156409"/>
                    <a:pt x="5024010" y="2156409"/>
                  </a:cubicBezTo>
                  <a:lnTo>
                    <a:pt x="5148631" y="2150116"/>
                  </a:lnTo>
                  <a:lnTo>
                    <a:pt x="5173203" y="2151357"/>
                  </a:lnTo>
                  <a:cubicBezTo>
                    <a:pt x="5889109" y="2224061"/>
                    <a:pt x="6447771" y="2828666"/>
                    <a:pt x="6447771" y="3563754"/>
                  </a:cubicBezTo>
                  <a:cubicBezTo>
                    <a:pt x="6447771" y="4347848"/>
                    <a:pt x="5812138" y="4983481"/>
                    <a:pt x="5028044" y="4983481"/>
                  </a:cubicBezTo>
                  <a:lnTo>
                    <a:pt x="4982325" y="4981172"/>
                  </a:lnTo>
                  <a:lnTo>
                    <a:pt x="4982325" y="4982324"/>
                  </a:lnTo>
                  <a:lnTo>
                    <a:pt x="4769242" y="4976936"/>
                  </a:lnTo>
                  <a:cubicBezTo>
                    <a:pt x="2197683" y="4846583"/>
                    <a:pt x="135741" y="2784641"/>
                    <a:pt x="5388" y="213082"/>
                  </a:cubicBezTo>
                  <a:close/>
                </a:path>
              </a:pathLst>
            </a:custGeom>
            <a:gradFill>
              <a:gsLst>
                <a:gs pos="0">
                  <a:srgbClr val="388BFD"/>
                </a:gs>
                <a:gs pos="82000">
                  <a:srgbClr val="1158C7"/>
                </a:gs>
                <a:gs pos="100000">
                  <a:srgbClr val="1158C7"/>
                </a:gs>
              </a:gsLst>
              <a:lin ang="3900124"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1" i="0" u="none" strike="noStrike" cap="none">
                <a:solidFill>
                  <a:schemeClr val="lt1"/>
                </a:solidFill>
                <a:latin typeface="Arial"/>
                <a:ea typeface="Arial"/>
                <a:cs typeface="Arial"/>
                <a:sym typeface="Arial"/>
              </a:endParaRPr>
            </a:p>
          </p:txBody>
        </p:sp>
        <p:sp>
          <p:nvSpPr>
            <p:cNvPr id="4123" name="Google Shape;4123;p209"/>
            <p:cNvSpPr/>
            <p:nvPr/>
          </p:nvSpPr>
          <p:spPr>
            <a:xfrm>
              <a:off x="7515520" y="2653324"/>
              <a:ext cx="4983480" cy="6447772"/>
            </a:xfrm>
            <a:custGeom>
              <a:avLst/>
              <a:gdLst/>
              <a:ahLst/>
              <a:cxnLst/>
              <a:rect l="l" t="t" r="r" b="b"/>
              <a:pathLst>
                <a:path w="4983480" h="6447772" extrusionOk="0">
                  <a:moveTo>
                    <a:pt x="3563753" y="0"/>
                  </a:moveTo>
                  <a:cubicBezTo>
                    <a:pt x="4347847" y="0"/>
                    <a:pt x="4983480" y="635633"/>
                    <a:pt x="4983480" y="1419727"/>
                  </a:cubicBezTo>
                  <a:lnTo>
                    <a:pt x="4981172" y="1465449"/>
                  </a:lnTo>
                  <a:lnTo>
                    <a:pt x="4982322" y="1465449"/>
                  </a:lnTo>
                  <a:lnTo>
                    <a:pt x="4976934" y="1678530"/>
                  </a:lnTo>
                  <a:cubicBezTo>
                    <a:pt x="4846582" y="4250089"/>
                    <a:pt x="2784640" y="6312031"/>
                    <a:pt x="213081" y="6442384"/>
                  </a:cubicBezTo>
                  <a:lnTo>
                    <a:pt x="0" y="6447772"/>
                  </a:lnTo>
                  <a:lnTo>
                    <a:pt x="0" y="6446619"/>
                  </a:lnTo>
                  <a:lnTo>
                    <a:pt x="99439" y="6441598"/>
                  </a:lnTo>
                  <a:cubicBezTo>
                    <a:pt x="815345" y="6368894"/>
                    <a:pt x="1374007" y="5764289"/>
                    <a:pt x="1374007" y="5029201"/>
                  </a:cubicBezTo>
                  <a:cubicBezTo>
                    <a:pt x="1374007" y="4294113"/>
                    <a:pt x="815345" y="3689508"/>
                    <a:pt x="99439" y="3616804"/>
                  </a:cubicBezTo>
                  <a:lnTo>
                    <a:pt x="74876" y="3615564"/>
                  </a:lnTo>
                  <a:lnTo>
                    <a:pt x="175579" y="3610479"/>
                  </a:lnTo>
                  <a:cubicBezTo>
                    <a:pt x="1286894" y="3497619"/>
                    <a:pt x="2154116" y="2559078"/>
                    <a:pt x="2154116" y="1417987"/>
                  </a:cubicBezTo>
                  <a:lnTo>
                    <a:pt x="2149115" y="1318948"/>
                  </a:lnTo>
                  <a:lnTo>
                    <a:pt x="2151356" y="1274568"/>
                  </a:lnTo>
                  <a:cubicBezTo>
                    <a:pt x="2224060" y="558662"/>
                    <a:pt x="2828665" y="0"/>
                    <a:pt x="3563753" y="0"/>
                  </a:cubicBezTo>
                  <a:close/>
                </a:path>
              </a:pathLst>
            </a:custGeom>
            <a:gradFill>
              <a:gsLst>
                <a:gs pos="0">
                  <a:srgbClr val="6E40C9"/>
                </a:gs>
                <a:gs pos="16000">
                  <a:srgbClr val="6E40C9"/>
                </a:gs>
                <a:gs pos="100000">
                  <a:srgbClr val="1158C7"/>
                </a:gs>
              </a:gsLst>
              <a:lin ang="5400012"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1" i="0" u="none" strike="noStrike" cap="none">
                <a:solidFill>
                  <a:schemeClr val="lt1"/>
                </a:solidFill>
                <a:latin typeface="Arial"/>
                <a:ea typeface="Arial"/>
                <a:cs typeface="Arial"/>
                <a:sym typeface="Arial"/>
              </a:endParaRPr>
            </a:p>
          </p:txBody>
        </p:sp>
      </p:grpSp>
      <p:grpSp>
        <p:nvGrpSpPr>
          <p:cNvPr id="4124" name="Google Shape;4124;p209"/>
          <p:cNvGrpSpPr/>
          <p:nvPr/>
        </p:nvGrpSpPr>
        <p:grpSpPr>
          <a:xfrm>
            <a:off x="12253600" y="1"/>
            <a:ext cx="3438989" cy="3424452"/>
            <a:chOff x="22170399" y="777240"/>
            <a:chExt cx="6877978" cy="6848903"/>
          </a:xfrm>
        </p:grpSpPr>
        <p:grpSp>
          <p:nvGrpSpPr>
            <p:cNvPr id="4125" name="Google Shape;4125;p209"/>
            <p:cNvGrpSpPr/>
            <p:nvPr/>
          </p:nvGrpSpPr>
          <p:grpSpPr>
            <a:xfrm>
              <a:off x="22170399" y="777240"/>
              <a:ext cx="6877978" cy="6848903"/>
              <a:chOff x="22155159" y="0"/>
              <a:chExt cx="6877978" cy="6848903"/>
            </a:xfrm>
          </p:grpSpPr>
          <p:sp>
            <p:nvSpPr>
              <p:cNvPr id="4126" name="Google Shape;4126;p209"/>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127" name="Google Shape;4127;p209"/>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128" name="Google Shape;4128;p209"/>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129" name="Google Shape;4129;p209"/>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130" name="Google Shape;4130;p209"/>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131" name="Google Shape;4131;p209"/>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132" name="Google Shape;4132;p209"/>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133" name="Google Shape;4133;p209"/>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134" name="Google Shape;4134;p209"/>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135" name="Google Shape;4135;p209"/>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136" name="Google Shape;4136;p209"/>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137" name="Google Shape;4137;p209"/>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138" name="Google Shape;4138;p209"/>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139" name="Google Shape;4139;p209"/>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140" name="Google Shape;4140;p209"/>
          <p:cNvSpPr txBox="1">
            <a:spLocks noGrp="1"/>
          </p:cNvSpPr>
          <p:nvPr>
            <p:ph type="subTitle" idx="1"/>
          </p:nvPr>
        </p:nvSpPr>
        <p:spPr>
          <a:xfrm>
            <a:off x="573024" y="3169920"/>
            <a:ext cx="2743200" cy="3292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141" name="Google Shape;4141;p209"/>
          <p:cNvSpPr txBox="1">
            <a:spLocks noGrp="1"/>
          </p:cNvSpPr>
          <p:nvPr>
            <p:ph type="subTitle" idx="2"/>
          </p:nvPr>
        </p:nvSpPr>
        <p:spPr>
          <a:xfrm>
            <a:off x="573024" y="3255264"/>
            <a:ext cx="27432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142" name="Google Shape;4142;p209"/>
          <p:cNvSpPr txBox="1">
            <a:spLocks noGrp="1"/>
          </p:cNvSpPr>
          <p:nvPr>
            <p:ph type="subTitle" idx="3"/>
          </p:nvPr>
        </p:nvSpPr>
        <p:spPr>
          <a:xfrm>
            <a:off x="6327648" y="548640"/>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143" name="Google Shape;4143;p209"/>
          <p:cNvSpPr txBox="1">
            <a:spLocks noGrp="1"/>
          </p:cNvSpPr>
          <p:nvPr>
            <p:ph type="subTitle" idx="4"/>
          </p:nvPr>
        </p:nvSpPr>
        <p:spPr>
          <a:xfrm>
            <a:off x="6330848" y="633984"/>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144" name="Google Shape;4144;p209"/>
          <p:cNvSpPr txBox="1">
            <a:spLocks noGrp="1"/>
          </p:cNvSpPr>
          <p:nvPr>
            <p:ph type="subTitle" idx="5"/>
          </p:nvPr>
        </p:nvSpPr>
        <p:spPr>
          <a:xfrm>
            <a:off x="6327648" y="5608320"/>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145" name="Google Shape;4145;p209"/>
          <p:cNvSpPr txBox="1">
            <a:spLocks noGrp="1"/>
          </p:cNvSpPr>
          <p:nvPr>
            <p:ph type="subTitle" idx="6"/>
          </p:nvPr>
        </p:nvSpPr>
        <p:spPr>
          <a:xfrm>
            <a:off x="6327648" y="5693664"/>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146" name="Google Shape;4146;p209"/>
          <p:cNvSpPr txBox="1">
            <a:spLocks noGrp="1"/>
          </p:cNvSpPr>
          <p:nvPr>
            <p:ph type="subTitle" idx="7"/>
          </p:nvPr>
        </p:nvSpPr>
        <p:spPr>
          <a:xfrm>
            <a:off x="8851392" y="3182112"/>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147" name="Google Shape;4147;p209"/>
          <p:cNvSpPr txBox="1">
            <a:spLocks noGrp="1"/>
          </p:cNvSpPr>
          <p:nvPr>
            <p:ph type="subTitle" idx="8"/>
          </p:nvPr>
        </p:nvSpPr>
        <p:spPr>
          <a:xfrm>
            <a:off x="8851392" y="3267456"/>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209620786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matchingName="75. Four part gradient cycle_2">
  <p:cSld name="75. Four part gradient cycle_2">
    <p:spTree>
      <p:nvGrpSpPr>
        <p:cNvPr id="1" name="Shape 4148"/>
        <p:cNvGrpSpPr/>
        <p:nvPr/>
      </p:nvGrpSpPr>
      <p:grpSpPr>
        <a:xfrm>
          <a:off x="0" y="0"/>
          <a:ext cx="0" cy="0"/>
          <a:chOff x="0" y="0"/>
          <a:chExt cx="0" cy="0"/>
        </a:xfrm>
      </p:grpSpPr>
      <p:grpSp>
        <p:nvGrpSpPr>
          <p:cNvPr id="4149" name="Google Shape;4149;p210"/>
          <p:cNvGrpSpPr/>
          <p:nvPr/>
        </p:nvGrpSpPr>
        <p:grpSpPr>
          <a:xfrm rot="-5400000" flipH="1">
            <a:off x="7959567" y="2560101"/>
            <a:ext cx="160051" cy="1390020"/>
            <a:chOff x="8582641" y="8238480"/>
            <a:chExt cx="320100" cy="2780040"/>
          </a:xfrm>
        </p:grpSpPr>
        <p:cxnSp>
          <p:nvCxnSpPr>
            <p:cNvPr id="4150" name="Google Shape;4150;p210"/>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151" name="Google Shape;4151;p210"/>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152" name="Google Shape;4152;p210"/>
          <p:cNvGrpSpPr/>
          <p:nvPr/>
        </p:nvGrpSpPr>
        <p:grpSpPr>
          <a:xfrm rot="5400000">
            <a:off x="4057710" y="2543477"/>
            <a:ext cx="160049" cy="1390020"/>
            <a:chOff x="8582641" y="8238480"/>
            <a:chExt cx="320100" cy="2780040"/>
          </a:xfrm>
        </p:grpSpPr>
        <p:cxnSp>
          <p:nvCxnSpPr>
            <p:cNvPr id="4153" name="Google Shape;4153;p210"/>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154" name="Google Shape;4154;p210"/>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155" name="Google Shape;4155;p210"/>
          <p:cNvGrpSpPr/>
          <p:nvPr/>
        </p:nvGrpSpPr>
        <p:grpSpPr>
          <a:xfrm>
            <a:off x="6027636" y="4371867"/>
            <a:ext cx="160049" cy="1390020"/>
            <a:chOff x="8582641" y="8238480"/>
            <a:chExt cx="320100" cy="2780040"/>
          </a:xfrm>
        </p:grpSpPr>
        <p:cxnSp>
          <p:nvCxnSpPr>
            <p:cNvPr id="4156" name="Google Shape;4156;p210"/>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157" name="Google Shape;4157;p210"/>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158" name="Google Shape;4158;p210"/>
          <p:cNvGrpSpPr/>
          <p:nvPr/>
        </p:nvGrpSpPr>
        <p:grpSpPr>
          <a:xfrm rot="10800000" flipH="1">
            <a:off x="6027636" y="552575"/>
            <a:ext cx="160049" cy="1390020"/>
            <a:chOff x="8582641" y="8238480"/>
            <a:chExt cx="320100" cy="2780040"/>
          </a:xfrm>
        </p:grpSpPr>
        <p:cxnSp>
          <p:nvCxnSpPr>
            <p:cNvPr id="4159" name="Google Shape;4159;p210"/>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160" name="Google Shape;4160;p210"/>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161" name="Google Shape;4161;p210"/>
          <p:cNvGrpSpPr/>
          <p:nvPr/>
        </p:nvGrpSpPr>
        <p:grpSpPr>
          <a:xfrm flipH="1">
            <a:off x="4302809" y="1409851"/>
            <a:ext cx="3586204" cy="3657235"/>
            <a:chOff x="2466726" y="-956149"/>
            <a:chExt cx="10032274" cy="10058401"/>
          </a:xfrm>
        </p:grpSpPr>
        <p:sp>
          <p:nvSpPr>
            <p:cNvPr id="4162" name="Google Shape;4162;p210"/>
            <p:cNvSpPr/>
            <p:nvPr/>
          </p:nvSpPr>
          <p:spPr>
            <a:xfrm>
              <a:off x="6050072" y="-956149"/>
              <a:ext cx="6447769" cy="4983482"/>
            </a:xfrm>
            <a:custGeom>
              <a:avLst/>
              <a:gdLst/>
              <a:ahLst/>
              <a:cxnLst/>
              <a:rect l="l" t="t" r="r" b="b"/>
              <a:pathLst>
                <a:path w="6447769" h="4983482" extrusionOk="0">
                  <a:moveTo>
                    <a:pt x="1419727" y="0"/>
                  </a:moveTo>
                  <a:lnTo>
                    <a:pt x="1465447" y="2309"/>
                  </a:lnTo>
                  <a:lnTo>
                    <a:pt x="1465447" y="1157"/>
                  </a:lnTo>
                  <a:lnTo>
                    <a:pt x="1678528" y="6545"/>
                  </a:lnTo>
                  <a:cubicBezTo>
                    <a:pt x="4250087" y="136898"/>
                    <a:pt x="6312029" y="2198841"/>
                    <a:pt x="6442381" y="4770399"/>
                  </a:cubicBezTo>
                  <a:lnTo>
                    <a:pt x="6447769" y="4983482"/>
                  </a:lnTo>
                  <a:lnTo>
                    <a:pt x="6446619" y="4983482"/>
                  </a:lnTo>
                  <a:lnTo>
                    <a:pt x="6441597" y="4884041"/>
                  </a:lnTo>
                  <a:cubicBezTo>
                    <a:pt x="6368893" y="4168135"/>
                    <a:pt x="5764288" y="3609473"/>
                    <a:pt x="5029200" y="3609473"/>
                  </a:cubicBezTo>
                  <a:cubicBezTo>
                    <a:pt x="4294112" y="3609473"/>
                    <a:pt x="3689507" y="4168135"/>
                    <a:pt x="3616803" y="4884041"/>
                  </a:cubicBezTo>
                  <a:lnTo>
                    <a:pt x="3614562" y="4928423"/>
                  </a:lnTo>
                  <a:lnTo>
                    <a:pt x="3608185" y="4802127"/>
                  </a:lnTo>
                  <a:cubicBezTo>
                    <a:pt x="3495325" y="3690812"/>
                    <a:pt x="2556784" y="2823590"/>
                    <a:pt x="1415693" y="2823590"/>
                  </a:cubicBezTo>
                  <a:lnTo>
                    <a:pt x="1267636" y="2831067"/>
                  </a:lnTo>
                  <a:lnTo>
                    <a:pt x="1133602" y="2810611"/>
                  </a:lnTo>
                  <a:cubicBezTo>
                    <a:pt x="486657" y="2678226"/>
                    <a:pt x="0" y="2105810"/>
                    <a:pt x="0" y="1419727"/>
                  </a:cubicBezTo>
                  <a:cubicBezTo>
                    <a:pt x="0" y="635633"/>
                    <a:pt x="635633" y="0"/>
                    <a:pt x="1419727" y="0"/>
                  </a:cubicBezTo>
                  <a:close/>
                </a:path>
              </a:pathLst>
            </a:custGeom>
            <a:gradFill>
              <a:gsLst>
                <a:gs pos="0">
                  <a:srgbClr val="56D364"/>
                </a:gs>
                <a:gs pos="88000">
                  <a:srgbClr val="238636"/>
                </a:gs>
                <a:gs pos="100000">
                  <a:srgbClr val="238636"/>
                </a:gs>
              </a:gsLst>
              <a:lin ang="2700006"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0" i="0" u="none" strike="noStrike" cap="none">
                <a:solidFill>
                  <a:schemeClr val="lt1"/>
                </a:solidFill>
                <a:latin typeface="Arial"/>
                <a:ea typeface="Arial"/>
                <a:cs typeface="Arial"/>
                <a:sym typeface="Arial"/>
              </a:endParaRPr>
            </a:p>
          </p:txBody>
        </p:sp>
        <p:sp>
          <p:nvSpPr>
            <p:cNvPr id="4163" name="Google Shape;4163;p210"/>
            <p:cNvSpPr/>
            <p:nvPr/>
          </p:nvSpPr>
          <p:spPr>
            <a:xfrm>
              <a:off x="2466726" y="-954993"/>
              <a:ext cx="4983482" cy="6447770"/>
            </a:xfrm>
            <a:custGeom>
              <a:avLst/>
              <a:gdLst/>
              <a:ahLst/>
              <a:cxnLst/>
              <a:rect l="l" t="t" r="r" b="b"/>
              <a:pathLst>
                <a:path w="4983482" h="6447770" extrusionOk="0">
                  <a:moveTo>
                    <a:pt x="4983482" y="0"/>
                  </a:moveTo>
                  <a:lnTo>
                    <a:pt x="4983482" y="1152"/>
                  </a:lnTo>
                  <a:lnTo>
                    <a:pt x="4884042" y="6173"/>
                  </a:lnTo>
                  <a:cubicBezTo>
                    <a:pt x="4168136" y="78877"/>
                    <a:pt x="3609474" y="683482"/>
                    <a:pt x="3609474" y="1418570"/>
                  </a:cubicBezTo>
                  <a:cubicBezTo>
                    <a:pt x="3609474" y="2107715"/>
                    <a:pt x="4100486" y="2682178"/>
                    <a:pt x="4751750" y="2811200"/>
                  </a:cubicBezTo>
                  <a:lnTo>
                    <a:pt x="4877001" y="2829915"/>
                  </a:lnTo>
                  <a:lnTo>
                    <a:pt x="4799835" y="2833812"/>
                  </a:lnTo>
                  <a:cubicBezTo>
                    <a:pt x="3688520" y="2946672"/>
                    <a:pt x="2821298" y="3885212"/>
                    <a:pt x="2821298" y="5026303"/>
                  </a:cubicBezTo>
                  <a:lnTo>
                    <a:pt x="2829563" y="5189982"/>
                  </a:lnTo>
                  <a:lnTo>
                    <a:pt x="2810610" y="5314168"/>
                  </a:lnTo>
                  <a:cubicBezTo>
                    <a:pt x="2678226" y="5961114"/>
                    <a:pt x="2105809" y="6447770"/>
                    <a:pt x="1419727" y="6447770"/>
                  </a:cubicBezTo>
                  <a:cubicBezTo>
                    <a:pt x="635633" y="6447770"/>
                    <a:pt x="0" y="5812137"/>
                    <a:pt x="0" y="5028043"/>
                  </a:cubicBezTo>
                  <a:lnTo>
                    <a:pt x="2309" y="4982324"/>
                  </a:lnTo>
                  <a:lnTo>
                    <a:pt x="1157" y="4982324"/>
                  </a:lnTo>
                  <a:lnTo>
                    <a:pt x="6545" y="4769242"/>
                  </a:lnTo>
                  <a:cubicBezTo>
                    <a:pt x="136898" y="2197684"/>
                    <a:pt x="2198840" y="135741"/>
                    <a:pt x="4770399" y="5388"/>
                  </a:cubicBezTo>
                  <a:close/>
                </a:path>
              </a:pathLst>
            </a:custGeom>
            <a:gradFill>
              <a:gsLst>
                <a:gs pos="0">
                  <a:srgbClr val="56D364"/>
                </a:gs>
                <a:gs pos="100000">
                  <a:srgbClr val="388BFD"/>
                </a:gs>
              </a:gsLst>
              <a:lin ang="5400012"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0" i="0" u="none" strike="noStrike" cap="none">
                <a:solidFill>
                  <a:schemeClr val="lt1"/>
                </a:solidFill>
                <a:latin typeface="Arial"/>
                <a:ea typeface="Arial"/>
                <a:cs typeface="Arial"/>
                <a:sym typeface="Arial"/>
              </a:endParaRPr>
            </a:p>
          </p:txBody>
        </p:sp>
        <p:sp>
          <p:nvSpPr>
            <p:cNvPr id="4164" name="Google Shape;4164;p210"/>
            <p:cNvSpPr/>
            <p:nvPr/>
          </p:nvSpPr>
          <p:spPr>
            <a:xfrm>
              <a:off x="2467884" y="4118771"/>
              <a:ext cx="6447771" cy="4983481"/>
            </a:xfrm>
            <a:custGeom>
              <a:avLst/>
              <a:gdLst/>
              <a:ahLst/>
              <a:cxnLst/>
              <a:rect l="l" t="t" r="r" b="b"/>
              <a:pathLst>
                <a:path w="6447771" h="4983481" extrusionOk="0">
                  <a:moveTo>
                    <a:pt x="0" y="0"/>
                  </a:moveTo>
                  <a:lnTo>
                    <a:pt x="1152" y="0"/>
                  </a:lnTo>
                  <a:lnTo>
                    <a:pt x="6173" y="99439"/>
                  </a:lnTo>
                  <a:cubicBezTo>
                    <a:pt x="78877" y="815345"/>
                    <a:pt x="683482" y="1374007"/>
                    <a:pt x="1418570" y="1374007"/>
                  </a:cubicBezTo>
                  <a:cubicBezTo>
                    <a:pt x="2107715" y="1374007"/>
                    <a:pt x="2682178" y="882996"/>
                    <a:pt x="2811200" y="231731"/>
                  </a:cubicBezTo>
                  <a:lnTo>
                    <a:pt x="2828419" y="116492"/>
                  </a:lnTo>
                  <a:lnTo>
                    <a:pt x="2831519" y="177872"/>
                  </a:lnTo>
                  <a:cubicBezTo>
                    <a:pt x="2944379" y="1289187"/>
                    <a:pt x="3882919" y="2156409"/>
                    <a:pt x="5024010" y="2156409"/>
                  </a:cubicBezTo>
                  <a:lnTo>
                    <a:pt x="5148631" y="2150116"/>
                  </a:lnTo>
                  <a:lnTo>
                    <a:pt x="5173203" y="2151357"/>
                  </a:lnTo>
                  <a:cubicBezTo>
                    <a:pt x="5889109" y="2224061"/>
                    <a:pt x="6447771" y="2828666"/>
                    <a:pt x="6447771" y="3563754"/>
                  </a:cubicBezTo>
                  <a:cubicBezTo>
                    <a:pt x="6447771" y="4347848"/>
                    <a:pt x="5812138" y="4983481"/>
                    <a:pt x="5028044" y="4983481"/>
                  </a:cubicBezTo>
                  <a:lnTo>
                    <a:pt x="4982325" y="4981172"/>
                  </a:lnTo>
                  <a:lnTo>
                    <a:pt x="4982325" y="4982324"/>
                  </a:lnTo>
                  <a:lnTo>
                    <a:pt x="4769242" y="4976936"/>
                  </a:lnTo>
                  <a:cubicBezTo>
                    <a:pt x="2197683" y="4846583"/>
                    <a:pt x="135741" y="2784641"/>
                    <a:pt x="5388" y="213082"/>
                  </a:cubicBezTo>
                  <a:close/>
                </a:path>
              </a:pathLst>
            </a:custGeom>
            <a:gradFill>
              <a:gsLst>
                <a:gs pos="0">
                  <a:srgbClr val="388BFD"/>
                </a:gs>
                <a:gs pos="83000">
                  <a:srgbClr val="1158C7"/>
                </a:gs>
                <a:gs pos="100000">
                  <a:srgbClr val="1158C7"/>
                </a:gs>
              </a:gsLst>
              <a:lin ang="3900124"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0" i="0" u="none" strike="noStrike" cap="none">
                <a:solidFill>
                  <a:schemeClr val="lt1"/>
                </a:solidFill>
                <a:latin typeface="Arial"/>
                <a:ea typeface="Arial"/>
                <a:cs typeface="Arial"/>
                <a:sym typeface="Arial"/>
              </a:endParaRPr>
            </a:p>
          </p:txBody>
        </p:sp>
        <p:sp>
          <p:nvSpPr>
            <p:cNvPr id="4165" name="Google Shape;4165;p210"/>
            <p:cNvSpPr/>
            <p:nvPr/>
          </p:nvSpPr>
          <p:spPr>
            <a:xfrm>
              <a:off x="7515520" y="2653324"/>
              <a:ext cx="4983480" cy="6447772"/>
            </a:xfrm>
            <a:custGeom>
              <a:avLst/>
              <a:gdLst/>
              <a:ahLst/>
              <a:cxnLst/>
              <a:rect l="l" t="t" r="r" b="b"/>
              <a:pathLst>
                <a:path w="4983480" h="6447772" extrusionOk="0">
                  <a:moveTo>
                    <a:pt x="3563753" y="0"/>
                  </a:moveTo>
                  <a:cubicBezTo>
                    <a:pt x="4347847" y="0"/>
                    <a:pt x="4983480" y="635633"/>
                    <a:pt x="4983480" y="1419727"/>
                  </a:cubicBezTo>
                  <a:lnTo>
                    <a:pt x="4981172" y="1465449"/>
                  </a:lnTo>
                  <a:lnTo>
                    <a:pt x="4982322" y="1465449"/>
                  </a:lnTo>
                  <a:lnTo>
                    <a:pt x="4976934" y="1678530"/>
                  </a:lnTo>
                  <a:cubicBezTo>
                    <a:pt x="4846582" y="4250089"/>
                    <a:pt x="2784640" y="6312031"/>
                    <a:pt x="213081" y="6442384"/>
                  </a:cubicBezTo>
                  <a:lnTo>
                    <a:pt x="0" y="6447772"/>
                  </a:lnTo>
                  <a:lnTo>
                    <a:pt x="0" y="6446619"/>
                  </a:lnTo>
                  <a:lnTo>
                    <a:pt x="99439" y="6441598"/>
                  </a:lnTo>
                  <a:cubicBezTo>
                    <a:pt x="815345" y="6368894"/>
                    <a:pt x="1374007" y="5764289"/>
                    <a:pt x="1374007" y="5029201"/>
                  </a:cubicBezTo>
                  <a:cubicBezTo>
                    <a:pt x="1374007" y="4294113"/>
                    <a:pt x="815345" y="3689508"/>
                    <a:pt x="99439" y="3616804"/>
                  </a:cubicBezTo>
                  <a:lnTo>
                    <a:pt x="74876" y="3615564"/>
                  </a:lnTo>
                  <a:lnTo>
                    <a:pt x="175579" y="3610479"/>
                  </a:lnTo>
                  <a:cubicBezTo>
                    <a:pt x="1286894" y="3497619"/>
                    <a:pt x="2154116" y="2559078"/>
                    <a:pt x="2154116" y="1417987"/>
                  </a:cubicBezTo>
                  <a:lnTo>
                    <a:pt x="2149115" y="1318948"/>
                  </a:lnTo>
                  <a:lnTo>
                    <a:pt x="2151356" y="1274568"/>
                  </a:lnTo>
                  <a:cubicBezTo>
                    <a:pt x="2224060" y="558662"/>
                    <a:pt x="2828665" y="0"/>
                    <a:pt x="3563753" y="0"/>
                  </a:cubicBezTo>
                  <a:close/>
                </a:path>
              </a:pathLst>
            </a:custGeom>
            <a:gradFill>
              <a:gsLst>
                <a:gs pos="0">
                  <a:srgbClr val="238636"/>
                </a:gs>
                <a:gs pos="100000">
                  <a:srgbClr val="1158C7"/>
                </a:gs>
              </a:gsLst>
              <a:lin ang="5400012"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0" i="0" u="none" strike="noStrike" cap="none">
                <a:solidFill>
                  <a:schemeClr val="lt1"/>
                </a:solidFill>
                <a:latin typeface="Arial"/>
                <a:ea typeface="Arial"/>
                <a:cs typeface="Arial"/>
                <a:sym typeface="Arial"/>
              </a:endParaRPr>
            </a:p>
          </p:txBody>
        </p:sp>
      </p:grpSp>
      <p:grpSp>
        <p:nvGrpSpPr>
          <p:cNvPr id="4166" name="Google Shape;4166;p210"/>
          <p:cNvGrpSpPr/>
          <p:nvPr/>
        </p:nvGrpSpPr>
        <p:grpSpPr>
          <a:xfrm>
            <a:off x="12253600" y="1"/>
            <a:ext cx="3438989" cy="3424452"/>
            <a:chOff x="22170399" y="777240"/>
            <a:chExt cx="6877978" cy="6848903"/>
          </a:xfrm>
        </p:grpSpPr>
        <p:grpSp>
          <p:nvGrpSpPr>
            <p:cNvPr id="4167" name="Google Shape;4167;p210"/>
            <p:cNvGrpSpPr/>
            <p:nvPr/>
          </p:nvGrpSpPr>
          <p:grpSpPr>
            <a:xfrm>
              <a:off x="22170399" y="777240"/>
              <a:ext cx="6877978" cy="6848903"/>
              <a:chOff x="22155159" y="0"/>
              <a:chExt cx="6877978" cy="6848903"/>
            </a:xfrm>
          </p:grpSpPr>
          <p:sp>
            <p:nvSpPr>
              <p:cNvPr id="4168" name="Google Shape;4168;p210"/>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169" name="Google Shape;4169;p210"/>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170" name="Google Shape;4170;p210"/>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171" name="Google Shape;4171;p210"/>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172" name="Google Shape;4172;p210"/>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173" name="Google Shape;4173;p210"/>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174" name="Google Shape;4174;p210"/>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175" name="Google Shape;4175;p210"/>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176" name="Google Shape;4176;p210"/>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177" name="Google Shape;4177;p210"/>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178" name="Google Shape;4178;p210"/>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179" name="Google Shape;4179;p210"/>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180" name="Google Shape;4180;p210"/>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181" name="Google Shape;4181;p210"/>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182" name="Google Shape;4182;p210"/>
          <p:cNvSpPr txBox="1">
            <a:spLocks noGrp="1"/>
          </p:cNvSpPr>
          <p:nvPr>
            <p:ph type="subTitle" idx="1"/>
          </p:nvPr>
        </p:nvSpPr>
        <p:spPr>
          <a:xfrm>
            <a:off x="573024" y="3169920"/>
            <a:ext cx="2743200" cy="3292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183" name="Google Shape;4183;p210"/>
          <p:cNvSpPr txBox="1">
            <a:spLocks noGrp="1"/>
          </p:cNvSpPr>
          <p:nvPr>
            <p:ph type="subTitle" idx="2"/>
          </p:nvPr>
        </p:nvSpPr>
        <p:spPr>
          <a:xfrm>
            <a:off x="573024" y="3255264"/>
            <a:ext cx="27432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184" name="Google Shape;4184;p210"/>
          <p:cNvSpPr txBox="1">
            <a:spLocks noGrp="1"/>
          </p:cNvSpPr>
          <p:nvPr>
            <p:ph type="subTitle" idx="3"/>
          </p:nvPr>
        </p:nvSpPr>
        <p:spPr>
          <a:xfrm>
            <a:off x="6327648" y="548640"/>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185" name="Google Shape;4185;p210"/>
          <p:cNvSpPr txBox="1">
            <a:spLocks noGrp="1"/>
          </p:cNvSpPr>
          <p:nvPr>
            <p:ph type="subTitle" idx="4"/>
          </p:nvPr>
        </p:nvSpPr>
        <p:spPr>
          <a:xfrm>
            <a:off x="6330848" y="633984"/>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186" name="Google Shape;4186;p210"/>
          <p:cNvSpPr txBox="1">
            <a:spLocks noGrp="1"/>
          </p:cNvSpPr>
          <p:nvPr>
            <p:ph type="subTitle" idx="5"/>
          </p:nvPr>
        </p:nvSpPr>
        <p:spPr>
          <a:xfrm>
            <a:off x="6327648" y="5608320"/>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187" name="Google Shape;4187;p210"/>
          <p:cNvSpPr txBox="1">
            <a:spLocks noGrp="1"/>
          </p:cNvSpPr>
          <p:nvPr>
            <p:ph type="subTitle" idx="6"/>
          </p:nvPr>
        </p:nvSpPr>
        <p:spPr>
          <a:xfrm>
            <a:off x="6327648" y="5693664"/>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188" name="Google Shape;4188;p210"/>
          <p:cNvSpPr txBox="1">
            <a:spLocks noGrp="1"/>
          </p:cNvSpPr>
          <p:nvPr>
            <p:ph type="subTitle" idx="7"/>
          </p:nvPr>
        </p:nvSpPr>
        <p:spPr>
          <a:xfrm>
            <a:off x="8851392" y="3182112"/>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189" name="Google Shape;4189;p210"/>
          <p:cNvSpPr txBox="1">
            <a:spLocks noGrp="1"/>
          </p:cNvSpPr>
          <p:nvPr>
            <p:ph type="subTitle" idx="8"/>
          </p:nvPr>
        </p:nvSpPr>
        <p:spPr>
          <a:xfrm>
            <a:off x="8851392" y="3267456"/>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428173416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matchingName="76. Three part gradient cycle_1">
  <p:cSld name="76. Three part gradient cycle_1">
    <p:spTree>
      <p:nvGrpSpPr>
        <p:cNvPr id="1" name="Shape 4190"/>
        <p:cNvGrpSpPr/>
        <p:nvPr/>
      </p:nvGrpSpPr>
      <p:grpSpPr>
        <a:xfrm>
          <a:off x="0" y="0"/>
          <a:ext cx="0" cy="0"/>
          <a:chOff x="0" y="0"/>
          <a:chExt cx="0" cy="0"/>
        </a:xfrm>
      </p:grpSpPr>
      <p:grpSp>
        <p:nvGrpSpPr>
          <p:cNvPr id="4191" name="Google Shape;4191;p211"/>
          <p:cNvGrpSpPr/>
          <p:nvPr/>
        </p:nvGrpSpPr>
        <p:grpSpPr>
          <a:xfrm rot="-5400000" flipH="1">
            <a:off x="7890812" y="3582698"/>
            <a:ext cx="160049" cy="1390020"/>
            <a:chOff x="8582641" y="8238480"/>
            <a:chExt cx="320100" cy="2780040"/>
          </a:xfrm>
        </p:grpSpPr>
        <p:cxnSp>
          <p:nvCxnSpPr>
            <p:cNvPr id="4192" name="Google Shape;4192;p211"/>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193" name="Google Shape;4193;p211"/>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194" name="Google Shape;4194;p211"/>
          <p:cNvGrpSpPr/>
          <p:nvPr/>
        </p:nvGrpSpPr>
        <p:grpSpPr>
          <a:xfrm rot="10800000" flipH="1">
            <a:off x="6027636" y="971675"/>
            <a:ext cx="160049" cy="1390020"/>
            <a:chOff x="8582641" y="8238480"/>
            <a:chExt cx="320100" cy="2780040"/>
          </a:xfrm>
        </p:grpSpPr>
        <p:cxnSp>
          <p:nvCxnSpPr>
            <p:cNvPr id="4195" name="Google Shape;4195;p211"/>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196" name="Google Shape;4196;p211"/>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197" name="Google Shape;4197;p211"/>
          <p:cNvGrpSpPr/>
          <p:nvPr/>
        </p:nvGrpSpPr>
        <p:grpSpPr>
          <a:xfrm rot="5400000">
            <a:off x="4141658" y="3582698"/>
            <a:ext cx="160049" cy="1390020"/>
            <a:chOff x="8582641" y="8238480"/>
            <a:chExt cx="320100" cy="2780040"/>
          </a:xfrm>
        </p:grpSpPr>
        <p:cxnSp>
          <p:nvCxnSpPr>
            <p:cNvPr id="4198" name="Google Shape;4198;p211"/>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199" name="Google Shape;4199;p211"/>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200" name="Google Shape;4200;p211"/>
          <p:cNvGrpSpPr/>
          <p:nvPr/>
        </p:nvGrpSpPr>
        <p:grpSpPr>
          <a:xfrm>
            <a:off x="4262989" y="1828759"/>
            <a:ext cx="3665435" cy="3657328"/>
            <a:chOff x="2779615" y="736954"/>
            <a:chExt cx="4778508" cy="4767941"/>
          </a:xfrm>
        </p:grpSpPr>
        <p:sp>
          <p:nvSpPr>
            <p:cNvPr id="4201" name="Google Shape;4201;p211"/>
            <p:cNvSpPr/>
            <p:nvPr/>
          </p:nvSpPr>
          <p:spPr>
            <a:xfrm>
              <a:off x="5208381" y="741079"/>
              <a:ext cx="2349742" cy="3935040"/>
            </a:xfrm>
            <a:custGeom>
              <a:avLst/>
              <a:gdLst/>
              <a:ahLst/>
              <a:cxnLst/>
              <a:rect l="l" t="t" r="r" b="b"/>
              <a:pathLst>
                <a:path w="2349742" h="3935040" extrusionOk="0">
                  <a:moveTo>
                    <a:pt x="32367" y="0"/>
                  </a:moveTo>
                  <a:lnTo>
                    <a:pt x="195949" y="8260"/>
                  </a:lnTo>
                  <a:cubicBezTo>
                    <a:pt x="1405703" y="131117"/>
                    <a:pt x="2349742" y="1152792"/>
                    <a:pt x="2349742" y="2394960"/>
                  </a:cubicBezTo>
                  <a:cubicBezTo>
                    <a:pt x="2349742" y="2726205"/>
                    <a:pt x="2282611" y="3041770"/>
                    <a:pt x="2161210" y="3328793"/>
                  </a:cubicBezTo>
                  <a:lnTo>
                    <a:pt x="2076609" y="3504414"/>
                  </a:lnTo>
                  <a:lnTo>
                    <a:pt x="2060185" y="3538507"/>
                  </a:lnTo>
                  <a:lnTo>
                    <a:pt x="1980730" y="3669296"/>
                  </a:lnTo>
                  <a:lnTo>
                    <a:pt x="1926095" y="3735513"/>
                  </a:lnTo>
                  <a:cubicBezTo>
                    <a:pt x="1802817" y="3858791"/>
                    <a:pt x="1632510" y="3935040"/>
                    <a:pt x="1444394" y="3935040"/>
                  </a:cubicBezTo>
                  <a:cubicBezTo>
                    <a:pt x="1068162" y="3935040"/>
                    <a:pt x="763166" y="3630044"/>
                    <a:pt x="763166" y="3253812"/>
                  </a:cubicBezTo>
                  <a:cubicBezTo>
                    <a:pt x="763166" y="3159754"/>
                    <a:pt x="782228" y="3070148"/>
                    <a:pt x="816700" y="2988647"/>
                  </a:cubicBezTo>
                  <a:lnTo>
                    <a:pt x="820423" y="2981789"/>
                  </a:lnTo>
                  <a:lnTo>
                    <a:pt x="820610" y="2981538"/>
                  </a:lnTo>
                  <a:cubicBezTo>
                    <a:pt x="839464" y="2953631"/>
                    <a:pt x="857010" y="2924768"/>
                    <a:pt x="873161" y="2895037"/>
                  </a:cubicBezTo>
                  <a:lnTo>
                    <a:pt x="889844" y="2860405"/>
                  </a:lnTo>
                  <a:lnTo>
                    <a:pt x="917339" y="2803328"/>
                  </a:lnTo>
                  <a:cubicBezTo>
                    <a:pt x="970428" y="2677812"/>
                    <a:pt x="999785" y="2539815"/>
                    <a:pt x="999785" y="2394960"/>
                  </a:cubicBezTo>
                  <a:cubicBezTo>
                    <a:pt x="999785" y="1851756"/>
                    <a:pt x="586953" y="1404974"/>
                    <a:pt x="57923" y="1351248"/>
                  </a:cubicBezTo>
                  <a:lnTo>
                    <a:pt x="0" y="1348323"/>
                  </a:lnTo>
                  <a:lnTo>
                    <a:pt x="83375" y="1339918"/>
                  </a:lnTo>
                  <a:cubicBezTo>
                    <a:pt x="393800" y="1276396"/>
                    <a:pt x="627312" y="1001733"/>
                    <a:pt x="627312" y="672530"/>
                  </a:cubicBezTo>
                  <a:cubicBezTo>
                    <a:pt x="627312" y="343327"/>
                    <a:pt x="393800" y="68664"/>
                    <a:pt x="83375" y="5142"/>
                  </a:cubicBezTo>
                  <a:close/>
                </a:path>
              </a:pathLst>
            </a:custGeom>
            <a:gradFill>
              <a:gsLst>
                <a:gs pos="0">
                  <a:srgbClr val="6E40C9"/>
                </a:gs>
                <a:gs pos="9000">
                  <a:srgbClr val="6E40C9"/>
                </a:gs>
                <a:gs pos="78000">
                  <a:srgbClr val="A371F7"/>
                </a:gs>
                <a:gs pos="100000">
                  <a:srgbClr val="A371F7"/>
                </a:gs>
              </a:gsLst>
              <a:lin ang="5400012"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1" i="0" u="none" strike="noStrike" cap="none">
                <a:solidFill>
                  <a:schemeClr val="dk1"/>
                </a:solidFill>
                <a:latin typeface="Arial"/>
                <a:ea typeface="Arial"/>
                <a:cs typeface="Arial"/>
                <a:sym typeface="Arial"/>
              </a:endParaRPr>
            </a:p>
          </p:txBody>
        </p:sp>
        <p:sp>
          <p:nvSpPr>
            <p:cNvPr id="4202" name="Google Shape;4202;p211"/>
            <p:cNvSpPr/>
            <p:nvPr/>
          </p:nvSpPr>
          <p:spPr>
            <a:xfrm>
              <a:off x="2779615" y="736954"/>
              <a:ext cx="3075742" cy="3606241"/>
            </a:xfrm>
            <a:custGeom>
              <a:avLst/>
              <a:gdLst/>
              <a:ahLst/>
              <a:cxnLst/>
              <a:rect l="l" t="t" r="r" b="b"/>
              <a:pathLst>
                <a:path w="3075742" h="3606241" extrusionOk="0">
                  <a:moveTo>
                    <a:pt x="2399086" y="0"/>
                  </a:moveTo>
                  <a:lnTo>
                    <a:pt x="2480797" y="4126"/>
                  </a:lnTo>
                  <a:lnTo>
                    <a:pt x="2531805" y="9268"/>
                  </a:lnTo>
                  <a:cubicBezTo>
                    <a:pt x="2842230" y="72790"/>
                    <a:pt x="3075742" y="347453"/>
                    <a:pt x="3075742" y="676656"/>
                  </a:cubicBezTo>
                  <a:cubicBezTo>
                    <a:pt x="3075742" y="1005859"/>
                    <a:pt x="2842230" y="1280522"/>
                    <a:pt x="2531805" y="1344044"/>
                  </a:cubicBezTo>
                  <a:lnTo>
                    <a:pt x="2448430" y="1352449"/>
                  </a:lnTo>
                  <a:lnTo>
                    <a:pt x="2399086" y="1349957"/>
                  </a:lnTo>
                  <a:lnTo>
                    <a:pt x="2343650" y="1352757"/>
                  </a:lnTo>
                  <a:lnTo>
                    <a:pt x="2343644" y="1352756"/>
                  </a:lnTo>
                  <a:lnTo>
                    <a:pt x="2291819" y="1355373"/>
                  </a:lnTo>
                  <a:cubicBezTo>
                    <a:pt x="1762789" y="1409099"/>
                    <a:pt x="1349957" y="1855881"/>
                    <a:pt x="1349957" y="2399085"/>
                  </a:cubicBezTo>
                  <a:cubicBezTo>
                    <a:pt x="1349957" y="2543940"/>
                    <a:pt x="1379314" y="2681937"/>
                    <a:pt x="1432403" y="2807453"/>
                  </a:cubicBezTo>
                  <a:lnTo>
                    <a:pt x="1450354" y="2844719"/>
                  </a:lnTo>
                  <a:lnTo>
                    <a:pt x="1389810" y="2771338"/>
                  </a:lnTo>
                  <a:cubicBezTo>
                    <a:pt x="1266532" y="2648060"/>
                    <a:pt x="1096225" y="2571811"/>
                    <a:pt x="908109" y="2571811"/>
                  </a:cubicBezTo>
                  <a:cubicBezTo>
                    <a:pt x="531877" y="2571811"/>
                    <a:pt x="226881" y="2876807"/>
                    <a:pt x="226881" y="3253039"/>
                  </a:cubicBezTo>
                  <a:cubicBezTo>
                    <a:pt x="226881" y="3347097"/>
                    <a:pt x="245943" y="3436703"/>
                    <a:pt x="280415" y="3518204"/>
                  </a:cubicBezTo>
                  <a:lnTo>
                    <a:pt x="328200" y="3606241"/>
                  </a:lnTo>
                  <a:lnTo>
                    <a:pt x="289557" y="3542632"/>
                  </a:lnTo>
                  <a:cubicBezTo>
                    <a:pt x="104893" y="3202698"/>
                    <a:pt x="0" y="2813141"/>
                    <a:pt x="0" y="2399085"/>
                  </a:cubicBezTo>
                  <a:cubicBezTo>
                    <a:pt x="0" y="1156917"/>
                    <a:pt x="944039" y="135242"/>
                    <a:pt x="2153793" y="12385"/>
                  </a:cubicBezTo>
                  <a:lnTo>
                    <a:pt x="2299055" y="5050"/>
                  </a:lnTo>
                  <a:lnTo>
                    <a:pt x="2257223" y="9267"/>
                  </a:lnTo>
                  <a:cubicBezTo>
                    <a:pt x="1946799" y="72789"/>
                    <a:pt x="1713286" y="347452"/>
                    <a:pt x="1713286" y="676655"/>
                  </a:cubicBezTo>
                  <a:lnTo>
                    <a:pt x="1713286" y="676656"/>
                  </a:lnTo>
                  <a:lnTo>
                    <a:pt x="1723926" y="556067"/>
                  </a:lnTo>
                  <a:cubicBezTo>
                    <a:pt x="1772866" y="282086"/>
                    <a:pt x="1985602" y="64850"/>
                    <a:pt x="2257223" y="9268"/>
                  </a:cubicBezTo>
                  <a:lnTo>
                    <a:pt x="2299055" y="5051"/>
                  </a:lnTo>
                  <a:close/>
                </a:path>
              </a:pathLst>
            </a:custGeom>
            <a:gradFill>
              <a:gsLst>
                <a:gs pos="0">
                  <a:srgbClr val="6E40C9"/>
                </a:gs>
                <a:gs pos="23000">
                  <a:srgbClr val="6E40C9"/>
                </a:gs>
                <a:gs pos="83000">
                  <a:srgbClr val="1158C7"/>
                </a:gs>
                <a:gs pos="100000">
                  <a:srgbClr val="1158C7"/>
                </a:gs>
              </a:gsLst>
              <a:lin ang="5400012"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1" i="0" u="none" strike="noStrike" cap="none">
                <a:solidFill>
                  <a:schemeClr val="dk1"/>
                </a:solidFill>
                <a:latin typeface="Arial"/>
                <a:ea typeface="Arial"/>
                <a:cs typeface="Arial"/>
                <a:sym typeface="Arial"/>
              </a:endParaRPr>
            </a:p>
          </p:txBody>
        </p:sp>
        <p:sp>
          <p:nvSpPr>
            <p:cNvPr id="4203" name="Google Shape;4203;p211"/>
            <p:cNvSpPr/>
            <p:nvPr/>
          </p:nvSpPr>
          <p:spPr>
            <a:xfrm>
              <a:off x="2996664" y="3278535"/>
              <a:ext cx="4202279" cy="2226360"/>
            </a:xfrm>
            <a:custGeom>
              <a:avLst/>
              <a:gdLst/>
              <a:ahLst/>
              <a:cxnLst/>
              <a:rect l="l" t="t" r="r" b="b"/>
              <a:pathLst>
                <a:path w="4202279" h="2226360" extrusionOk="0">
                  <a:moveTo>
                    <a:pt x="681228" y="0"/>
                  </a:moveTo>
                  <a:cubicBezTo>
                    <a:pt x="869344" y="0"/>
                    <a:pt x="1039651" y="76249"/>
                    <a:pt x="1162929" y="199527"/>
                  </a:cubicBezTo>
                  <a:lnTo>
                    <a:pt x="1223473" y="272908"/>
                  </a:lnTo>
                  <a:lnTo>
                    <a:pt x="1249700" y="327351"/>
                  </a:lnTo>
                  <a:cubicBezTo>
                    <a:pt x="1265851" y="357082"/>
                    <a:pt x="1283397" y="385945"/>
                    <a:pt x="1302251" y="413852"/>
                  </a:cubicBezTo>
                  <a:lnTo>
                    <a:pt x="1312483" y="427535"/>
                  </a:lnTo>
                  <a:lnTo>
                    <a:pt x="1362646" y="494617"/>
                  </a:lnTo>
                  <a:cubicBezTo>
                    <a:pt x="1555072" y="727784"/>
                    <a:pt x="1846283" y="876403"/>
                    <a:pt x="2172205" y="876403"/>
                  </a:cubicBezTo>
                  <a:cubicBezTo>
                    <a:pt x="2498128" y="876403"/>
                    <a:pt x="2789339" y="727784"/>
                    <a:pt x="2981764" y="494617"/>
                  </a:cubicBezTo>
                  <a:lnTo>
                    <a:pt x="3041972" y="414103"/>
                  </a:lnTo>
                  <a:lnTo>
                    <a:pt x="3038249" y="420961"/>
                  </a:lnTo>
                  <a:cubicBezTo>
                    <a:pt x="3003777" y="502462"/>
                    <a:pt x="2984715" y="592068"/>
                    <a:pt x="2984715" y="686126"/>
                  </a:cubicBezTo>
                  <a:cubicBezTo>
                    <a:pt x="2984715" y="1062358"/>
                    <a:pt x="3289711" y="1367354"/>
                    <a:pt x="3665943" y="1367354"/>
                  </a:cubicBezTo>
                  <a:cubicBezTo>
                    <a:pt x="3854059" y="1367354"/>
                    <a:pt x="4024366" y="1291105"/>
                    <a:pt x="4147644" y="1167827"/>
                  </a:cubicBezTo>
                  <a:lnTo>
                    <a:pt x="4202279" y="1101610"/>
                  </a:lnTo>
                  <a:lnTo>
                    <a:pt x="4161565" y="1168626"/>
                  </a:lnTo>
                  <a:cubicBezTo>
                    <a:pt x="3730432" y="1806787"/>
                    <a:pt x="3000317" y="2226360"/>
                    <a:pt x="2172205" y="2226360"/>
                  </a:cubicBezTo>
                  <a:cubicBezTo>
                    <a:pt x="1344093" y="2226360"/>
                    <a:pt x="613978" y="1806787"/>
                    <a:pt x="182845" y="1168626"/>
                  </a:cubicBezTo>
                  <a:lnTo>
                    <a:pt x="123137" y="1070344"/>
                  </a:lnTo>
                  <a:lnTo>
                    <a:pt x="101319" y="1034430"/>
                  </a:lnTo>
                  <a:lnTo>
                    <a:pt x="53534" y="946393"/>
                  </a:lnTo>
                  <a:cubicBezTo>
                    <a:pt x="19062" y="864892"/>
                    <a:pt x="0" y="775286"/>
                    <a:pt x="0" y="681228"/>
                  </a:cubicBezTo>
                  <a:cubicBezTo>
                    <a:pt x="0" y="304996"/>
                    <a:pt x="304996" y="0"/>
                    <a:pt x="681228" y="0"/>
                  </a:cubicBezTo>
                  <a:close/>
                </a:path>
              </a:pathLst>
            </a:custGeom>
            <a:gradFill>
              <a:gsLst>
                <a:gs pos="0">
                  <a:srgbClr val="1F6FEB"/>
                </a:gs>
                <a:gs pos="2000">
                  <a:srgbClr val="1F6FEB"/>
                </a:gs>
                <a:gs pos="100000">
                  <a:srgbClr val="A371F7"/>
                </a:gs>
              </a:gsLst>
              <a:lin ang="2700006"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1" i="0" u="none" strike="noStrike" cap="none">
                <a:solidFill>
                  <a:schemeClr val="dk1"/>
                </a:solidFill>
                <a:latin typeface="Arial"/>
                <a:ea typeface="Arial"/>
                <a:cs typeface="Arial"/>
                <a:sym typeface="Arial"/>
              </a:endParaRPr>
            </a:p>
          </p:txBody>
        </p:sp>
      </p:grpSp>
      <p:grpSp>
        <p:nvGrpSpPr>
          <p:cNvPr id="4204" name="Google Shape;4204;p211"/>
          <p:cNvGrpSpPr/>
          <p:nvPr/>
        </p:nvGrpSpPr>
        <p:grpSpPr>
          <a:xfrm>
            <a:off x="12253600" y="1"/>
            <a:ext cx="3438989" cy="3424452"/>
            <a:chOff x="22170399" y="777240"/>
            <a:chExt cx="6877978" cy="6848903"/>
          </a:xfrm>
        </p:grpSpPr>
        <p:grpSp>
          <p:nvGrpSpPr>
            <p:cNvPr id="4205" name="Google Shape;4205;p211"/>
            <p:cNvGrpSpPr/>
            <p:nvPr/>
          </p:nvGrpSpPr>
          <p:grpSpPr>
            <a:xfrm>
              <a:off x="22170399" y="777240"/>
              <a:ext cx="6877978" cy="6848903"/>
              <a:chOff x="22155159" y="0"/>
              <a:chExt cx="6877978" cy="6848903"/>
            </a:xfrm>
          </p:grpSpPr>
          <p:sp>
            <p:nvSpPr>
              <p:cNvPr id="4206" name="Google Shape;4206;p211"/>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207" name="Google Shape;4207;p211"/>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208" name="Google Shape;4208;p211"/>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209" name="Google Shape;4209;p211"/>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210" name="Google Shape;4210;p211"/>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211" name="Google Shape;4211;p211"/>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212" name="Google Shape;4212;p211"/>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213" name="Google Shape;4213;p211"/>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214" name="Google Shape;4214;p211"/>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215" name="Google Shape;4215;p211"/>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216" name="Google Shape;4216;p211"/>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217" name="Google Shape;4217;p211"/>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218" name="Google Shape;4218;p211"/>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219" name="Google Shape;4219;p211"/>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220" name="Google Shape;4220;p211"/>
          <p:cNvSpPr txBox="1">
            <a:spLocks noGrp="1"/>
          </p:cNvSpPr>
          <p:nvPr>
            <p:ph type="subTitle" idx="1"/>
          </p:nvPr>
        </p:nvSpPr>
        <p:spPr>
          <a:xfrm>
            <a:off x="573024" y="4185920"/>
            <a:ext cx="2743200" cy="3292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221" name="Google Shape;4221;p211"/>
          <p:cNvSpPr txBox="1">
            <a:spLocks noGrp="1"/>
          </p:cNvSpPr>
          <p:nvPr>
            <p:ph type="subTitle" idx="2"/>
          </p:nvPr>
        </p:nvSpPr>
        <p:spPr>
          <a:xfrm>
            <a:off x="573024" y="4271264"/>
            <a:ext cx="27432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222" name="Google Shape;4222;p211"/>
          <p:cNvSpPr txBox="1">
            <a:spLocks noGrp="1"/>
          </p:cNvSpPr>
          <p:nvPr>
            <p:ph type="subTitle" idx="3"/>
          </p:nvPr>
        </p:nvSpPr>
        <p:spPr>
          <a:xfrm>
            <a:off x="6327648" y="955040"/>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223" name="Google Shape;4223;p211"/>
          <p:cNvSpPr txBox="1">
            <a:spLocks noGrp="1"/>
          </p:cNvSpPr>
          <p:nvPr>
            <p:ph type="subTitle" idx="4"/>
          </p:nvPr>
        </p:nvSpPr>
        <p:spPr>
          <a:xfrm>
            <a:off x="6330848" y="1040384"/>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224" name="Google Shape;4224;p211"/>
          <p:cNvSpPr txBox="1">
            <a:spLocks noGrp="1"/>
          </p:cNvSpPr>
          <p:nvPr>
            <p:ph type="subTitle" idx="5"/>
          </p:nvPr>
        </p:nvSpPr>
        <p:spPr>
          <a:xfrm>
            <a:off x="8851392" y="4198112"/>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225" name="Google Shape;4225;p211"/>
          <p:cNvSpPr txBox="1">
            <a:spLocks noGrp="1"/>
          </p:cNvSpPr>
          <p:nvPr>
            <p:ph type="subTitle" idx="6"/>
          </p:nvPr>
        </p:nvSpPr>
        <p:spPr>
          <a:xfrm>
            <a:off x="8851392" y="4283456"/>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5964485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3" name="MS logo white - EMF" descr="Microsoft logo white text version">
            <a:extLst>
              <a:ext uri="{FF2B5EF4-FFF2-40B4-BE49-F238E27FC236}">
                <a16:creationId xmlns:a16="http://schemas.microsoft.com/office/drawing/2014/main" id="{93E329B9-3D6B-43EA-8364-331D930A2D0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28265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matchingName="77. Three part gradient cycle_2">
  <p:cSld name="77. Three part gradient cycle_2">
    <p:spTree>
      <p:nvGrpSpPr>
        <p:cNvPr id="1" name="Shape 4226"/>
        <p:cNvGrpSpPr/>
        <p:nvPr/>
      </p:nvGrpSpPr>
      <p:grpSpPr>
        <a:xfrm>
          <a:off x="0" y="0"/>
          <a:ext cx="0" cy="0"/>
          <a:chOff x="0" y="0"/>
          <a:chExt cx="0" cy="0"/>
        </a:xfrm>
      </p:grpSpPr>
      <p:grpSp>
        <p:nvGrpSpPr>
          <p:cNvPr id="4227" name="Google Shape;4227;p212"/>
          <p:cNvGrpSpPr/>
          <p:nvPr/>
        </p:nvGrpSpPr>
        <p:grpSpPr>
          <a:xfrm rot="-5400000" flipH="1">
            <a:off x="7890812" y="3582698"/>
            <a:ext cx="160049" cy="1390020"/>
            <a:chOff x="8582641" y="8238480"/>
            <a:chExt cx="320100" cy="2780040"/>
          </a:xfrm>
        </p:grpSpPr>
        <p:cxnSp>
          <p:nvCxnSpPr>
            <p:cNvPr id="4228" name="Google Shape;4228;p212"/>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229" name="Google Shape;4229;p212"/>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230" name="Google Shape;4230;p212"/>
          <p:cNvGrpSpPr/>
          <p:nvPr/>
        </p:nvGrpSpPr>
        <p:grpSpPr>
          <a:xfrm rot="10800000" flipH="1">
            <a:off x="6027636" y="971675"/>
            <a:ext cx="160049" cy="1390020"/>
            <a:chOff x="8582641" y="8238480"/>
            <a:chExt cx="320100" cy="2780040"/>
          </a:xfrm>
        </p:grpSpPr>
        <p:cxnSp>
          <p:nvCxnSpPr>
            <p:cNvPr id="4231" name="Google Shape;4231;p212"/>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232" name="Google Shape;4232;p212"/>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233" name="Google Shape;4233;p212"/>
          <p:cNvGrpSpPr/>
          <p:nvPr/>
        </p:nvGrpSpPr>
        <p:grpSpPr>
          <a:xfrm rot="5400000">
            <a:off x="4141658" y="3582698"/>
            <a:ext cx="160049" cy="1390020"/>
            <a:chOff x="8582641" y="8238480"/>
            <a:chExt cx="320100" cy="2780040"/>
          </a:xfrm>
        </p:grpSpPr>
        <p:cxnSp>
          <p:nvCxnSpPr>
            <p:cNvPr id="4234" name="Google Shape;4234;p212"/>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235" name="Google Shape;4235;p212"/>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236" name="Google Shape;4236;p212"/>
          <p:cNvGrpSpPr/>
          <p:nvPr/>
        </p:nvGrpSpPr>
        <p:grpSpPr>
          <a:xfrm>
            <a:off x="4262989" y="1828759"/>
            <a:ext cx="3665435" cy="3657328"/>
            <a:chOff x="2779615" y="736954"/>
            <a:chExt cx="4778508" cy="4767941"/>
          </a:xfrm>
        </p:grpSpPr>
        <p:sp>
          <p:nvSpPr>
            <p:cNvPr id="4237" name="Google Shape;4237;p212"/>
            <p:cNvSpPr/>
            <p:nvPr/>
          </p:nvSpPr>
          <p:spPr>
            <a:xfrm>
              <a:off x="5208381" y="741079"/>
              <a:ext cx="2349742" cy="3935040"/>
            </a:xfrm>
            <a:custGeom>
              <a:avLst/>
              <a:gdLst/>
              <a:ahLst/>
              <a:cxnLst/>
              <a:rect l="l" t="t" r="r" b="b"/>
              <a:pathLst>
                <a:path w="2349742" h="3935040" extrusionOk="0">
                  <a:moveTo>
                    <a:pt x="32367" y="0"/>
                  </a:moveTo>
                  <a:lnTo>
                    <a:pt x="195949" y="8260"/>
                  </a:lnTo>
                  <a:cubicBezTo>
                    <a:pt x="1405703" y="131117"/>
                    <a:pt x="2349742" y="1152792"/>
                    <a:pt x="2349742" y="2394960"/>
                  </a:cubicBezTo>
                  <a:cubicBezTo>
                    <a:pt x="2349742" y="2726205"/>
                    <a:pt x="2282611" y="3041770"/>
                    <a:pt x="2161210" y="3328793"/>
                  </a:cubicBezTo>
                  <a:lnTo>
                    <a:pt x="2076609" y="3504414"/>
                  </a:lnTo>
                  <a:lnTo>
                    <a:pt x="2060185" y="3538507"/>
                  </a:lnTo>
                  <a:lnTo>
                    <a:pt x="1980730" y="3669296"/>
                  </a:lnTo>
                  <a:lnTo>
                    <a:pt x="1926095" y="3735513"/>
                  </a:lnTo>
                  <a:cubicBezTo>
                    <a:pt x="1802817" y="3858791"/>
                    <a:pt x="1632510" y="3935040"/>
                    <a:pt x="1444394" y="3935040"/>
                  </a:cubicBezTo>
                  <a:cubicBezTo>
                    <a:pt x="1068162" y="3935040"/>
                    <a:pt x="763166" y="3630044"/>
                    <a:pt x="763166" y="3253812"/>
                  </a:cubicBezTo>
                  <a:cubicBezTo>
                    <a:pt x="763166" y="3159754"/>
                    <a:pt x="782228" y="3070148"/>
                    <a:pt x="816700" y="2988647"/>
                  </a:cubicBezTo>
                  <a:lnTo>
                    <a:pt x="820423" y="2981789"/>
                  </a:lnTo>
                  <a:lnTo>
                    <a:pt x="820610" y="2981538"/>
                  </a:lnTo>
                  <a:cubicBezTo>
                    <a:pt x="839464" y="2953631"/>
                    <a:pt x="857010" y="2924768"/>
                    <a:pt x="873161" y="2895037"/>
                  </a:cubicBezTo>
                  <a:lnTo>
                    <a:pt x="889844" y="2860405"/>
                  </a:lnTo>
                  <a:lnTo>
                    <a:pt x="917339" y="2803328"/>
                  </a:lnTo>
                  <a:cubicBezTo>
                    <a:pt x="970428" y="2677812"/>
                    <a:pt x="999785" y="2539815"/>
                    <a:pt x="999785" y="2394960"/>
                  </a:cubicBezTo>
                  <a:cubicBezTo>
                    <a:pt x="999785" y="1851756"/>
                    <a:pt x="586953" y="1404974"/>
                    <a:pt x="57923" y="1351248"/>
                  </a:cubicBezTo>
                  <a:lnTo>
                    <a:pt x="0" y="1348323"/>
                  </a:lnTo>
                  <a:lnTo>
                    <a:pt x="83375" y="1339918"/>
                  </a:lnTo>
                  <a:cubicBezTo>
                    <a:pt x="393800" y="1276396"/>
                    <a:pt x="627312" y="1001733"/>
                    <a:pt x="627312" y="672530"/>
                  </a:cubicBezTo>
                  <a:cubicBezTo>
                    <a:pt x="627312" y="343327"/>
                    <a:pt x="393800" y="68664"/>
                    <a:pt x="83375" y="5142"/>
                  </a:cubicBezTo>
                  <a:close/>
                </a:path>
              </a:pathLst>
            </a:custGeom>
            <a:gradFill>
              <a:gsLst>
                <a:gs pos="0">
                  <a:srgbClr val="2EA043"/>
                </a:gs>
                <a:gs pos="98000">
                  <a:srgbClr val="56D364"/>
                </a:gs>
                <a:gs pos="100000">
                  <a:srgbClr val="56D364"/>
                </a:gs>
              </a:gsLst>
              <a:lin ang="5400012"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1" i="0" u="none" strike="noStrike" cap="none">
                <a:solidFill>
                  <a:schemeClr val="dk1"/>
                </a:solidFill>
                <a:latin typeface="Arial"/>
                <a:ea typeface="Arial"/>
                <a:cs typeface="Arial"/>
                <a:sym typeface="Arial"/>
              </a:endParaRPr>
            </a:p>
          </p:txBody>
        </p:sp>
        <p:sp>
          <p:nvSpPr>
            <p:cNvPr id="4238" name="Google Shape;4238;p212"/>
            <p:cNvSpPr/>
            <p:nvPr/>
          </p:nvSpPr>
          <p:spPr>
            <a:xfrm>
              <a:off x="2779615" y="736954"/>
              <a:ext cx="3075742" cy="3606241"/>
            </a:xfrm>
            <a:custGeom>
              <a:avLst/>
              <a:gdLst/>
              <a:ahLst/>
              <a:cxnLst/>
              <a:rect l="l" t="t" r="r" b="b"/>
              <a:pathLst>
                <a:path w="3075742" h="3606241" extrusionOk="0">
                  <a:moveTo>
                    <a:pt x="2399086" y="0"/>
                  </a:moveTo>
                  <a:lnTo>
                    <a:pt x="2480797" y="4126"/>
                  </a:lnTo>
                  <a:lnTo>
                    <a:pt x="2531805" y="9268"/>
                  </a:lnTo>
                  <a:cubicBezTo>
                    <a:pt x="2842230" y="72790"/>
                    <a:pt x="3075742" y="347453"/>
                    <a:pt x="3075742" y="676656"/>
                  </a:cubicBezTo>
                  <a:cubicBezTo>
                    <a:pt x="3075742" y="1005859"/>
                    <a:pt x="2842230" y="1280522"/>
                    <a:pt x="2531805" y="1344044"/>
                  </a:cubicBezTo>
                  <a:lnTo>
                    <a:pt x="2448430" y="1352449"/>
                  </a:lnTo>
                  <a:lnTo>
                    <a:pt x="2399086" y="1349957"/>
                  </a:lnTo>
                  <a:lnTo>
                    <a:pt x="2343650" y="1352757"/>
                  </a:lnTo>
                  <a:lnTo>
                    <a:pt x="2343644" y="1352756"/>
                  </a:lnTo>
                  <a:lnTo>
                    <a:pt x="2291819" y="1355373"/>
                  </a:lnTo>
                  <a:cubicBezTo>
                    <a:pt x="1762789" y="1409099"/>
                    <a:pt x="1349957" y="1855881"/>
                    <a:pt x="1349957" y="2399085"/>
                  </a:cubicBezTo>
                  <a:cubicBezTo>
                    <a:pt x="1349957" y="2543940"/>
                    <a:pt x="1379314" y="2681937"/>
                    <a:pt x="1432403" y="2807453"/>
                  </a:cubicBezTo>
                  <a:lnTo>
                    <a:pt x="1450354" y="2844719"/>
                  </a:lnTo>
                  <a:lnTo>
                    <a:pt x="1389810" y="2771338"/>
                  </a:lnTo>
                  <a:cubicBezTo>
                    <a:pt x="1266532" y="2648060"/>
                    <a:pt x="1096225" y="2571811"/>
                    <a:pt x="908109" y="2571811"/>
                  </a:cubicBezTo>
                  <a:cubicBezTo>
                    <a:pt x="531877" y="2571811"/>
                    <a:pt x="226881" y="2876807"/>
                    <a:pt x="226881" y="3253039"/>
                  </a:cubicBezTo>
                  <a:cubicBezTo>
                    <a:pt x="226881" y="3347097"/>
                    <a:pt x="245943" y="3436703"/>
                    <a:pt x="280415" y="3518204"/>
                  </a:cubicBezTo>
                  <a:lnTo>
                    <a:pt x="328200" y="3606241"/>
                  </a:lnTo>
                  <a:lnTo>
                    <a:pt x="289557" y="3542632"/>
                  </a:lnTo>
                  <a:cubicBezTo>
                    <a:pt x="104893" y="3202698"/>
                    <a:pt x="0" y="2813141"/>
                    <a:pt x="0" y="2399085"/>
                  </a:cubicBezTo>
                  <a:cubicBezTo>
                    <a:pt x="0" y="1156917"/>
                    <a:pt x="944039" y="135242"/>
                    <a:pt x="2153793" y="12385"/>
                  </a:cubicBezTo>
                  <a:lnTo>
                    <a:pt x="2299055" y="5050"/>
                  </a:lnTo>
                  <a:lnTo>
                    <a:pt x="2257223" y="9267"/>
                  </a:lnTo>
                  <a:cubicBezTo>
                    <a:pt x="1946799" y="72789"/>
                    <a:pt x="1713286" y="347452"/>
                    <a:pt x="1713286" y="676655"/>
                  </a:cubicBezTo>
                  <a:lnTo>
                    <a:pt x="1713286" y="676656"/>
                  </a:lnTo>
                  <a:lnTo>
                    <a:pt x="1723926" y="556067"/>
                  </a:lnTo>
                  <a:cubicBezTo>
                    <a:pt x="1772866" y="282086"/>
                    <a:pt x="1985602" y="64850"/>
                    <a:pt x="2257223" y="9268"/>
                  </a:cubicBezTo>
                  <a:lnTo>
                    <a:pt x="2299055" y="5051"/>
                  </a:lnTo>
                  <a:close/>
                </a:path>
              </a:pathLst>
            </a:custGeom>
            <a:gradFill>
              <a:gsLst>
                <a:gs pos="0">
                  <a:srgbClr val="56D364"/>
                </a:gs>
                <a:gs pos="54000">
                  <a:srgbClr val="388BFD"/>
                </a:gs>
                <a:gs pos="100000">
                  <a:srgbClr val="388BFD"/>
                </a:gs>
              </a:gsLst>
              <a:lin ang="5400012"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1" i="0" u="none" strike="noStrike" cap="none">
                <a:solidFill>
                  <a:schemeClr val="dk1"/>
                </a:solidFill>
                <a:latin typeface="Arial"/>
                <a:ea typeface="Arial"/>
                <a:cs typeface="Arial"/>
                <a:sym typeface="Arial"/>
              </a:endParaRPr>
            </a:p>
          </p:txBody>
        </p:sp>
        <p:sp>
          <p:nvSpPr>
            <p:cNvPr id="4239" name="Google Shape;4239;p212"/>
            <p:cNvSpPr/>
            <p:nvPr/>
          </p:nvSpPr>
          <p:spPr>
            <a:xfrm>
              <a:off x="2996664" y="3278535"/>
              <a:ext cx="4202279" cy="2226360"/>
            </a:xfrm>
            <a:custGeom>
              <a:avLst/>
              <a:gdLst/>
              <a:ahLst/>
              <a:cxnLst/>
              <a:rect l="l" t="t" r="r" b="b"/>
              <a:pathLst>
                <a:path w="4202279" h="2226360" extrusionOk="0">
                  <a:moveTo>
                    <a:pt x="681228" y="0"/>
                  </a:moveTo>
                  <a:cubicBezTo>
                    <a:pt x="869344" y="0"/>
                    <a:pt x="1039651" y="76249"/>
                    <a:pt x="1162929" y="199527"/>
                  </a:cubicBezTo>
                  <a:lnTo>
                    <a:pt x="1223473" y="272908"/>
                  </a:lnTo>
                  <a:lnTo>
                    <a:pt x="1249700" y="327351"/>
                  </a:lnTo>
                  <a:cubicBezTo>
                    <a:pt x="1265851" y="357082"/>
                    <a:pt x="1283397" y="385945"/>
                    <a:pt x="1302251" y="413852"/>
                  </a:cubicBezTo>
                  <a:lnTo>
                    <a:pt x="1312483" y="427535"/>
                  </a:lnTo>
                  <a:lnTo>
                    <a:pt x="1362646" y="494617"/>
                  </a:lnTo>
                  <a:cubicBezTo>
                    <a:pt x="1555072" y="727784"/>
                    <a:pt x="1846283" y="876403"/>
                    <a:pt x="2172205" y="876403"/>
                  </a:cubicBezTo>
                  <a:cubicBezTo>
                    <a:pt x="2498128" y="876403"/>
                    <a:pt x="2789339" y="727784"/>
                    <a:pt x="2981764" y="494617"/>
                  </a:cubicBezTo>
                  <a:lnTo>
                    <a:pt x="3041972" y="414103"/>
                  </a:lnTo>
                  <a:lnTo>
                    <a:pt x="3038249" y="420961"/>
                  </a:lnTo>
                  <a:cubicBezTo>
                    <a:pt x="3003777" y="502462"/>
                    <a:pt x="2984715" y="592068"/>
                    <a:pt x="2984715" y="686126"/>
                  </a:cubicBezTo>
                  <a:cubicBezTo>
                    <a:pt x="2984715" y="1062358"/>
                    <a:pt x="3289711" y="1367354"/>
                    <a:pt x="3665943" y="1367354"/>
                  </a:cubicBezTo>
                  <a:cubicBezTo>
                    <a:pt x="3854059" y="1367354"/>
                    <a:pt x="4024366" y="1291105"/>
                    <a:pt x="4147644" y="1167827"/>
                  </a:cubicBezTo>
                  <a:lnTo>
                    <a:pt x="4202279" y="1101610"/>
                  </a:lnTo>
                  <a:lnTo>
                    <a:pt x="4161565" y="1168626"/>
                  </a:lnTo>
                  <a:cubicBezTo>
                    <a:pt x="3730432" y="1806787"/>
                    <a:pt x="3000317" y="2226360"/>
                    <a:pt x="2172205" y="2226360"/>
                  </a:cubicBezTo>
                  <a:cubicBezTo>
                    <a:pt x="1344093" y="2226360"/>
                    <a:pt x="613978" y="1806787"/>
                    <a:pt x="182845" y="1168626"/>
                  </a:cubicBezTo>
                  <a:lnTo>
                    <a:pt x="123137" y="1070344"/>
                  </a:lnTo>
                  <a:lnTo>
                    <a:pt x="101319" y="1034430"/>
                  </a:lnTo>
                  <a:lnTo>
                    <a:pt x="53534" y="946393"/>
                  </a:lnTo>
                  <a:cubicBezTo>
                    <a:pt x="19062" y="864892"/>
                    <a:pt x="0" y="775286"/>
                    <a:pt x="0" y="681228"/>
                  </a:cubicBezTo>
                  <a:cubicBezTo>
                    <a:pt x="0" y="304996"/>
                    <a:pt x="304996" y="0"/>
                    <a:pt x="681228" y="0"/>
                  </a:cubicBezTo>
                  <a:close/>
                </a:path>
              </a:pathLst>
            </a:custGeom>
            <a:gradFill>
              <a:gsLst>
                <a:gs pos="0">
                  <a:srgbClr val="1158C7"/>
                </a:gs>
                <a:gs pos="18000">
                  <a:srgbClr val="1158C7"/>
                </a:gs>
                <a:gs pos="100000">
                  <a:srgbClr val="56D364"/>
                </a:gs>
              </a:gsLst>
              <a:lin ang="2700006"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66" b="1" i="0" u="none" strike="noStrike" cap="none">
                <a:solidFill>
                  <a:schemeClr val="dk1"/>
                </a:solidFill>
                <a:latin typeface="Arial"/>
                <a:ea typeface="Arial"/>
                <a:cs typeface="Arial"/>
                <a:sym typeface="Arial"/>
              </a:endParaRPr>
            </a:p>
          </p:txBody>
        </p:sp>
      </p:grpSp>
      <p:grpSp>
        <p:nvGrpSpPr>
          <p:cNvPr id="4240" name="Google Shape;4240;p212"/>
          <p:cNvGrpSpPr/>
          <p:nvPr/>
        </p:nvGrpSpPr>
        <p:grpSpPr>
          <a:xfrm>
            <a:off x="12253600" y="1"/>
            <a:ext cx="3438989" cy="3424452"/>
            <a:chOff x="22170399" y="777240"/>
            <a:chExt cx="6877978" cy="6848903"/>
          </a:xfrm>
        </p:grpSpPr>
        <p:grpSp>
          <p:nvGrpSpPr>
            <p:cNvPr id="4241" name="Google Shape;4241;p212"/>
            <p:cNvGrpSpPr/>
            <p:nvPr/>
          </p:nvGrpSpPr>
          <p:grpSpPr>
            <a:xfrm>
              <a:off x="22170399" y="777240"/>
              <a:ext cx="6877978" cy="6848903"/>
              <a:chOff x="22155159" y="0"/>
              <a:chExt cx="6877978" cy="6848903"/>
            </a:xfrm>
          </p:grpSpPr>
          <p:sp>
            <p:nvSpPr>
              <p:cNvPr id="4242" name="Google Shape;4242;p212"/>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243" name="Google Shape;4243;p212"/>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244" name="Google Shape;4244;p212"/>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245" name="Google Shape;4245;p212"/>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246" name="Google Shape;4246;p212"/>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247" name="Google Shape;4247;p212"/>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248" name="Google Shape;4248;p212"/>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249" name="Google Shape;4249;p212"/>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250" name="Google Shape;4250;p212"/>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251" name="Google Shape;4251;p212"/>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252" name="Google Shape;4252;p212"/>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253" name="Google Shape;4253;p212"/>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254" name="Google Shape;4254;p212"/>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255" name="Google Shape;4255;p212"/>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256" name="Google Shape;4256;p212"/>
          <p:cNvSpPr txBox="1">
            <a:spLocks noGrp="1"/>
          </p:cNvSpPr>
          <p:nvPr>
            <p:ph type="subTitle" idx="1"/>
          </p:nvPr>
        </p:nvSpPr>
        <p:spPr>
          <a:xfrm>
            <a:off x="573024" y="4185920"/>
            <a:ext cx="2743200" cy="3292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257" name="Google Shape;4257;p212"/>
          <p:cNvSpPr txBox="1">
            <a:spLocks noGrp="1"/>
          </p:cNvSpPr>
          <p:nvPr>
            <p:ph type="subTitle" idx="2"/>
          </p:nvPr>
        </p:nvSpPr>
        <p:spPr>
          <a:xfrm>
            <a:off x="573024" y="4271264"/>
            <a:ext cx="27432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258" name="Google Shape;4258;p212"/>
          <p:cNvSpPr txBox="1">
            <a:spLocks noGrp="1"/>
          </p:cNvSpPr>
          <p:nvPr>
            <p:ph type="subTitle" idx="3"/>
          </p:nvPr>
        </p:nvSpPr>
        <p:spPr>
          <a:xfrm>
            <a:off x="6327648" y="955040"/>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259" name="Google Shape;4259;p212"/>
          <p:cNvSpPr txBox="1">
            <a:spLocks noGrp="1"/>
          </p:cNvSpPr>
          <p:nvPr>
            <p:ph type="subTitle" idx="4"/>
          </p:nvPr>
        </p:nvSpPr>
        <p:spPr>
          <a:xfrm>
            <a:off x="6330848" y="1040384"/>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260" name="Google Shape;4260;p212"/>
          <p:cNvSpPr txBox="1">
            <a:spLocks noGrp="1"/>
          </p:cNvSpPr>
          <p:nvPr>
            <p:ph type="subTitle" idx="5"/>
          </p:nvPr>
        </p:nvSpPr>
        <p:spPr>
          <a:xfrm>
            <a:off x="8851392" y="4198112"/>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261" name="Google Shape;4261;p212"/>
          <p:cNvSpPr txBox="1">
            <a:spLocks noGrp="1"/>
          </p:cNvSpPr>
          <p:nvPr>
            <p:ph type="subTitle" idx="6"/>
          </p:nvPr>
        </p:nvSpPr>
        <p:spPr>
          <a:xfrm>
            <a:off x="8851392" y="4283456"/>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319369225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matchingName="78. Five part cycle">
  <p:cSld name="78. Five part cycle">
    <p:spTree>
      <p:nvGrpSpPr>
        <p:cNvPr id="1" name="Shape 4262"/>
        <p:cNvGrpSpPr/>
        <p:nvPr/>
      </p:nvGrpSpPr>
      <p:grpSpPr>
        <a:xfrm>
          <a:off x="0" y="0"/>
          <a:ext cx="0" cy="0"/>
          <a:chOff x="0" y="0"/>
          <a:chExt cx="0" cy="0"/>
        </a:xfrm>
      </p:grpSpPr>
      <p:sp>
        <p:nvSpPr>
          <p:cNvPr id="4263" name="Google Shape;4263;p213"/>
          <p:cNvSpPr/>
          <p:nvPr/>
        </p:nvSpPr>
        <p:spPr>
          <a:xfrm>
            <a:off x="4519941" y="1885975"/>
            <a:ext cx="3105200" cy="3105200"/>
          </a:xfrm>
          <a:prstGeom prst="arc">
            <a:avLst>
              <a:gd name="adj1" fmla="val 16200000"/>
              <a:gd name="adj2" fmla="val 14515036"/>
            </a:avLst>
          </a:prstGeom>
          <a:noFill/>
          <a:ln w="19050" cap="rnd" cmpd="sng">
            <a:solidFill>
              <a:schemeClr val="dk2"/>
            </a:solidFill>
            <a:prstDash val="solid"/>
            <a:round/>
            <a:headEnd type="none" w="sm" len="sm"/>
            <a:tailEnd type="triangle" w="med" len="med"/>
          </a:ln>
        </p:spPr>
        <p:txBody>
          <a:bodyPr spcFirstLastPara="1" wrap="square" lIns="45700" tIns="22867" rIns="45700" bIns="22867" anchor="t" anchorCtr="0">
            <a:noAutofit/>
          </a:bodyPr>
          <a:lstStyle/>
          <a:p>
            <a:pPr marL="0" marR="0" lvl="0" indent="0" algn="l" rtl="0">
              <a:lnSpc>
                <a:spcPct val="100000"/>
              </a:lnSpc>
              <a:spcBef>
                <a:spcPts val="0"/>
              </a:spcBef>
              <a:spcAft>
                <a:spcPts val="0"/>
              </a:spcAft>
              <a:buClr>
                <a:srgbClr val="F0F6FC"/>
              </a:buClr>
              <a:buSzPts val="700"/>
              <a:buFont typeface="Arial"/>
              <a:buNone/>
            </a:pPr>
            <a:endParaRPr sz="933" b="0" i="0" u="none" strike="noStrike" cap="none">
              <a:solidFill>
                <a:srgbClr val="000000"/>
              </a:solidFill>
              <a:latin typeface="Arial"/>
              <a:ea typeface="Arial"/>
              <a:cs typeface="Arial"/>
              <a:sym typeface="Arial"/>
            </a:endParaRPr>
          </a:p>
        </p:txBody>
      </p:sp>
      <p:sp>
        <p:nvSpPr>
          <p:cNvPr id="4264" name="Google Shape;4264;p213"/>
          <p:cNvSpPr/>
          <p:nvPr/>
        </p:nvSpPr>
        <p:spPr>
          <a:xfrm>
            <a:off x="7160307" y="2684025"/>
            <a:ext cx="731600" cy="7316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265" name="Google Shape;4265;p213"/>
          <p:cNvSpPr/>
          <p:nvPr/>
        </p:nvSpPr>
        <p:spPr>
          <a:xfrm>
            <a:off x="6647520" y="4259532"/>
            <a:ext cx="731600" cy="7316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266" name="Google Shape;4266;p213"/>
          <p:cNvSpPr/>
          <p:nvPr/>
        </p:nvSpPr>
        <p:spPr>
          <a:xfrm>
            <a:off x="4721248" y="4259507"/>
            <a:ext cx="731600" cy="731600"/>
          </a:xfrm>
          <a:prstGeom prst="ellipse">
            <a:avLst/>
          </a:prstGeom>
          <a:solidFill>
            <a:srgbClr val="090C0F"/>
          </a:solidFill>
          <a:ln w="19050" cap="flat" cmpd="sng">
            <a:solidFill>
              <a:schemeClr val="accent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267" name="Google Shape;4267;p213"/>
          <p:cNvSpPr/>
          <p:nvPr/>
        </p:nvSpPr>
        <p:spPr>
          <a:xfrm>
            <a:off x="4300092" y="2684025"/>
            <a:ext cx="731600" cy="731600"/>
          </a:xfrm>
          <a:prstGeom prst="ellipse">
            <a:avLst/>
          </a:prstGeom>
          <a:solidFill>
            <a:srgbClr val="090C0F"/>
          </a:solidFill>
          <a:ln w="19050" cap="flat" cmpd="sng">
            <a:solidFill>
              <a:schemeClr val="accent5"/>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268" name="Google Shape;4268;p213"/>
          <p:cNvSpPr/>
          <p:nvPr/>
        </p:nvSpPr>
        <p:spPr>
          <a:xfrm>
            <a:off x="5706700" y="1581157"/>
            <a:ext cx="7316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269" name="Google Shape;4269;p213"/>
          <p:cNvGrpSpPr/>
          <p:nvPr/>
        </p:nvGrpSpPr>
        <p:grpSpPr>
          <a:xfrm>
            <a:off x="12253600" y="1"/>
            <a:ext cx="3438989" cy="3424452"/>
            <a:chOff x="22170399" y="777240"/>
            <a:chExt cx="6877978" cy="6848903"/>
          </a:xfrm>
        </p:grpSpPr>
        <p:grpSp>
          <p:nvGrpSpPr>
            <p:cNvPr id="4270" name="Google Shape;4270;p213"/>
            <p:cNvGrpSpPr/>
            <p:nvPr/>
          </p:nvGrpSpPr>
          <p:grpSpPr>
            <a:xfrm>
              <a:off x="22170399" y="777240"/>
              <a:ext cx="6877978" cy="6848903"/>
              <a:chOff x="22155159" y="0"/>
              <a:chExt cx="6877978" cy="6848903"/>
            </a:xfrm>
          </p:grpSpPr>
          <p:sp>
            <p:nvSpPr>
              <p:cNvPr id="4271" name="Google Shape;4271;p213"/>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272" name="Google Shape;4272;p213"/>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273" name="Google Shape;4273;p213"/>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274" name="Google Shape;4274;p213"/>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275" name="Google Shape;4275;p213"/>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276" name="Google Shape;4276;p213"/>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277" name="Google Shape;4277;p213"/>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278" name="Google Shape;4278;p213"/>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279" name="Google Shape;4279;p213"/>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280" name="Google Shape;4280;p213"/>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281" name="Google Shape;4281;p213"/>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282" name="Google Shape;4282;p213"/>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283" name="Google Shape;4283;p213"/>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284" name="Google Shape;4284;p213"/>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285" name="Google Shape;4285;p213"/>
          <p:cNvSpPr txBox="1">
            <a:spLocks noGrp="1"/>
          </p:cNvSpPr>
          <p:nvPr>
            <p:ph type="subTitle" idx="1"/>
          </p:nvPr>
        </p:nvSpPr>
        <p:spPr>
          <a:xfrm>
            <a:off x="1284224" y="2966720"/>
            <a:ext cx="2743200" cy="3292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286" name="Google Shape;4286;p213"/>
          <p:cNvSpPr txBox="1">
            <a:spLocks noGrp="1"/>
          </p:cNvSpPr>
          <p:nvPr>
            <p:ph type="subTitle" idx="2"/>
          </p:nvPr>
        </p:nvSpPr>
        <p:spPr>
          <a:xfrm>
            <a:off x="1284224" y="3052064"/>
            <a:ext cx="27432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287" name="Google Shape;4287;p213"/>
          <p:cNvSpPr txBox="1">
            <a:spLocks noGrp="1"/>
          </p:cNvSpPr>
          <p:nvPr>
            <p:ph type="subTitle" idx="3"/>
          </p:nvPr>
        </p:nvSpPr>
        <p:spPr>
          <a:xfrm>
            <a:off x="5706715" y="769040"/>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288" name="Google Shape;4288;p213"/>
          <p:cNvSpPr txBox="1">
            <a:spLocks noGrp="1"/>
          </p:cNvSpPr>
          <p:nvPr>
            <p:ph type="subTitle" idx="4"/>
          </p:nvPr>
        </p:nvSpPr>
        <p:spPr>
          <a:xfrm>
            <a:off x="5709915" y="854384"/>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289" name="Google Shape;4289;p213"/>
          <p:cNvSpPr txBox="1">
            <a:spLocks noGrp="1"/>
          </p:cNvSpPr>
          <p:nvPr>
            <p:ph type="subTitle" idx="5"/>
          </p:nvPr>
        </p:nvSpPr>
        <p:spPr>
          <a:xfrm>
            <a:off x="7445248" y="4701087"/>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290" name="Google Shape;4290;p213"/>
          <p:cNvSpPr txBox="1">
            <a:spLocks noGrp="1"/>
          </p:cNvSpPr>
          <p:nvPr>
            <p:ph type="subTitle" idx="6"/>
          </p:nvPr>
        </p:nvSpPr>
        <p:spPr>
          <a:xfrm>
            <a:off x="7445248" y="4779264"/>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291" name="Google Shape;4291;p213"/>
          <p:cNvSpPr txBox="1">
            <a:spLocks noGrp="1"/>
          </p:cNvSpPr>
          <p:nvPr>
            <p:ph type="subTitle" idx="7"/>
          </p:nvPr>
        </p:nvSpPr>
        <p:spPr>
          <a:xfrm>
            <a:off x="8047325" y="3013163"/>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292" name="Google Shape;4292;p213"/>
          <p:cNvSpPr txBox="1">
            <a:spLocks noGrp="1"/>
          </p:cNvSpPr>
          <p:nvPr>
            <p:ph type="subTitle" idx="8"/>
          </p:nvPr>
        </p:nvSpPr>
        <p:spPr>
          <a:xfrm>
            <a:off x="8047325" y="3098507"/>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293" name="Google Shape;4293;p213"/>
          <p:cNvSpPr txBox="1">
            <a:spLocks noGrp="1"/>
          </p:cNvSpPr>
          <p:nvPr>
            <p:ph type="subTitle" idx="9"/>
          </p:nvPr>
        </p:nvSpPr>
        <p:spPr>
          <a:xfrm>
            <a:off x="1707248" y="4701087"/>
            <a:ext cx="2743200" cy="3292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294" name="Google Shape;4294;p213"/>
          <p:cNvSpPr txBox="1">
            <a:spLocks noGrp="1"/>
          </p:cNvSpPr>
          <p:nvPr>
            <p:ph type="subTitle" idx="13"/>
          </p:nvPr>
        </p:nvSpPr>
        <p:spPr>
          <a:xfrm>
            <a:off x="1707248" y="4779264"/>
            <a:ext cx="27432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43724334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matchingName="79. Six part cycle">
  <p:cSld name="79. Six part cycle">
    <p:spTree>
      <p:nvGrpSpPr>
        <p:cNvPr id="1" name="Shape 4295"/>
        <p:cNvGrpSpPr/>
        <p:nvPr/>
      </p:nvGrpSpPr>
      <p:grpSpPr>
        <a:xfrm>
          <a:off x="0" y="0"/>
          <a:ext cx="0" cy="0"/>
          <a:chOff x="0" y="0"/>
          <a:chExt cx="0" cy="0"/>
        </a:xfrm>
      </p:grpSpPr>
      <p:sp>
        <p:nvSpPr>
          <p:cNvPr id="4296" name="Google Shape;4296;p214"/>
          <p:cNvSpPr/>
          <p:nvPr/>
        </p:nvSpPr>
        <p:spPr>
          <a:xfrm>
            <a:off x="4543424" y="1711324"/>
            <a:ext cx="3105200" cy="3105200"/>
          </a:xfrm>
          <a:prstGeom prst="arc">
            <a:avLst>
              <a:gd name="adj1" fmla="val 16200000"/>
              <a:gd name="adj2" fmla="val 14515036"/>
            </a:avLst>
          </a:prstGeom>
          <a:noFill/>
          <a:ln w="19050" cap="rnd" cmpd="sng">
            <a:solidFill>
              <a:schemeClr val="dk2"/>
            </a:solidFill>
            <a:prstDash val="solid"/>
            <a:round/>
            <a:headEnd type="none" w="sm" len="sm"/>
            <a:tailEnd type="triangle" w="med" len="med"/>
          </a:ln>
        </p:spPr>
        <p:txBody>
          <a:bodyPr spcFirstLastPara="1" wrap="square" lIns="45700" tIns="22867" rIns="45700" bIns="22867" anchor="t" anchorCtr="0">
            <a:noAutofit/>
          </a:bodyPr>
          <a:lstStyle/>
          <a:p>
            <a:pPr marL="0" marR="0" lvl="0" indent="0" algn="l" rtl="0">
              <a:lnSpc>
                <a:spcPct val="100000"/>
              </a:lnSpc>
              <a:spcBef>
                <a:spcPts val="0"/>
              </a:spcBef>
              <a:spcAft>
                <a:spcPts val="0"/>
              </a:spcAft>
              <a:buClr>
                <a:srgbClr val="F0F6FC"/>
              </a:buClr>
              <a:buSzPts val="700"/>
              <a:buFont typeface="Arial"/>
              <a:buNone/>
            </a:pPr>
            <a:endParaRPr sz="933" b="0" i="0" u="none" strike="noStrike" cap="none">
              <a:solidFill>
                <a:srgbClr val="000000"/>
              </a:solidFill>
              <a:latin typeface="Arial"/>
              <a:ea typeface="Arial"/>
              <a:cs typeface="Arial"/>
              <a:sym typeface="Arial"/>
            </a:endParaRPr>
          </a:p>
        </p:txBody>
      </p:sp>
      <p:sp>
        <p:nvSpPr>
          <p:cNvPr id="4297" name="Google Shape;4297;p214"/>
          <p:cNvSpPr/>
          <p:nvPr/>
        </p:nvSpPr>
        <p:spPr>
          <a:xfrm>
            <a:off x="7036781" y="2060505"/>
            <a:ext cx="731600" cy="7316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298" name="Google Shape;4298;p214"/>
          <p:cNvSpPr/>
          <p:nvPr/>
        </p:nvSpPr>
        <p:spPr>
          <a:xfrm>
            <a:off x="4466600" y="2063788"/>
            <a:ext cx="731600" cy="731600"/>
          </a:xfrm>
          <a:prstGeom prst="ellipse">
            <a:avLst/>
          </a:prstGeom>
          <a:solidFill>
            <a:srgbClr val="090C0F"/>
          </a:solidFill>
          <a:ln w="19050" cap="flat" cmpd="sng">
            <a:solidFill>
              <a:schemeClr val="accent6"/>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299" name="Google Shape;4299;p214"/>
          <p:cNvSpPr/>
          <p:nvPr/>
        </p:nvSpPr>
        <p:spPr>
          <a:xfrm>
            <a:off x="7138381" y="3491747"/>
            <a:ext cx="731600" cy="7316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300" name="Google Shape;4300;p214"/>
          <p:cNvSpPr/>
          <p:nvPr/>
        </p:nvSpPr>
        <p:spPr>
          <a:xfrm>
            <a:off x="4365000" y="3603213"/>
            <a:ext cx="731600" cy="731600"/>
          </a:xfrm>
          <a:prstGeom prst="ellipse">
            <a:avLst/>
          </a:prstGeom>
          <a:solidFill>
            <a:srgbClr val="090C0F"/>
          </a:solidFill>
          <a:ln w="19050" cap="flat" cmpd="sng">
            <a:solidFill>
              <a:schemeClr val="accent5"/>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301" name="Google Shape;4301;p214"/>
          <p:cNvSpPr/>
          <p:nvPr/>
        </p:nvSpPr>
        <p:spPr>
          <a:xfrm>
            <a:off x="5693651" y="1316908"/>
            <a:ext cx="7316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302" name="Google Shape;4302;p214"/>
          <p:cNvSpPr/>
          <p:nvPr/>
        </p:nvSpPr>
        <p:spPr>
          <a:xfrm>
            <a:off x="5730184" y="4402492"/>
            <a:ext cx="731600" cy="731600"/>
          </a:xfrm>
          <a:prstGeom prst="ellipse">
            <a:avLst/>
          </a:prstGeom>
          <a:solidFill>
            <a:srgbClr val="090C0F"/>
          </a:solidFill>
          <a:ln w="19050" cap="flat" cmpd="sng">
            <a:solidFill>
              <a:schemeClr val="accent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303" name="Google Shape;4303;p214"/>
          <p:cNvGrpSpPr/>
          <p:nvPr/>
        </p:nvGrpSpPr>
        <p:grpSpPr>
          <a:xfrm>
            <a:off x="12253600" y="1"/>
            <a:ext cx="3438989" cy="3424452"/>
            <a:chOff x="22170399" y="777240"/>
            <a:chExt cx="6877978" cy="6848903"/>
          </a:xfrm>
        </p:grpSpPr>
        <p:grpSp>
          <p:nvGrpSpPr>
            <p:cNvPr id="4304" name="Google Shape;4304;p214"/>
            <p:cNvGrpSpPr/>
            <p:nvPr/>
          </p:nvGrpSpPr>
          <p:grpSpPr>
            <a:xfrm>
              <a:off x="22170399" y="777240"/>
              <a:ext cx="6877978" cy="6848903"/>
              <a:chOff x="22155159" y="0"/>
              <a:chExt cx="6877978" cy="6848903"/>
            </a:xfrm>
          </p:grpSpPr>
          <p:sp>
            <p:nvSpPr>
              <p:cNvPr id="4305" name="Google Shape;4305;p214"/>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306" name="Google Shape;4306;p214"/>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307" name="Google Shape;4307;p214"/>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308" name="Google Shape;4308;p214"/>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309" name="Google Shape;4309;p214"/>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310" name="Google Shape;4310;p214"/>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311" name="Google Shape;4311;p214"/>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312" name="Google Shape;4312;p214"/>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313" name="Google Shape;4313;p214"/>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314" name="Google Shape;4314;p214"/>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315" name="Google Shape;4315;p214"/>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316" name="Google Shape;4316;p214"/>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317" name="Google Shape;4317;p214"/>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318" name="Google Shape;4318;p214"/>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319" name="Google Shape;4319;p214"/>
          <p:cNvSpPr txBox="1">
            <a:spLocks noGrp="1"/>
          </p:cNvSpPr>
          <p:nvPr>
            <p:ph type="subTitle" idx="1"/>
          </p:nvPr>
        </p:nvSpPr>
        <p:spPr>
          <a:xfrm>
            <a:off x="1284224" y="2357120"/>
            <a:ext cx="2743200" cy="3292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320" name="Google Shape;4320;p214"/>
          <p:cNvSpPr txBox="1">
            <a:spLocks noGrp="1"/>
          </p:cNvSpPr>
          <p:nvPr>
            <p:ph type="subTitle" idx="2"/>
          </p:nvPr>
        </p:nvSpPr>
        <p:spPr>
          <a:xfrm>
            <a:off x="1284224" y="2442464"/>
            <a:ext cx="27432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321" name="Google Shape;4321;p214"/>
          <p:cNvSpPr txBox="1">
            <a:spLocks noGrp="1"/>
          </p:cNvSpPr>
          <p:nvPr>
            <p:ph type="subTitle" idx="3"/>
          </p:nvPr>
        </p:nvSpPr>
        <p:spPr>
          <a:xfrm>
            <a:off x="5605101" y="565833"/>
            <a:ext cx="41208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322" name="Google Shape;4322;p214"/>
          <p:cNvSpPr txBox="1">
            <a:spLocks noGrp="1"/>
          </p:cNvSpPr>
          <p:nvPr>
            <p:ph type="subTitle" idx="4"/>
          </p:nvPr>
        </p:nvSpPr>
        <p:spPr>
          <a:xfrm>
            <a:off x="5608293" y="651200"/>
            <a:ext cx="4120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323" name="Google Shape;4323;p214"/>
          <p:cNvSpPr txBox="1">
            <a:spLocks noGrp="1"/>
          </p:cNvSpPr>
          <p:nvPr>
            <p:ph type="subTitle" idx="5"/>
          </p:nvPr>
        </p:nvSpPr>
        <p:spPr>
          <a:xfrm>
            <a:off x="7961381" y="3824437"/>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324" name="Google Shape;4324;p214"/>
          <p:cNvSpPr txBox="1">
            <a:spLocks noGrp="1"/>
          </p:cNvSpPr>
          <p:nvPr>
            <p:ph type="subTitle" idx="6"/>
          </p:nvPr>
        </p:nvSpPr>
        <p:spPr>
          <a:xfrm>
            <a:off x="7961381" y="3902615"/>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325" name="Google Shape;4325;p214"/>
          <p:cNvSpPr txBox="1">
            <a:spLocks noGrp="1"/>
          </p:cNvSpPr>
          <p:nvPr>
            <p:ph type="subTitle" idx="7"/>
          </p:nvPr>
        </p:nvSpPr>
        <p:spPr>
          <a:xfrm>
            <a:off x="7963725" y="2291329"/>
            <a:ext cx="27432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326" name="Google Shape;4326;p214"/>
          <p:cNvSpPr txBox="1">
            <a:spLocks noGrp="1"/>
          </p:cNvSpPr>
          <p:nvPr>
            <p:ph type="subTitle" idx="8"/>
          </p:nvPr>
        </p:nvSpPr>
        <p:spPr>
          <a:xfrm>
            <a:off x="7963725" y="2376672"/>
            <a:ext cx="27432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327" name="Google Shape;4327;p214"/>
          <p:cNvSpPr txBox="1">
            <a:spLocks noGrp="1"/>
          </p:cNvSpPr>
          <p:nvPr>
            <p:ph type="subTitle" idx="9"/>
          </p:nvPr>
        </p:nvSpPr>
        <p:spPr>
          <a:xfrm>
            <a:off x="1300848" y="3888287"/>
            <a:ext cx="2743200" cy="3292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328" name="Google Shape;4328;p214"/>
          <p:cNvSpPr txBox="1">
            <a:spLocks noGrp="1"/>
          </p:cNvSpPr>
          <p:nvPr>
            <p:ph type="subTitle" idx="13"/>
          </p:nvPr>
        </p:nvSpPr>
        <p:spPr>
          <a:xfrm>
            <a:off x="1300848" y="3966464"/>
            <a:ext cx="27432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329" name="Google Shape;4329;p214"/>
          <p:cNvSpPr txBox="1">
            <a:spLocks noGrp="1"/>
          </p:cNvSpPr>
          <p:nvPr>
            <p:ph type="subTitle" idx="14"/>
          </p:nvPr>
        </p:nvSpPr>
        <p:spPr>
          <a:xfrm>
            <a:off x="5603492" y="5459133"/>
            <a:ext cx="4116000" cy="3292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330" name="Google Shape;4330;p214"/>
          <p:cNvSpPr txBox="1">
            <a:spLocks noGrp="1"/>
          </p:cNvSpPr>
          <p:nvPr>
            <p:ph type="subTitle" idx="15"/>
          </p:nvPr>
        </p:nvSpPr>
        <p:spPr>
          <a:xfrm>
            <a:off x="5608293" y="5544480"/>
            <a:ext cx="41160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357317289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matchingName="80. Four dates horizontal timeline">
  <p:cSld name="80. Four dates horizontal timeline">
    <p:spTree>
      <p:nvGrpSpPr>
        <p:cNvPr id="1" name="Shape 4331"/>
        <p:cNvGrpSpPr/>
        <p:nvPr/>
      </p:nvGrpSpPr>
      <p:grpSpPr>
        <a:xfrm>
          <a:off x="0" y="0"/>
          <a:ext cx="0" cy="0"/>
          <a:chOff x="0" y="0"/>
          <a:chExt cx="0" cy="0"/>
        </a:xfrm>
      </p:grpSpPr>
      <p:grpSp>
        <p:nvGrpSpPr>
          <p:cNvPr id="4332" name="Google Shape;4332;p215"/>
          <p:cNvGrpSpPr/>
          <p:nvPr/>
        </p:nvGrpSpPr>
        <p:grpSpPr>
          <a:xfrm>
            <a:off x="4294704" y="3410569"/>
            <a:ext cx="160049" cy="1390020"/>
            <a:chOff x="8582641" y="8238480"/>
            <a:chExt cx="320100" cy="2780040"/>
          </a:xfrm>
        </p:grpSpPr>
        <p:cxnSp>
          <p:nvCxnSpPr>
            <p:cNvPr id="4333" name="Google Shape;4333;p215"/>
            <p:cNvCxnSpPr/>
            <p:nvPr/>
          </p:nvCxnSpPr>
          <p:spPr>
            <a:xfrm rot="10800000">
              <a:off x="8742721" y="8238480"/>
              <a:ext cx="0" cy="2460000"/>
            </a:xfrm>
            <a:prstGeom prst="straightConnector1">
              <a:avLst/>
            </a:prstGeom>
            <a:noFill/>
            <a:ln w="19050" cap="flat" cmpd="sng">
              <a:solidFill>
                <a:schemeClr val="dk2"/>
              </a:solidFill>
              <a:prstDash val="solid"/>
              <a:miter lim="400000"/>
              <a:headEnd type="none" w="sm" len="sm"/>
              <a:tailEnd type="none" w="sm" len="sm"/>
            </a:ln>
          </p:spPr>
        </p:cxnSp>
        <p:sp>
          <p:nvSpPr>
            <p:cNvPr id="4334" name="Google Shape;4334;p215"/>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335" name="Google Shape;4335;p215"/>
          <p:cNvGrpSpPr/>
          <p:nvPr/>
        </p:nvGrpSpPr>
        <p:grpSpPr>
          <a:xfrm>
            <a:off x="952531" y="857739"/>
            <a:ext cx="342900" cy="1908811"/>
            <a:chOff x="1880997" y="2193885"/>
            <a:chExt cx="685800" cy="3817620"/>
          </a:xfrm>
        </p:grpSpPr>
        <p:cxnSp>
          <p:nvCxnSpPr>
            <p:cNvPr id="4336" name="Google Shape;4336;p215"/>
            <p:cNvCxnSpPr/>
            <p:nvPr/>
          </p:nvCxnSpPr>
          <p:spPr>
            <a:xfrm rot="5400000">
              <a:off x="76200" y="4182705"/>
              <a:ext cx="3657600" cy="0"/>
            </a:xfrm>
            <a:prstGeom prst="straightConnector1">
              <a:avLst/>
            </a:prstGeom>
            <a:noFill/>
            <a:ln w="19050" cap="flat" cmpd="sng">
              <a:solidFill>
                <a:schemeClr val="dk2"/>
              </a:solidFill>
              <a:prstDash val="solid"/>
              <a:miter lim="400000"/>
              <a:headEnd type="none" w="sm" len="sm"/>
              <a:tailEnd type="none" w="sm" len="sm"/>
            </a:ln>
          </p:spPr>
        </p:cxnSp>
        <p:sp>
          <p:nvSpPr>
            <p:cNvPr id="4337" name="Google Shape;4337;p215"/>
            <p:cNvSpPr/>
            <p:nvPr/>
          </p:nvSpPr>
          <p:spPr>
            <a:xfrm>
              <a:off x="2246697" y="2193885"/>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cxnSp>
          <p:nvCxnSpPr>
            <p:cNvPr id="4338" name="Google Shape;4338;p215"/>
            <p:cNvCxnSpPr/>
            <p:nvPr/>
          </p:nvCxnSpPr>
          <p:spPr>
            <a:xfrm rot="10800000">
              <a:off x="1880997" y="2355483"/>
              <a:ext cx="365700" cy="0"/>
            </a:xfrm>
            <a:prstGeom prst="straightConnector1">
              <a:avLst/>
            </a:prstGeom>
            <a:noFill/>
            <a:ln w="19050" cap="flat" cmpd="sng">
              <a:solidFill>
                <a:schemeClr val="dk2"/>
              </a:solidFill>
              <a:prstDash val="solid"/>
              <a:miter lim="400000"/>
              <a:headEnd type="none" w="sm" len="sm"/>
              <a:tailEnd type="none" w="sm" len="sm"/>
            </a:ln>
          </p:spPr>
        </p:cxnSp>
      </p:grpSp>
      <p:cxnSp>
        <p:nvCxnSpPr>
          <p:cNvPr id="4339" name="Google Shape;4339;p215"/>
          <p:cNvCxnSpPr/>
          <p:nvPr/>
        </p:nvCxnSpPr>
        <p:spPr>
          <a:xfrm>
            <a:off x="952500" y="3172309"/>
            <a:ext cx="10286800" cy="0"/>
          </a:xfrm>
          <a:prstGeom prst="straightConnector1">
            <a:avLst/>
          </a:prstGeom>
          <a:noFill/>
          <a:ln w="19050" cap="flat" cmpd="sng">
            <a:solidFill>
              <a:schemeClr val="dk2"/>
            </a:solidFill>
            <a:prstDash val="solid"/>
            <a:miter lim="400000"/>
            <a:headEnd type="none" w="sm" len="sm"/>
            <a:tailEnd type="none" w="sm" len="sm"/>
          </a:ln>
        </p:spPr>
      </p:cxnSp>
      <p:sp>
        <p:nvSpPr>
          <p:cNvPr id="4340" name="Google Shape;4340;p215"/>
          <p:cNvSpPr/>
          <p:nvPr/>
        </p:nvSpPr>
        <p:spPr>
          <a:xfrm>
            <a:off x="569561" y="2756751"/>
            <a:ext cx="7268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341" name="Google Shape;4341;p215"/>
          <p:cNvSpPr/>
          <p:nvPr/>
        </p:nvSpPr>
        <p:spPr>
          <a:xfrm>
            <a:off x="4011340" y="2756751"/>
            <a:ext cx="726800" cy="7316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342" name="Google Shape;4342;p215"/>
          <p:cNvGrpSpPr/>
          <p:nvPr/>
        </p:nvGrpSpPr>
        <p:grpSpPr>
          <a:xfrm rot="10800000">
            <a:off x="10920634" y="3305196"/>
            <a:ext cx="342900" cy="2010960"/>
            <a:chOff x="1880997" y="2193885"/>
            <a:chExt cx="685800" cy="4021920"/>
          </a:xfrm>
        </p:grpSpPr>
        <p:cxnSp>
          <p:nvCxnSpPr>
            <p:cNvPr id="4343" name="Google Shape;4343;p215"/>
            <p:cNvCxnSpPr/>
            <p:nvPr/>
          </p:nvCxnSpPr>
          <p:spPr>
            <a:xfrm>
              <a:off x="1905000" y="2353905"/>
              <a:ext cx="0" cy="3861900"/>
            </a:xfrm>
            <a:prstGeom prst="straightConnector1">
              <a:avLst/>
            </a:prstGeom>
            <a:noFill/>
            <a:ln w="19050" cap="flat" cmpd="sng">
              <a:solidFill>
                <a:schemeClr val="dk2"/>
              </a:solidFill>
              <a:prstDash val="solid"/>
              <a:miter lim="400000"/>
              <a:headEnd type="none" w="sm" len="sm"/>
              <a:tailEnd type="none" w="sm" len="sm"/>
            </a:ln>
          </p:spPr>
        </p:cxnSp>
        <p:sp>
          <p:nvSpPr>
            <p:cNvPr id="4344" name="Google Shape;4344;p215"/>
            <p:cNvSpPr/>
            <p:nvPr/>
          </p:nvSpPr>
          <p:spPr>
            <a:xfrm>
              <a:off x="2246697" y="2193885"/>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cxnSp>
          <p:nvCxnSpPr>
            <p:cNvPr id="4345" name="Google Shape;4345;p215"/>
            <p:cNvCxnSpPr/>
            <p:nvPr/>
          </p:nvCxnSpPr>
          <p:spPr>
            <a:xfrm rot="10800000">
              <a:off x="1880997" y="2355483"/>
              <a:ext cx="365700" cy="0"/>
            </a:xfrm>
            <a:prstGeom prst="straightConnector1">
              <a:avLst/>
            </a:prstGeom>
            <a:noFill/>
            <a:ln w="19050" cap="flat" cmpd="sng">
              <a:solidFill>
                <a:schemeClr val="dk2"/>
              </a:solidFill>
              <a:prstDash val="solid"/>
              <a:miter lim="400000"/>
              <a:headEnd type="none" w="sm" len="sm"/>
              <a:tailEnd type="none" w="sm" len="sm"/>
            </a:ln>
          </p:spPr>
        </p:cxnSp>
      </p:grpSp>
      <p:grpSp>
        <p:nvGrpSpPr>
          <p:cNvPr id="4346" name="Google Shape;4346;p215"/>
          <p:cNvGrpSpPr/>
          <p:nvPr/>
        </p:nvGrpSpPr>
        <p:grpSpPr>
          <a:xfrm rot="10800000" flipH="1">
            <a:off x="7730461" y="1587992"/>
            <a:ext cx="160049" cy="1202669"/>
            <a:chOff x="8582641" y="8613180"/>
            <a:chExt cx="320100" cy="2405340"/>
          </a:xfrm>
        </p:grpSpPr>
        <p:cxnSp>
          <p:nvCxnSpPr>
            <p:cNvPr id="4347" name="Google Shape;4347;p215"/>
            <p:cNvCxnSpPr/>
            <p:nvPr/>
          </p:nvCxnSpPr>
          <p:spPr>
            <a:xfrm rot="10800000">
              <a:off x="8742721" y="8613180"/>
              <a:ext cx="0" cy="2085300"/>
            </a:xfrm>
            <a:prstGeom prst="straightConnector1">
              <a:avLst/>
            </a:prstGeom>
            <a:noFill/>
            <a:ln w="19050" cap="flat" cmpd="sng">
              <a:solidFill>
                <a:schemeClr val="dk2"/>
              </a:solidFill>
              <a:prstDash val="solid"/>
              <a:miter lim="400000"/>
              <a:headEnd type="none" w="sm" len="sm"/>
              <a:tailEnd type="none" w="sm" len="sm"/>
            </a:ln>
          </p:spPr>
        </p:cxnSp>
        <p:sp>
          <p:nvSpPr>
            <p:cNvPr id="4348" name="Google Shape;4348;p215"/>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sp>
        <p:nvSpPr>
          <p:cNvPr id="4349" name="Google Shape;4349;p215"/>
          <p:cNvSpPr/>
          <p:nvPr/>
        </p:nvSpPr>
        <p:spPr>
          <a:xfrm>
            <a:off x="7453112" y="2756751"/>
            <a:ext cx="726800" cy="7316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350" name="Google Shape;4350;p215"/>
          <p:cNvSpPr/>
          <p:nvPr/>
        </p:nvSpPr>
        <p:spPr>
          <a:xfrm>
            <a:off x="10920675" y="2756751"/>
            <a:ext cx="726800" cy="731600"/>
          </a:xfrm>
          <a:prstGeom prst="ellipse">
            <a:avLst/>
          </a:prstGeom>
          <a:solidFill>
            <a:srgbClr val="090C0F"/>
          </a:solidFill>
          <a:ln w="19050" cap="flat" cmpd="sng">
            <a:solidFill>
              <a:schemeClr val="accent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351" name="Google Shape;4351;p215"/>
          <p:cNvGrpSpPr/>
          <p:nvPr/>
        </p:nvGrpSpPr>
        <p:grpSpPr>
          <a:xfrm>
            <a:off x="12253600" y="1"/>
            <a:ext cx="3438989" cy="3424452"/>
            <a:chOff x="22170399" y="777240"/>
            <a:chExt cx="6877978" cy="6848903"/>
          </a:xfrm>
        </p:grpSpPr>
        <p:grpSp>
          <p:nvGrpSpPr>
            <p:cNvPr id="4352" name="Google Shape;4352;p215"/>
            <p:cNvGrpSpPr/>
            <p:nvPr/>
          </p:nvGrpSpPr>
          <p:grpSpPr>
            <a:xfrm>
              <a:off x="22170399" y="777240"/>
              <a:ext cx="6877978" cy="6848903"/>
              <a:chOff x="22155159" y="0"/>
              <a:chExt cx="6877978" cy="6848903"/>
            </a:xfrm>
          </p:grpSpPr>
          <p:sp>
            <p:nvSpPr>
              <p:cNvPr id="4353" name="Google Shape;4353;p215"/>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354" name="Google Shape;4354;p215"/>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355" name="Google Shape;4355;p215"/>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356" name="Google Shape;4356;p215"/>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357" name="Google Shape;4357;p215"/>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358" name="Google Shape;4358;p215"/>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359" name="Google Shape;4359;p215"/>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360" name="Google Shape;4360;p215"/>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361" name="Google Shape;4361;p215"/>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362" name="Google Shape;4362;p215"/>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363" name="Google Shape;4363;p215"/>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364" name="Google Shape;4364;p215"/>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365" name="Google Shape;4365;p215"/>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366" name="Google Shape;4366;p215"/>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367" name="Google Shape;4367;p215"/>
          <p:cNvSpPr txBox="1">
            <a:spLocks noGrp="1"/>
          </p:cNvSpPr>
          <p:nvPr>
            <p:ph type="subTitle" idx="1"/>
          </p:nvPr>
        </p:nvSpPr>
        <p:spPr>
          <a:xfrm>
            <a:off x="1382333" y="880600"/>
            <a:ext cx="36756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368" name="Google Shape;4368;p215"/>
          <p:cNvSpPr txBox="1">
            <a:spLocks noGrp="1"/>
          </p:cNvSpPr>
          <p:nvPr>
            <p:ph type="subTitle" idx="2"/>
          </p:nvPr>
        </p:nvSpPr>
        <p:spPr>
          <a:xfrm>
            <a:off x="1382339" y="416367"/>
            <a:ext cx="36756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369" name="Google Shape;4369;p215"/>
          <p:cNvSpPr txBox="1">
            <a:spLocks noGrp="1"/>
          </p:cNvSpPr>
          <p:nvPr>
            <p:ph type="subTitle" idx="3"/>
          </p:nvPr>
        </p:nvSpPr>
        <p:spPr>
          <a:xfrm>
            <a:off x="5972700" y="880600"/>
            <a:ext cx="3675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SzPts val="1600"/>
              <a:buNone/>
              <a:defRPr sz="2133"/>
            </a:lvl2pPr>
            <a:lvl3pPr lvl="2" algn="ctr" rtl="0">
              <a:spcBef>
                <a:spcPts val="0"/>
              </a:spcBef>
              <a:spcAft>
                <a:spcPts val="0"/>
              </a:spcAft>
              <a:buSzPts val="1600"/>
              <a:buNone/>
              <a:defRPr sz="2133"/>
            </a:lvl3pPr>
            <a:lvl4pPr lvl="3" algn="ctr" rtl="0">
              <a:spcBef>
                <a:spcPts val="0"/>
              </a:spcBef>
              <a:spcAft>
                <a:spcPts val="0"/>
              </a:spcAft>
              <a:buSzPts val="1600"/>
              <a:buNone/>
              <a:defRPr sz="2133"/>
            </a:lvl4pPr>
            <a:lvl5pPr lvl="4" algn="ctr" rtl="0">
              <a:spcBef>
                <a:spcPts val="0"/>
              </a:spcBef>
              <a:spcAft>
                <a:spcPts val="0"/>
              </a:spcAft>
              <a:buSzPts val="1600"/>
              <a:buNone/>
              <a:defRPr sz="2133"/>
            </a:lvl5pPr>
            <a:lvl6pPr lvl="5" algn="ctr" rtl="0">
              <a:spcBef>
                <a:spcPts val="0"/>
              </a:spcBef>
              <a:spcAft>
                <a:spcPts val="0"/>
              </a:spcAft>
              <a:buSzPts val="1600"/>
              <a:buNone/>
              <a:defRPr sz="2133"/>
            </a:lvl6pPr>
            <a:lvl7pPr lvl="6" algn="ctr" rtl="0">
              <a:spcBef>
                <a:spcPts val="0"/>
              </a:spcBef>
              <a:spcAft>
                <a:spcPts val="0"/>
              </a:spcAft>
              <a:buSzPts val="1600"/>
              <a:buNone/>
              <a:defRPr sz="2133"/>
            </a:lvl7pPr>
            <a:lvl8pPr lvl="7" algn="ctr" rtl="0">
              <a:spcBef>
                <a:spcPts val="0"/>
              </a:spcBef>
              <a:spcAft>
                <a:spcPts val="0"/>
              </a:spcAft>
              <a:buSzPts val="1600"/>
              <a:buNone/>
              <a:defRPr sz="2133"/>
            </a:lvl8pPr>
            <a:lvl9pPr lvl="8" algn="ctr" rtl="0">
              <a:spcBef>
                <a:spcPts val="0"/>
              </a:spcBef>
              <a:spcAft>
                <a:spcPts val="0"/>
              </a:spcAft>
              <a:buSzPts val="1600"/>
              <a:buNone/>
              <a:defRPr sz="2133"/>
            </a:lvl9pPr>
          </a:lstStyle>
          <a:p>
            <a:endParaRPr/>
          </a:p>
        </p:txBody>
      </p:sp>
      <p:sp>
        <p:nvSpPr>
          <p:cNvPr id="4370" name="Google Shape;4370;p215"/>
          <p:cNvSpPr txBox="1">
            <a:spLocks noGrp="1"/>
          </p:cNvSpPr>
          <p:nvPr>
            <p:ph type="subTitle" idx="4"/>
          </p:nvPr>
        </p:nvSpPr>
        <p:spPr>
          <a:xfrm>
            <a:off x="5972705" y="416367"/>
            <a:ext cx="3675600" cy="5976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371" name="Google Shape;4371;p215"/>
          <p:cNvSpPr txBox="1">
            <a:spLocks noGrp="1"/>
          </p:cNvSpPr>
          <p:nvPr>
            <p:ph type="subTitle" idx="5"/>
          </p:nvPr>
        </p:nvSpPr>
        <p:spPr>
          <a:xfrm>
            <a:off x="2536933" y="5093167"/>
            <a:ext cx="3675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SzPts val="1600"/>
              <a:buNone/>
              <a:defRPr sz="2133"/>
            </a:lvl2pPr>
            <a:lvl3pPr lvl="2" algn="ctr" rtl="0">
              <a:spcBef>
                <a:spcPts val="0"/>
              </a:spcBef>
              <a:spcAft>
                <a:spcPts val="0"/>
              </a:spcAft>
              <a:buSzPts val="1600"/>
              <a:buNone/>
              <a:defRPr sz="2133"/>
            </a:lvl3pPr>
            <a:lvl4pPr lvl="3" algn="ctr" rtl="0">
              <a:spcBef>
                <a:spcPts val="0"/>
              </a:spcBef>
              <a:spcAft>
                <a:spcPts val="0"/>
              </a:spcAft>
              <a:buSzPts val="1600"/>
              <a:buNone/>
              <a:defRPr sz="2133"/>
            </a:lvl4pPr>
            <a:lvl5pPr lvl="4" algn="ctr" rtl="0">
              <a:spcBef>
                <a:spcPts val="0"/>
              </a:spcBef>
              <a:spcAft>
                <a:spcPts val="0"/>
              </a:spcAft>
              <a:buSzPts val="1600"/>
              <a:buNone/>
              <a:defRPr sz="2133"/>
            </a:lvl5pPr>
            <a:lvl6pPr lvl="5" algn="ctr" rtl="0">
              <a:spcBef>
                <a:spcPts val="0"/>
              </a:spcBef>
              <a:spcAft>
                <a:spcPts val="0"/>
              </a:spcAft>
              <a:buSzPts val="1600"/>
              <a:buNone/>
              <a:defRPr sz="2133"/>
            </a:lvl6pPr>
            <a:lvl7pPr lvl="6" algn="ctr" rtl="0">
              <a:spcBef>
                <a:spcPts val="0"/>
              </a:spcBef>
              <a:spcAft>
                <a:spcPts val="0"/>
              </a:spcAft>
              <a:buSzPts val="1600"/>
              <a:buNone/>
              <a:defRPr sz="2133"/>
            </a:lvl7pPr>
            <a:lvl8pPr lvl="7" algn="ctr" rtl="0">
              <a:spcBef>
                <a:spcPts val="0"/>
              </a:spcBef>
              <a:spcAft>
                <a:spcPts val="0"/>
              </a:spcAft>
              <a:buSzPts val="1600"/>
              <a:buNone/>
              <a:defRPr sz="2133"/>
            </a:lvl8pPr>
            <a:lvl9pPr lvl="8" algn="ctr" rtl="0">
              <a:spcBef>
                <a:spcPts val="0"/>
              </a:spcBef>
              <a:spcAft>
                <a:spcPts val="0"/>
              </a:spcAft>
              <a:buSzPts val="1600"/>
              <a:buNone/>
              <a:defRPr sz="2133"/>
            </a:lvl9pPr>
          </a:lstStyle>
          <a:p>
            <a:endParaRPr/>
          </a:p>
        </p:txBody>
      </p:sp>
      <p:sp>
        <p:nvSpPr>
          <p:cNvPr id="4372" name="Google Shape;4372;p215"/>
          <p:cNvSpPr txBox="1">
            <a:spLocks noGrp="1"/>
          </p:cNvSpPr>
          <p:nvPr>
            <p:ph type="subTitle" idx="6"/>
          </p:nvPr>
        </p:nvSpPr>
        <p:spPr>
          <a:xfrm>
            <a:off x="2536939" y="4628933"/>
            <a:ext cx="3675600" cy="5976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373" name="Google Shape;4373;p215"/>
          <p:cNvSpPr txBox="1">
            <a:spLocks noGrp="1"/>
          </p:cNvSpPr>
          <p:nvPr>
            <p:ph type="subTitle" idx="7"/>
          </p:nvPr>
        </p:nvSpPr>
        <p:spPr>
          <a:xfrm>
            <a:off x="7075433" y="5093167"/>
            <a:ext cx="36756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374" name="Google Shape;4374;p215"/>
          <p:cNvSpPr txBox="1">
            <a:spLocks noGrp="1"/>
          </p:cNvSpPr>
          <p:nvPr>
            <p:ph type="subTitle" idx="8"/>
          </p:nvPr>
        </p:nvSpPr>
        <p:spPr>
          <a:xfrm>
            <a:off x="7075439" y="4628933"/>
            <a:ext cx="36756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326471260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matchingName="81. Five dates horizontal timeline">
  <p:cSld name="81. Five dates horizontal timeline">
    <p:spTree>
      <p:nvGrpSpPr>
        <p:cNvPr id="1" name="Shape 4375"/>
        <p:cNvGrpSpPr/>
        <p:nvPr/>
      </p:nvGrpSpPr>
      <p:grpSpPr>
        <a:xfrm>
          <a:off x="0" y="0"/>
          <a:ext cx="0" cy="0"/>
          <a:chOff x="0" y="0"/>
          <a:chExt cx="0" cy="0"/>
        </a:xfrm>
      </p:grpSpPr>
      <p:grpSp>
        <p:nvGrpSpPr>
          <p:cNvPr id="4376" name="Google Shape;4376;p216"/>
          <p:cNvGrpSpPr/>
          <p:nvPr/>
        </p:nvGrpSpPr>
        <p:grpSpPr>
          <a:xfrm rot="10800000" flipH="1">
            <a:off x="6010277" y="2630179"/>
            <a:ext cx="160049" cy="1202669"/>
            <a:chOff x="8582641" y="8613180"/>
            <a:chExt cx="320100" cy="2405340"/>
          </a:xfrm>
        </p:grpSpPr>
        <p:cxnSp>
          <p:nvCxnSpPr>
            <p:cNvPr id="4377" name="Google Shape;4377;p216"/>
            <p:cNvCxnSpPr/>
            <p:nvPr/>
          </p:nvCxnSpPr>
          <p:spPr>
            <a:xfrm rot="10800000">
              <a:off x="8742721" y="8613180"/>
              <a:ext cx="0" cy="2085300"/>
            </a:xfrm>
            <a:prstGeom prst="straightConnector1">
              <a:avLst/>
            </a:prstGeom>
            <a:noFill/>
            <a:ln w="19050" cap="flat" cmpd="sng">
              <a:solidFill>
                <a:schemeClr val="dk2"/>
              </a:solidFill>
              <a:prstDash val="solid"/>
              <a:miter lim="400000"/>
              <a:headEnd type="none" w="sm" len="sm"/>
              <a:tailEnd type="none" w="sm" len="sm"/>
            </a:ln>
          </p:spPr>
        </p:cxnSp>
        <p:sp>
          <p:nvSpPr>
            <p:cNvPr id="4378" name="Google Shape;4378;p216"/>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379" name="Google Shape;4379;p216"/>
          <p:cNvGrpSpPr/>
          <p:nvPr/>
        </p:nvGrpSpPr>
        <p:grpSpPr>
          <a:xfrm>
            <a:off x="3423302" y="3792555"/>
            <a:ext cx="160051" cy="1339020"/>
            <a:chOff x="8582641" y="8340480"/>
            <a:chExt cx="320100" cy="2678040"/>
          </a:xfrm>
        </p:grpSpPr>
        <p:cxnSp>
          <p:nvCxnSpPr>
            <p:cNvPr id="4380" name="Google Shape;4380;p216"/>
            <p:cNvCxnSpPr/>
            <p:nvPr/>
          </p:nvCxnSpPr>
          <p:spPr>
            <a:xfrm rot="10800000">
              <a:off x="8742721" y="8340480"/>
              <a:ext cx="0" cy="2358000"/>
            </a:xfrm>
            <a:prstGeom prst="straightConnector1">
              <a:avLst/>
            </a:prstGeom>
            <a:noFill/>
            <a:ln w="19050" cap="flat" cmpd="sng">
              <a:solidFill>
                <a:schemeClr val="dk2"/>
              </a:solidFill>
              <a:prstDash val="solid"/>
              <a:miter lim="400000"/>
              <a:headEnd type="none" w="sm" len="sm"/>
              <a:tailEnd type="none" w="sm" len="sm"/>
            </a:ln>
          </p:spPr>
        </p:cxnSp>
        <p:sp>
          <p:nvSpPr>
            <p:cNvPr id="4381" name="Google Shape;4381;p216"/>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382" name="Google Shape;4382;p216"/>
          <p:cNvGrpSpPr/>
          <p:nvPr/>
        </p:nvGrpSpPr>
        <p:grpSpPr>
          <a:xfrm>
            <a:off x="939860" y="1798413"/>
            <a:ext cx="355701" cy="1980072"/>
            <a:chOff x="1880997" y="2193885"/>
            <a:chExt cx="685800" cy="3817620"/>
          </a:xfrm>
        </p:grpSpPr>
        <p:cxnSp>
          <p:nvCxnSpPr>
            <p:cNvPr id="4383" name="Google Shape;4383;p216"/>
            <p:cNvCxnSpPr/>
            <p:nvPr/>
          </p:nvCxnSpPr>
          <p:spPr>
            <a:xfrm rot="5400000">
              <a:off x="76200" y="4182705"/>
              <a:ext cx="3657600" cy="0"/>
            </a:xfrm>
            <a:prstGeom prst="straightConnector1">
              <a:avLst/>
            </a:prstGeom>
            <a:noFill/>
            <a:ln w="19050" cap="flat" cmpd="sng">
              <a:solidFill>
                <a:schemeClr val="dk2"/>
              </a:solidFill>
              <a:prstDash val="solid"/>
              <a:miter lim="400000"/>
              <a:headEnd type="none" w="sm" len="sm"/>
              <a:tailEnd type="none" w="sm" len="sm"/>
            </a:ln>
          </p:spPr>
        </p:cxnSp>
        <p:sp>
          <p:nvSpPr>
            <p:cNvPr id="4384" name="Google Shape;4384;p216"/>
            <p:cNvSpPr/>
            <p:nvPr/>
          </p:nvSpPr>
          <p:spPr>
            <a:xfrm>
              <a:off x="2246697" y="2193885"/>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cxnSp>
          <p:nvCxnSpPr>
            <p:cNvPr id="4385" name="Google Shape;4385;p216"/>
            <p:cNvCxnSpPr/>
            <p:nvPr/>
          </p:nvCxnSpPr>
          <p:spPr>
            <a:xfrm rot="10800000">
              <a:off x="1880997" y="2355483"/>
              <a:ext cx="365700" cy="0"/>
            </a:xfrm>
            <a:prstGeom prst="straightConnector1">
              <a:avLst/>
            </a:prstGeom>
            <a:noFill/>
            <a:ln w="19050" cap="flat" cmpd="sng">
              <a:solidFill>
                <a:schemeClr val="dk2"/>
              </a:solidFill>
              <a:prstDash val="solid"/>
              <a:miter lim="400000"/>
              <a:headEnd type="none" w="sm" len="sm"/>
              <a:tailEnd type="none" w="sm" len="sm"/>
            </a:ln>
          </p:spPr>
        </p:cxnSp>
      </p:grpSp>
      <p:cxnSp>
        <p:nvCxnSpPr>
          <p:cNvPr id="4386" name="Google Shape;4386;p216"/>
          <p:cNvCxnSpPr/>
          <p:nvPr/>
        </p:nvCxnSpPr>
        <p:spPr>
          <a:xfrm>
            <a:off x="952500" y="3813395"/>
            <a:ext cx="10286800" cy="0"/>
          </a:xfrm>
          <a:prstGeom prst="straightConnector1">
            <a:avLst/>
          </a:prstGeom>
          <a:noFill/>
          <a:ln w="19050" cap="flat" cmpd="sng">
            <a:solidFill>
              <a:schemeClr val="dk2"/>
            </a:solidFill>
            <a:prstDash val="solid"/>
            <a:miter lim="400000"/>
            <a:headEnd type="none" w="sm" len="sm"/>
            <a:tailEnd type="none" w="sm" len="sm"/>
          </a:ln>
        </p:spPr>
      </p:cxnSp>
      <p:sp>
        <p:nvSpPr>
          <p:cNvPr id="4387" name="Google Shape;4387;p216"/>
          <p:cNvSpPr/>
          <p:nvPr/>
        </p:nvSpPr>
        <p:spPr>
          <a:xfrm>
            <a:off x="3150693" y="3447612"/>
            <a:ext cx="726800" cy="7316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388" name="Google Shape;4388;p216"/>
          <p:cNvSpPr/>
          <p:nvPr/>
        </p:nvSpPr>
        <p:spPr>
          <a:xfrm>
            <a:off x="5731771" y="3447612"/>
            <a:ext cx="726800" cy="7316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389" name="Google Shape;4389;p216"/>
          <p:cNvGrpSpPr/>
          <p:nvPr/>
        </p:nvGrpSpPr>
        <p:grpSpPr>
          <a:xfrm>
            <a:off x="8586440" y="3792483"/>
            <a:ext cx="160051" cy="1362120"/>
            <a:chOff x="8582641" y="8294280"/>
            <a:chExt cx="320100" cy="2724240"/>
          </a:xfrm>
        </p:grpSpPr>
        <p:cxnSp>
          <p:nvCxnSpPr>
            <p:cNvPr id="4390" name="Google Shape;4390;p216"/>
            <p:cNvCxnSpPr/>
            <p:nvPr/>
          </p:nvCxnSpPr>
          <p:spPr>
            <a:xfrm rot="10800000">
              <a:off x="8742721" y="8294280"/>
              <a:ext cx="0" cy="2404200"/>
            </a:xfrm>
            <a:prstGeom prst="straightConnector1">
              <a:avLst/>
            </a:prstGeom>
            <a:noFill/>
            <a:ln w="19050" cap="flat" cmpd="sng">
              <a:solidFill>
                <a:schemeClr val="dk2"/>
              </a:solidFill>
              <a:prstDash val="solid"/>
              <a:miter lim="400000"/>
              <a:headEnd type="none" w="sm" len="sm"/>
              <a:tailEnd type="none" w="sm" len="sm"/>
            </a:ln>
          </p:spPr>
        </p:cxnSp>
        <p:sp>
          <p:nvSpPr>
            <p:cNvPr id="4391" name="Google Shape;4391;p216"/>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sp>
        <p:nvSpPr>
          <p:cNvPr id="4392" name="Google Shape;4392;p216"/>
          <p:cNvSpPr/>
          <p:nvPr/>
        </p:nvSpPr>
        <p:spPr>
          <a:xfrm>
            <a:off x="8303096" y="3447612"/>
            <a:ext cx="726800" cy="731600"/>
          </a:xfrm>
          <a:prstGeom prst="ellipse">
            <a:avLst/>
          </a:prstGeom>
          <a:solidFill>
            <a:srgbClr val="090C0F"/>
          </a:solidFill>
          <a:ln w="19050" cap="flat" cmpd="sng">
            <a:solidFill>
              <a:schemeClr val="accent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393" name="Google Shape;4393;p216"/>
          <p:cNvGrpSpPr/>
          <p:nvPr/>
        </p:nvGrpSpPr>
        <p:grpSpPr>
          <a:xfrm flipH="1">
            <a:off x="10907999" y="1798324"/>
            <a:ext cx="342900" cy="1954088"/>
            <a:chOff x="1880997" y="2193885"/>
            <a:chExt cx="685800" cy="3908175"/>
          </a:xfrm>
        </p:grpSpPr>
        <p:cxnSp>
          <p:nvCxnSpPr>
            <p:cNvPr id="4394" name="Google Shape;4394;p216"/>
            <p:cNvCxnSpPr/>
            <p:nvPr/>
          </p:nvCxnSpPr>
          <p:spPr>
            <a:xfrm>
              <a:off x="1904713" y="2354160"/>
              <a:ext cx="2400" cy="3747900"/>
            </a:xfrm>
            <a:prstGeom prst="straightConnector1">
              <a:avLst/>
            </a:prstGeom>
            <a:noFill/>
            <a:ln w="19050" cap="flat" cmpd="sng">
              <a:solidFill>
                <a:schemeClr val="dk2"/>
              </a:solidFill>
              <a:prstDash val="solid"/>
              <a:miter lim="400000"/>
              <a:headEnd type="none" w="sm" len="sm"/>
              <a:tailEnd type="none" w="sm" len="sm"/>
            </a:ln>
          </p:spPr>
        </p:cxnSp>
        <p:sp>
          <p:nvSpPr>
            <p:cNvPr id="4395" name="Google Shape;4395;p216"/>
            <p:cNvSpPr/>
            <p:nvPr/>
          </p:nvSpPr>
          <p:spPr>
            <a:xfrm>
              <a:off x="2246697" y="2193885"/>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cxnSp>
          <p:nvCxnSpPr>
            <p:cNvPr id="4396" name="Google Shape;4396;p216"/>
            <p:cNvCxnSpPr/>
            <p:nvPr/>
          </p:nvCxnSpPr>
          <p:spPr>
            <a:xfrm rot="10800000">
              <a:off x="1880997" y="2355483"/>
              <a:ext cx="365700" cy="0"/>
            </a:xfrm>
            <a:prstGeom prst="straightConnector1">
              <a:avLst/>
            </a:prstGeom>
            <a:noFill/>
            <a:ln w="19050" cap="flat" cmpd="sng">
              <a:solidFill>
                <a:schemeClr val="dk2"/>
              </a:solidFill>
              <a:prstDash val="solid"/>
              <a:miter lim="400000"/>
              <a:headEnd type="none" w="sm" len="sm"/>
              <a:tailEnd type="none" w="sm" len="sm"/>
            </a:ln>
          </p:spPr>
        </p:cxnSp>
      </p:grpSp>
      <p:sp>
        <p:nvSpPr>
          <p:cNvPr id="4397" name="Google Shape;4397;p216"/>
          <p:cNvSpPr/>
          <p:nvPr/>
        </p:nvSpPr>
        <p:spPr>
          <a:xfrm>
            <a:off x="589128" y="3447612"/>
            <a:ext cx="7268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398" name="Google Shape;4398;p216"/>
          <p:cNvSpPr/>
          <p:nvPr/>
        </p:nvSpPr>
        <p:spPr>
          <a:xfrm>
            <a:off x="10874441" y="3447612"/>
            <a:ext cx="726800" cy="731600"/>
          </a:xfrm>
          <a:prstGeom prst="ellipse">
            <a:avLst/>
          </a:prstGeom>
          <a:solidFill>
            <a:srgbClr val="090C0F"/>
          </a:solidFill>
          <a:ln w="19050" cap="flat" cmpd="sng">
            <a:solidFill>
              <a:schemeClr val="accent5"/>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399" name="Google Shape;4399;p216"/>
          <p:cNvGrpSpPr/>
          <p:nvPr/>
        </p:nvGrpSpPr>
        <p:grpSpPr>
          <a:xfrm>
            <a:off x="12253600" y="1"/>
            <a:ext cx="3438989" cy="3424452"/>
            <a:chOff x="22170399" y="777240"/>
            <a:chExt cx="6877978" cy="6848903"/>
          </a:xfrm>
        </p:grpSpPr>
        <p:grpSp>
          <p:nvGrpSpPr>
            <p:cNvPr id="4400" name="Google Shape;4400;p216"/>
            <p:cNvGrpSpPr/>
            <p:nvPr/>
          </p:nvGrpSpPr>
          <p:grpSpPr>
            <a:xfrm>
              <a:off x="22170399" y="777240"/>
              <a:ext cx="6877978" cy="6848903"/>
              <a:chOff x="22155159" y="0"/>
              <a:chExt cx="6877978" cy="6848903"/>
            </a:xfrm>
          </p:grpSpPr>
          <p:sp>
            <p:nvSpPr>
              <p:cNvPr id="4401" name="Google Shape;4401;p216"/>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402" name="Google Shape;4402;p216"/>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403" name="Google Shape;4403;p216"/>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404" name="Google Shape;4404;p216"/>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405" name="Google Shape;4405;p216"/>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406" name="Google Shape;4406;p216"/>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407" name="Google Shape;4407;p216"/>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408" name="Google Shape;4408;p216"/>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409" name="Google Shape;4409;p216"/>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410" name="Google Shape;4410;p216"/>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411" name="Google Shape;4411;p216"/>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412" name="Google Shape;4412;p216"/>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413" name="Google Shape;4413;p216"/>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414" name="Google Shape;4414;p216"/>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415" name="Google Shape;4415;p216"/>
          <p:cNvSpPr txBox="1">
            <a:spLocks noGrp="1"/>
          </p:cNvSpPr>
          <p:nvPr>
            <p:ph type="subTitle" idx="1"/>
          </p:nvPr>
        </p:nvSpPr>
        <p:spPr>
          <a:xfrm>
            <a:off x="1382333" y="1896600"/>
            <a:ext cx="28676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416" name="Google Shape;4416;p216"/>
          <p:cNvSpPr txBox="1">
            <a:spLocks noGrp="1"/>
          </p:cNvSpPr>
          <p:nvPr>
            <p:ph type="subTitle" idx="2"/>
          </p:nvPr>
        </p:nvSpPr>
        <p:spPr>
          <a:xfrm>
            <a:off x="1382337" y="1497625"/>
            <a:ext cx="28676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417" name="Google Shape;4417;p216"/>
          <p:cNvSpPr txBox="1">
            <a:spLocks noGrp="1"/>
          </p:cNvSpPr>
          <p:nvPr>
            <p:ph type="subTitle" idx="3"/>
          </p:nvPr>
        </p:nvSpPr>
        <p:spPr>
          <a:xfrm>
            <a:off x="4661367" y="1896600"/>
            <a:ext cx="2867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SzPts val="1600"/>
              <a:buNone/>
              <a:defRPr sz="2133"/>
            </a:lvl2pPr>
            <a:lvl3pPr lvl="2" algn="ctr" rtl="0">
              <a:spcBef>
                <a:spcPts val="0"/>
              </a:spcBef>
              <a:spcAft>
                <a:spcPts val="0"/>
              </a:spcAft>
              <a:buSzPts val="1600"/>
              <a:buNone/>
              <a:defRPr sz="2133"/>
            </a:lvl3pPr>
            <a:lvl4pPr lvl="3" algn="ctr" rtl="0">
              <a:spcBef>
                <a:spcPts val="0"/>
              </a:spcBef>
              <a:spcAft>
                <a:spcPts val="0"/>
              </a:spcAft>
              <a:buSzPts val="1600"/>
              <a:buNone/>
              <a:defRPr sz="2133"/>
            </a:lvl4pPr>
            <a:lvl5pPr lvl="4" algn="ctr" rtl="0">
              <a:spcBef>
                <a:spcPts val="0"/>
              </a:spcBef>
              <a:spcAft>
                <a:spcPts val="0"/>
              </a:spcAft>
              <a:buSzPts val="1600"/>
              <a:buNone/>
              <a:defRPr sz="2133"/>
            </a:lvl5pPr>
            <a:lvl6pPr lvl="5" algn="ctr" rtl="0">
              <a:spcBef>
                <a:spcPts val="0"/>
              </a:spcBef>
              <a:spcAft>
                <a:spcPts val="0"/>
              </a:spcAft>
              <a:buSzPts val="1600"/>
              <a:buNone/>
              <a:defRPr sz="2133"/>
            </a:lvl6pPr>
            <a:lvl7pPr lvl="6" algn="ctr" rtl="0">
              <a:spcBef>
                <a:spcPts val="0"/>
              </a:spcBef>
              <a:spcAft>
                <a:spcPts val="0"/>
              </a:spcAft>
              <a:buSzPts val="1600"/>
              <a:buNone/>
              <a:defRPr sz="2133"/>
            </a:lvl7pPr>
            <a:lvl8pPr lvl="7" algn="ctr" rtl="0">
              <a:spcBef>
                <a:spcPts val="0"/>
              </a:spcBef>
              <a:spcAft>
                <a:spcPts val="0"/>
              </a:spcAft>
              <a:buSzPts val="1600"/>
              <a:buNone/>
              <a:defRPr sz="2133"/>
            </a:lvl8pPr>
            <a:lvl9pPr lvl="8" algn="ctr" rtl="0">
              <a:spcBef>
                <a:spcPts val="0"/>
              </a:spcBef>
              <a:spcAft>
                <a:spcPts val="0"/>
              </a:spcAft>
              <a:buSzPts val="1600"/>
              <a:buNone/>
              <a:defRPr sz="2133"/>
            </a:lvl9pPr>
          </a:lstStyle>
          <a:p>
            <a:endParaRPr/>
          </a:p>
        </p:txBody>
      </p:sp>
      <p:sp>
        <p:nvSpPr>
          <p:cNvPr id="4418" name="Google Shape;4418;p216"/>
          <p:cNvSpPr txBox="1">
            <a:spLocks noGrp="1"/>
          </p:cNvSpPr>
          <p:nvPr>
            <p:ph type="subTitle" idx="4"/>
          </p:nvPr>
        </p:nvSpPr>
        <p:spPr>
          <a:xfrm>
            <a:off x="4661371" y="1497625"/>
            <a:ext cx="2867600" cy="5976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419" name="Google Shape;4419;p216"/>
          <p:cNvSpPr txBox="1">
            <a:spLocks noGrp="1"/>
          </p:cNvSpPr>
          <p:nvPr>
            <p:ph type="subTitle" idx="5"/>
          </p:nvPr>
        </p:nvSpPr>
        <p:spPr>
          <a:xfrm>
            <a:off x="7940400" y="1896600"/>
            <a:ext cx="28676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420" name="Google Shape;4420;p216"/>
          <p:cNvSpPr txBox="1">
            <a:spLocks noGrp="1"/>
          </p:cNvSpPr>
          <p:nvPr>
            <p:ph type="subTitle" idx="6"/>
          </p:nvPr>
        </p:nvSpPr>
        <p:spPr>
          <a:xfrm>
            <a:off x="7940404" y="1497625"/>
            <a:ext cx="28676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421" name="Google Shape;4421;p216"/>
          <p:cNvSpPr txBox="1">
            <a:spLocks noGrp="1"/>
          </p:cNvSpPr>
          <p:nvPr>
            <p:ph type="subTitle" idx="7"/>
          </p:nvPr>
        </p:nvSpPr>
        <p:spPr>
          <a:xfrm>
            <a:off x="2090051" y="5590767"/>
            <a:ext cx="2867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SzPts val="1600"/>
              <a:buNone/>
              <a:defRPr sz="2133"/>
            </a:lvl2pPr>
            <a:lvl3pPr lvl="2" algn="ctr" rtl="0">
              <a:spcBef>
                <a:spcPts val="0"/>
              </a:spcBef>
              <a:spcAft>
                <a:spcPts val="0"/>
              </a:spcAft>
              <a:buSzPts val="1600"/>
              <a:buNone/>
              <a:defRPr sz="2133"/>
            </a:lvl3pPr>
            <a:lvl4pPr lvl="3" algn="ctr" rtl="0">
              <a:spcBef>
                <a:spcPts val="0"/>
              </a:spcBef>
              <a:spcAft>
                <a:spcPts val="0"/>
              </a:spcAft>
              <a:buSzPts val="1600"/>
              <a:buNone/>
              <a:defRPr sz="2133"/>
            </a:lvl4pPr>
            <a:lvl5pPr lvl="4" algn="ctr" rtl="0">
              <a:spcBef>
                <a:spcPts val="0"/>
              </a:spcBef>
              <a:spcAft>
                <a:spcPts val="0"/>
              </a:spcAft>
              <a:buSzPts val="1600"/>
              <a:buNone/>
              <a:defRPr sz="2133"/>
            </a:lvl5pPr>
            <a:lvl6pPr lvl="5" algn="ctr" rtl="0">
              <a:spcBef>
                <a:spcPts val="0"/>
              </a:spcBef>
              <a:spcAft>
                <a:spcPts val="0"/>
              </a:spcAft>
              <a:buSzPts val="1600"/>
              <a:buNone/>
              <a:defRPr sz="2133"/>
            </a:lvl6pPr>
            <a:lvl7pPr lvl="6" algn="ctr" rtl="0">
              <a:spcBef>
                <a:spcPts val="0"/>
              </a:spcBef>
              <a:spcAft>
                <a:spcPts val="0"/>
              </a:spcAft>
              <a:buSzPts val="1600"/>
              <a:buNone/>
              <a:defRPr sz="2133"/>
            </a:lvl7pPr>
            <a:lvl8pPr lvl="7" algn="ctr" rtl="0">
              <a:spcBef>
                <a:spcPts val="0"/>
              </a:spcBef>
              <a:spcAft>
                <a:spcPts val="0"/>
              </a:spcAft>
              <a:buSzPts val="1600"/>
              <a:buNone/>
              <a:defRPr sz="2133"/>
            </a:lvl8pPr>
            <a:lvl9pPr lvl="8" algn="ctr" rtl="0">
              <a:spcBef>
                <a:spcPts val="0"/>
              </a:spcBef>
              <a:spcAft>
                <a:spcPts val="0"/>
              </a:spcAft>
              <a:buSzPts val="1600"/>
              <a:buNone/>
              <a:defRPr sz="2133"/>
            </a:lvl9pPr>
          </a:lstStyle>
          <a:p>
            <a:endParaRPr/>
          </a:p>
        </p:txBody>
      </p:sp>
      <p:sp>
        <p:nvSpPr>
          <p:cNvPr id="4422" name="Google Shape;4422;p216"/>
          <p:cNvSpPr txBox="1">
            <a:spLocks noGrp="1"/>
          </p:cNvSpPr>
          <p:nvPr>
            <p:ph type="subTitle" idx="8"/>
          </p:nvPr>
        </p:nvSpPr>
        <p:spPr>
          <a:xfrm>
            <a:off x="2090053" y="5191792"/>
            <a:ext cx="2867600" cy="5976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423" name="Google Shape;4423;p216"/>
          <p:cNvSpPr txBox="1">
            <a:spLocks noGrp="1"/>
          </p:cNvSpPr>
          <p:nvPr>
            <p:ph type="subTitle" idx="9"/>
          </p:nvPr>
        </p:nvSpPr>
        <p:spPr>
          <a:xfrm>
            <a:off x="7232667" y="5590767"/>
            <a:ext cx="2867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SzPts val="1600"/>
              <a:buNone/>
              <a:defRPr sz="2133"/>
            </a:lvl2pPr>
            <a:lvl3pPr lvl="2" algn="ctr" rtl="0">
              <a:spcBef>
                <a:spcPts val="0"/>
              </a:spcBef>
              <a:spcAft>
                <a:spcPts val="0"/>
              </a:spcAft>
              <a:buSzPts val="1600"/>
              <a:buNone/>
              <a:defRPr sz="2133"/>
            </a:lvl3pPr>
            <a:lvl4pPr lvl="3" algn="ctr" rtl="0">
              <a:spcBef>
                <a:spcPts val="0"/>
              </a:spcBef>
              <a:spcAft>
                <a:spcPts val="0"/>
              </a:spcAft>
              <a:buSzPts val="1600"/>
              <a:buNone/>
              <a:defRPr sz="2133"/>
            </a:lvl4pPr>
            <a:lvl5pPr lvl="4" algn="ctr" rtl="0">
              <a:spcBef>
                <a:spcPts val="0"/>
              </a:spcBef>
              <a:spcAft>
                <a:spcPts val="0"/>
              </a:spcAft>
              <a:buSzPts val="1600"/>
              <a:buNone/>
              <a:defRPr sz="2133"/>
            </a:lvl5pPr>
            <a:lvl6pPr lvl="5" algn="ctr" rtl="0">
              <a:spcBef>
                <a:spcPts val="0"/>
              </a:spcBef>
              <a:spcAft>
                <a:spcPts val="0"/>
              </a:spcAft>
              <a:buSzPts val="1600"/>
              <a:buNone/>
              <a:defRPr sz="2133"/>
            </a:lvl6pPr>
            <a:lvl7pPr lvl="6" algn="ctr" rtl="0">
              <a:spcBef>
                <a:spcPts val="0"/>
              </a:spcBef>
              <a:spcAft>
                <a:spcPts val="0"/>
              </a:spcAft>
              <a:buSzPts val="1600"/>
              <a:buNone/>
              <a:defRPr sz="2133"/>
            </a:lvl7pPr>
            <a:lvl8pPr lvl="7" algn="ctr" rtl="0">
              <a:spcBef>
                <a:spcPts val="0"/>
              </a:spcBef>
              <a:spcAft>
                <a:spcPts val="0"/>
              </a:spcAft>
              <a:buSzPts val="1600"/>
              <a:buNone/>
              <a:defRPr sz="2133"/>
            </a:lvl8pPr>
            <a:lvl9pPr lvl="8" algn="ctr" rtl="0">
              <a:spcBef>
                <a:spcPts val="0"/>
              </a:spcBef>
              <a:spcAft>
                <a:spcPts val="0"/>
              </a:spcAft>
              <a:buSzPts val="1600"/>
              <a:buNone/>
              <a:defRPr sz="2133"/>
            </a:lvl9pPr>
          </a:lstStyle>
          <a:p>
            <a:endParaRPr/>
          </a:p>
        </p:txBody>
      </p:sp>
      <p:sp>
        <p:nvSpPr>
          <p:cNvPr id="4424" name="Google Shape;4424;p216"/>
          <p:cNvSpPr txBox="1">
            <a:spLocks noGrp="1"/>
          </p:cNvSpPr>
          <p:nvPr>
            <p:ph type="subTitle" idx="13"/>
          </p:nvPr>
        </p:nvSpPr>
        <p:spPr>
          <a:xfrm>
            <a:off x="7232671" y="5191792"/>
            <a:ext cx="2867600" cy="5976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202746178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matchingName="82. Six dates horizontal timeline">
  <p:cSld name="82. Six dates horizontal timeline">
    <p:spTree>
      <p:nvGrpSpPr>
        <p:cNvPr id="1" name="Shape 4425"/>
        <p:cNvGrpSpPr/>
        <p:nvPr/>
      </p:nvGrpSpPr>
      <p:grpSpPr>
        <a:xfrm>
          <a:off x="0" y="0"/>
          <a:ext cx="0" cy="0"/>
          <a:chOff x="0" y="0"/>
          <a:chExt cx="0" cy="0"/>
        </a:xfrm>
      </p:grpSpPr>
      <p:grpSp>
        <p:nvGrpSpPr>
          <p:cNvPr id="4426" name="Google Shape;4426;p217"/>
          <p:cNvGrpSpPr/>
          <p:nvPr/>
        </p:nvGrpSpPr>
        <p:grpSpPr>
          <a:xfrm>
            <a:off x="2923103" y="3446304"/>
            <a:ext cx="160051" cy="1202669"/>
            <a:chOff x="8582641" y="8613180"/>
            <a:chExt cx="320100" cy="2405340"/>
          </a:xfrm>
        </p:grpSpPr>
        <p:cxnSp>
          <p:nvCxnSpPr>
            <p:cNvPr id="4427" name="Google Shape;4427;p217"/>
            <p:cNvCxnSpPr/>
            <p:nvPr/>
          </p:nvCxnSpPr>
          <p:spPr>
            <a:xfrm rot="10800000">
              <a:off x="8742721" y="8613180"/>
              <a:ext cx="0" cy="2085300"/>
            </a:xfrm>
            <a:prstGeom prst="straightConnector1">
              <a:avLst/>
            </a:prstGeom>
            <a:noFill/>
            <a:ln w="19050" cap="flat" cmpd="sng">
              <a:solidFill>
                <a:schemeClr val="dk2"/>
              </a:solidFill>
              <a:prstDash val="solid"/>
              <a:miter lim="400000"/>
              <a:headEnd type="none" w="sm" len="sm"/>
              <a:tailEnd type="none" w="sm" len="sm"/>
            </a:ln>
          </p:spPr>
        </p:cxnSp>
        <p:sp>
          <p:nvSpPr>
            <p:cNvPr id="4428" name="Google Shape;4428;p217"/>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cxnSp>
        <p:nvCxnSpPr>
          <p:cNvPr id="4429" name="Google Shape;4429;p217"/>
          <p:cNvCxnSpPr/>
          <p:nvPr/>
        </p:nvCxnSpPr>
        <p:spPr>
          <a:xfrm>
            <a:off x="952500" y="3429187"/>
            <a:ext cx="10286800" cy="0"/>
          </a:xfrm>
          <a:prstGeom prst="straightConnector1">
            <a:avLst/>
          </a:prstGeom>
          <a:noFill/>
          <a:ln w="19050" cap="flat" cmpd="sng">
            <a:solidFill>
              <a:schemeClr val="dk2"/>
            </a:solidFill>
            <a:prstDash val="solid"/>
            <a:miter lim="400000"/>
            <a:headEnd type="none" w="sm" len="sm"/>
            <a:tailEnd type="none" w="sm" len="sm"/>
          </a:ln>
        </p:spPr>
      </p:cxnSp>
      <p:sp>
        <p:nvSpPr>
          <p:cNvPr id="4430" name="Google Shape;4430;p217"/>
          <p:cNvSpPr/>
          <p:nvPr/>
        </p:nvSpPr>
        <p:spPr>
          <a:xfrm>
            <a:off x="2609849" y="3029137"/>
            <a:ext cx="800000" cy="800000"/>
          </a:xfrm>
          <a:prstGeom prst="ellipse">
            <a:avLst/>
          </a:prstGeom>
          <a:solidFill>
            <a:srgbClr val="090C0F"/>
          </a:solid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431" name="Google Shape;4431;p217"/>
          <p:cNvGrpSpPr/>
          <p:nvPr/>
        </p:nvGrpSpPr>
        <p:grpSpPr>
          <a:xfrm rot="10800000" flipH="1">
            <a:off x="9102060" y="2249179"/>
            <a:ext cx="160051" cy="1202669"/>
            <a:chOff x="8582641" y="8613180"/>
            <a:chExt cx="320100" cy="2405340"/>
          </a:xfrm>
        </p:grpSpPr>
        <p:cxnSp>
          <p:nvCxnSpPr>
            <p:cNvPr id="4432" name="Google Shape;4432;p217"/>
            <p:cNvCxnSpPr/>
            <p:nvPr/>
          </p:nvCxnSpPr>
          <p:spPr>
            <a:xfrm rot="10800000">
              <a:off x="8742721" y="8613180"/>
              <a:ext cx="0" cy="2085300"/>
            </a:xfrm>
            <a:prstGeom prst="straightConnector1">
              <a:avLst/>
            </a:prstGeom>
            <a:noFill/>
            <a:ln w="19050" cap="flat" cmpd="sng">
              <a:solidFill>
                <a:schemeClr val="dk2"/>
              </a:solidFill>
              <a:prstDash val="solid"/>
              <a:miter lim="400000"/>
              <a:headEnd type="none" w="sm" len="sm"/>
              <a:tailEnd type="none" w="sm" len="sm"/>
            </a:ln>
          </p:spPr>
        </p:cxnSp>
        <p:sp>
          <p:nvSpPr>
            <p:cNvPr id="4433" name="Google Shape;4433;p217"/>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sp>
        <p:nvSpPr>
          <p:cNvPr id="4434" name="Google Shape;4434;p217"/>
          <p:cNvSpPr/>
          <p:nvPr/>
        </p:nvSpPr>
        <p:spPr>
          <a:xfrm>
            <a:off x="8782049" y="3029137"/>
            <a:ext cx="800000" cy="800000"/>
          </a:xfrm>
          <a:prstGeom prst="ellipse">
            <a:avLst/>
          </a:prstGeom>
          <a:solidFill>
            <a:srgbClr val="090C0F"/>
          </a:solidFill>
          <a:ln w="19050" cap="flat" cmpd="sng">
            <a:solidFill>
              <a:srgbClr val="1158C7"/>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435" name="Google Shape;4435;p217"/>
          <p:cNvGrpSpPr/>
          <p:nvPr/>
        </p:nvGrpSpPr>
        <p:grpSpPr>
          <a:xfrm>
            <a:off x="7046585" y="3420091"/>
            <a:ext cx="160051" cy="1202669"/>
            <a:chOff x="8582641" y="8613180"/>
            <a:chExt cx="320100" cy="2405340"/>
          </a:xfrm>
        </p:grpSpPr>
        <p:cxnSp>
          <p:nvCxnSpPr>
            <p:cNvPr id="4436" name="Google Shape;4436;p217"/>
            <p:cNvCxnSpPr/>
            <p:nvPr/>
          </p:nvCxnSpPr>
          <p:spPr>
            <a:xfrm rot="10800000">
              <a:off x="8742721" y="8613180"/>
              <a:ext cx="0" cy="2085300"/>
            </a:xfrm>
            <a:prstGeom prst="straightConnector1">
              <a:avLst/>
            </a:prstGeom>
            <a:noFill/>
            <a:ln w="19050" cap="flat" cmpd="sng">
              <a:solidFill>
                <a:schemeClr val="dk2"/>
              </a:solidFill>
              <a:prstDash val="solid"/>
              <a:miter lim="400000"/>
              <a:headEnd type="none" w="sm" len="sm"/>
              <a:tailEnd type="none" w="sm" len="sm"/>
            </a:ln>
          </p:spPr>
        </p:cxnSp>
        <p:sp>
          <p:nvSpPr>
            <p:cNvPr id="4437" name="Google Shape;4437;p217"/>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sp>
        <p:nvSpPr>
          <p:cNvPr id="4438" name="Google Shape;4438;p217"/>
          <p:cNvSpPr/>
          <p:nvPr/>
        </p:nvSpPr>
        <p:spPr>
          <a:xfrm>
            <a:off x="6724649" y="3029137"/>
            <a:ext cx="800000" cy="800000"/>
          </a:xfrm>
          <a:prstGeom prst="ellipse">
            <a:avLst/>
          </a:prstGeom>
          <a:solidFill>
            <a:srgbClr val="090C0F"/>
          </a:solidFill>
          <a:ln w="19050" cap="flat" cmpd="sng">
            <a:solidFill>
              <a:srgbClr val="2EA04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439" name="Google Shape;4439;p217"/>
          <p:cNvGrpSpPr/>
          <p:nvPr/>
        </p:nvGrpSpPr>
        <p:grpSpPr>
          <a:xfrm rot="10800000" flipH="1">
            <a:off x="4982836" y="2222964"/>
            <a:ext cx="160049" cy="1202669"/>
            <a:chOff x="8582641" y="8613180"/>
            <a:chExt cx="320100" cy="2405340"/>
          </a:xfrm>
        </p:grpSpPr>
        <p:cxnSp>
          <p:nvCxnSpPr>
            <p:cNvPr id="4440" name="Google Shape;4440;p217"/>
            <p:cNvCxnSpPr/>
            <p:nvPr/>
          </p:nvCxnSpPr>
          <p:spPr>
            <a:xfrm rot="10800000">
              <a:off x="8742721" y="8613180"/>
              <a:ext cx="0" cy="2085300"/>
            </a:xfrm>
            <a:prstGeom prst="straightConnector1">
              <a:avLst/>
            </a:prstGeom>
            <a:noFill/>
            <a:ln w="19050" cap="flat" cmpd="sng">
              <a:solidFill>
                <a:schemeClr val="dk2"/>
              </a:solidFill>
              <a:prstDash val="solid"/>
              <a:miter lim="400000"/>
              <a:headEnd type="none" w="sm" len="sm"/>
              <a:tailEnd type="none" w="sm" len="sm"/>
            </a:ln>
          </p:spPr>
        </p:cxnSp>
        <p:sp>
          <p:nvSpPr>
            <p:cNvPr id="4441" name="Google Shape;4441;p217"/>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sp>
        <p:nvSpPr>
          <p:cNvPr id="4442" name="Google Shape;4442;p217"/>
          <p:cNvSpPr/>
          <p:nvPr/>
        </p:nvSpPr>
        <p:spPr>
          <a:xfrm>
            <a:off x="4667249" y="3029137"/>
            <a:ext cx="800000" cy="800000"/>
          </a:xfrm>
          <a:prstGeom prst="ellipse">
            <a:avLst/>
          </a:prstGeom>
          <a:solidFill>
            <a:srgbClr val="090C0F"/>
          </a:solid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443" name="Google Shape;4443;p217"/>
          <p:cNvGrpSpPr/>
          <p:nvPr/>
        </p:nvGrpSpPr>
        <p:grpSpPr>
          <a:xfrm>
            <a:off x="952531" y="1112524"/>
            <a:ext cx="342900" cy="1908811"/>
            <a:chOff x="1880997" y="2193885"/>
            <a:chExt cx="685800" cy="3817620"/>
          </a:xfrm>
        </p:grpSpPr>
        <p:cxnSp>
          <p:nvCxnSpPr>
            <p:cNvPr id="4444" name="Google Shape;4444;p217"/>
            <p:cNvCxnSpPr/>
            <p:nvPr/>
          </p:nvCxnSpPr>
          <p:spPr>
            <a:xfrm rot="5400000">
              <a:off x="76200" y="4182705"/>
              <a:ext cx="3657600" cy="0"/>
            </a:xfrm>
            <a:prstGeom prst="straightConnector1">
              <a:avLst/>
            </a:prstGeom>
            <a:noFill/>
            <a:ln w="19050" cap="flat" cmpd="sng">
              <a:solidFill>
                <a:schemeClr val="dk2"/>
              </a:solidFill>
              <a:prstDash val="solid"/>
              <a:miter lim="400000"/>
              <a:headEnd type="none" w="sm" len="sm"/>
              <a:tailEnd type="none" w="sm" len="sm"/>
            </a:ln>
          </p:spPr>
        </p:cxnSp>
        <p:sp>
          <p:nvSpPr>
            <p:cNvPr id="4445" name="Google Shape;4445;p217"/>
            <p:cNvSpPr/>
            <p:nvPr/>
          </p:nvSpPr>
          <p:spPr>
            <a:xfrm>
              <a:off x="2246697" y="2193885"/>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cxnSp>
          <p:nvCxnSpPr>
            <p:cNvPr id="4446" name="Google Shape;4446;p217"/>
            <p:cNvCxnSpPr/>
            <p:nvPr/>
          </p:nvCxnSpPr>
          <p:spPr>
            <a:xfrm rot="10800000">
              <a:off x="1880997" y="2355483"/>
              <a:ext cx="365700" cy="0"/>
            </a:xfrm>
            <a:prstGeom prst="straightConnector1">
              <a:avLst/>
            </a:prstGeom>
            <a:noFill/>
            <a:ln w="19050" cap="flat" cmpd="sng">
              <a:solidFill>
                <a:schemeClr val="dk2"/>
              </a:solidFill>
              <a:prstDash val="solid"/>
              <a:miter lim="400000"/>
              <a:headEnd type="none" w="sm" len="sm"/>
              <a:tailEnd type="none" w="sm" len="sm"/>
            </a:ln>
          </p:spPr>
        </p:cxnSp>
      </p:grpSp>
      <p:sp>
        <p:nvSpPr>
          <p:cNvPr id="4447" name="Google Shape;4447;p217"/>
          <p:cNvSpPr/>
          <p:nvPr/>
        </p:nvSpPr>
        <p:spPr>
          <a:xfrm>
            <a:off x="569595" y="3029137"/>
            <a:ext cx="800000" cy="8000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448" name="Google Shape;4448;p217"/>
          <p:cNvGrpSpPr/>
          <p:nvPr/>
        </p:nvGrpSpPr>
        <p:grpSpPr>
          <a:xfrm rot="10800000">
            <a:off x="10920634" y="3750481"/>
            <a:ext cx="342900" cy="2010960"/>
            <a:chOff x="1880997" y="2193885"/>
            <a:chExt cx="685800" cy="4021920"/>
          </a:xfrm>
        </p:grpSpPr>
        <p:cxnSp>
          <p:nvCxnSpPr>
            <p:cNvPr id="4449" name="Google Shape;4449;p217"/>
            <p:cNvCxnSpPr/>
            <p:nvPr/>
          </p:nvCxnSpPr>
          <p:spPr>
            <a:xfrm>
              <a:off x="1905000" y="2353905"/>
              <a:ext cx="0" cy="3861900"/>
            </a:xfrm>
            <a:prstGeom prst="straightConnector1">
              <a:avLst/>
            </a:prstGeom>
            <a:noFill/>
            <a:ln w="19050" cap="flat" cmpd="sng">
              <a:solidFill>
                <a:schemeClr val="dk2"/>
              </a:solidFill>
              <a:prstDash val="solid"/>
              <a:miter lim="400000"/>
              <a:headEnd type="none" w="sm" len="sm"/>
              <a:tailEnd type="none" w="sm" len="sm"/>
            </a:ln>
          </p:spPr>
        </p:cxnSp>
        <p:sp>
          <p:nvSpPr>
            <p:cNvPr id="4450" name="Google Shape;4450;p217"/>
            <p:cNvSpPr/>
            <p:nvPr/>
          </p:nvSpPr>
          <p:spPr>
            <a:xfrm>
              <a:off x="2246697" y="2193885"/>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cxnSp>
          <p:nvCxnSpPr>
            <p:cNvPr id="4451" name="Google Shape;4451;p217"/>
            <p:cNvCxnSpPr/>
            <p:nvPr/>
          </p:nvCxnSpPr>
          <p:spPr>
            <a:xfrm rot="10800000">
              <a:off x="1880997" y="2355483"/>
              <a:ext cx="365700" cy="0"/>
            </a:xfrm>
            <a:prstGeom prst="straightConnector1">
              <a:avLst/>
            </a:prstGeom>
            <a:noFill/>
            <a:ln w="19050" cap="flat" cmpd="sng">
              <a:solidFill>
                <a:schemeClr val="dk2"/>
              </a:solidFill>
              <a:prstDash val="solid"/>
              <a:miter lim="400000"/>
              <a:headEnd type="none" w="sm" len="sm"/>
              <a:tailEnd type="none" w="sm" len="sm"/>
            </a:ln>
          </p:spPr>
        </p:cxnSp>
      </p:grpSp>
      <p:sp>
        <p:nvSpPr>
          <p:cNvPr id="4452" name="Google Shape;4452;p217"/>
          <p:cNvSpPr/>
          <p:nvPr/>
        </p:nvSpPr>
        <p:spPr>
          <a:xfrm>
            <a:off x="10856595" y="3029137"/>
            <a:ext cx="800000" cy="800000"/>
          </a:xfrm>
          <a:prstGeom prst="ellipse">
            <a:avLst/>
          </a:prstGeom>
          <a:solidFill>
            <a:srgbClr val="090C0F"/>
          </a:solidFill>
          <a:ln w="50800" cap="flat" cmpd="sng">
            <a:solidFill>
              <a:srgbClr val="6E40C9"/>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453" name="Google Shape;4453;p217"/>
          <p:cNvGrpSpPr/>
          <p:nvPr/>
        </p:nvGrpSpPr>
        <p:grpSpPr>
          <a:xfrm>
            <a:off x="12253600" y="1"/>
            <a:ext cx="3438989" cy="3424452"/>
            <a:chOff x="22170399" y="777240"/>
            <a:chExt cx="6877978" cy="6848903"/>
          </a:xfrm>
        </p:grpSpPr>
        <p:grpSp>
          <p:nvGrpSpPr>
            <p:cNvPr id="4454" name="Google Shape;4454;p217"/>
            <p:cNvGrpSpPr/>
            <p:nvPr/>
          </p:nvGrpSpPr>
          <p:grpSpPr>
            <a:xfrm>
              <a:off x="22170399" y="777240"/>
              <a:ext cx="6877978" cy="6848903"/>
              <a:chOff x="22155159" y="0"/>
              <a:chExt cx="6877978" cy="6848903"/>
            </a:xfrm>
          </p:grpSpPr>
          <p:sp>
            <p:nvSpPr>
              <p:cNvPr id="4455" name="Google Shape;4455;p217"/>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456" name="Google Shape;4456;p217"/>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457" name="Google Shape;4457;p217"/>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458" name="Google Shape;4458;p217"/>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459" name="Google Shape;4459;p217"/>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460" name="Google Shape;4460;p217"/>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461" name="Google Shape;4461;p217"/>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462" name="Google Shape;4462;p217"/>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463" name="Google Shape;4463;p217"/>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464" name="Google Shape;4464;p217"/>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465" name="Google Shape;4465;p217"/>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466" name="Google Shape;4466;p217"/>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467" name="Google Shape;4467;p217"/>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468" name="Google Shape;4468;p217"/>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469" name="Google Shape;4469;p217"/>
          <p:cNvSpPr txBox="1">
            <a:spLocks noGrp="1"/>
          </p:cNvSpPr>
          <p:nvPr>
            <p:ph type="subTitle" idx="1"/>
          </p:nvPr>
        </p:nvSpPr>
        <p:spPr>
          <a:xfrm>
            <a:off x="1382333" y="880601"/>
            <a:ext cx="24356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470" name="Google Shape;4470;p217"/>
          <p:cNvSpPr txBox="1">
            <a:spLocks noGrp="1"/>
          </p:cNvSpPr>
          <p:nvPr>
            <p:ph type="subTitle" idx="2"/>
          </p:nvPr>
        </p:nvSpPr>
        <p:spPr>
          <a:xfrm>
            <a:off x="1382337" y="481633"/>
            <a:ext cx="24356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471" name="Google Shape;4471;p217"/>
          <p:cNvSpPr txBox="1">
            <a:spLocks noGrp="1"/>
          </p:cNvSpPr>
          <p:nvPr>
            <p:ph type="subTitle" idx="3"/>
          </p:nvPr>
        </p:nvSpPr>
        <p:spPr>
          <a:xfrm>
            <a:off x="3845084" y="880601"/>
            <a:ext cx="2435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SzPts val="1600"/>
              <a:buNone/>
              <a:defRPr sz="2133"/>
            </a:lvl2pPr>
            <a:lvl3pPr lvl="2" algn="ctr" rtl="0">
              <a:spcBef>
                <a:spcPts val="0"/>
              </a:spcBef>
              <a:spcAft>
                <a:spcPts val="0"/>
              </a:spcAft>
              <a:buSzPts val="1600"/>
              <a:buNone/>
              <a:defRPr sz="2133"/>
            </a:lvl3pPr>
            <a:lvl4pPr lvl="3" algn="ctr" rtl="0">
              <a:spcBef>
                <a:spcPts val="0"/>
              </a:spcBef>
              <a:spcAft>
                <a:spcPts val="0"/>
              </a:spcAft>
              <a:buSzPts val="1600"/>
              <a:buNone/>
              <a:defRPr sz="2133"/>
            </a:lvl4pPr>
            <a:lvl5pPr lvl="4" algn="ctr" rtl="0">
              <a:spcBef>
                <a:spcPts val="0"/>
              </a:spcBef>
              <a:spcAft>
                <a:spcPts val="0"/>
              </a:spcAft>
              <a:buSzPts val="1600"/>
              <a:buNone/>
              <a:defRPr sz="2133"/>
            </a:lvl5pPr>
            <a:lvl6pPr lvl="5" algn="ctr" rtl="0">
              <a:spcBef>
                <a:spcPts val="0"/>
              </a:spcBef>
              <a:spcAft>
                <a:spcPts val="0"/>
              </a:spcAft>
              <a:buSzPts val="1600"/>
              <a:buNone/>
              <a:defRPr sz="2133"/>
            </a:lvl6pPr>
            <a:lvl7pPr lvl="6" algn="ctr" rtl="0">
              <a:spcBef>
                <a:spcPts val="0"/>
              </a:spcBef>
              <a:spcAft>
                <a:spcPts val="0"/>
              </a:spcAft>
              <a:buSzPts val="1600"/>
              <a:buNone/>
              <a:defRPr sz="2133"/>
            </a:lvl7pPr>
            <a:lvl8pPr lvl="7" algn="ctr" rtl="0">
              <a:spcBef>
                <a:spcPts val="0"/>
              </a:spcBef>
              <a:spcAft>
                <a:spcPts val="0"/>
              </a:spcAft>
              <a:buSzPts val="1600"/>
              <a:buNone/>
              <a:defRPr sz="2133"/>
            </a:lvl8pPr>
            <a:lvl9pPr lvl="8" algn="ctr" rtl="0">
              <a:spcBef>
                <a:spcPts val="0"/>
              </a:spcBef>
              <a:spcAft>
                <a:spcPts val="0"/>
              </a:spcAft>
              <a:buSzPts val="1600"/>
              <a:buNone/>
              <a:defRPr sz="2133"/>
            </a:lvl9pPr>
          </a:lstStyle>
          <a:p>
            <a:endParaRPr/>
          </a:p>
        </p:txBody>
      </p:sp>
      <p:sp>
        <p:nvSpPr>
          <p:cNvPr id="4472" name="Google Shape;4472;p217"/>
          <p:cNvSpPr txBox="1">
            <a:spLocks noGrp="1"/>
          </p:cNvSpPr>
          <p:nvPr>
            <p:ph type="subTitle" idx="4"/>
          </p:nvPr>
        </p:nvSpPr>
        <p:spPr>
          <a:xfrm>
            <a:off x="3845087" y="481633"/>
            <a:ext cx="2435600" cy="5976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473" name="Google Shape;4473;p217"/>
          <p:cNvSpPr txBox="1">
            <a:spLocks noGrp="1"/>
          </p:cNvSpPr>
          <p:nvPr>
            <p:ph type="subTitle" idx="5"/>
          </p:nvPr>
        </p:nvSpPr>
        <p:spPr>
          <a:xfrm>
            <a:off x="7964217" y="880601"/>
            <a:ext cx="2435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SzPts val="1600"/>
              <a:buNone/>
              <a:defRPr sz="2133"/>
            </a:lvl2pPr>
            <a:lvl3pPr lvl="2" algn="ctr" rtl="0">
              <a:spcBef>
                <a:spcPts val="0"/>
              </a:spcBef>
              <a:spcAft>
                <a:spcPts val="0"/>
              </a:spcAft>
              <a:buSzPts val="1600"/>
              <a:buNone/>
              <a:defRPr sz="2133"/>
            </a:lvl3pPr>
            <a:lvl4pPr lvl="3" algn="ctr" rtl="0">
              <a:spcBef>
                <a:spcPts val="0"/>
              </a:spcBef>
              <a:spcAft>
                <a:spcPts val="0"/>
              </a:spcAft>
              <a:buSzPts val="1600"/>
              <a:buNone/>
              <a:defRPr sz="2133"/>
            </a:lvl4pPr>
            <a:lvl5pPr lvl="4" algn="ctr" rtl="0">
              <a:spcBef>
                <a:spcPts val="0"/>
              </a:spcBef>
              <a:spcAft>
                <a:spcPts val="0"/>
              </a:spcAft>
              <a:buSzPts val="1600"/>
              <a:buNone/>
              <a:defRPr sz="2133"/>
            </a:lvl5pPr>
            <a:lvl6pPr lvl="5" algn="ctr" rtl="0">
              <a:spcBef>
                <a:spcPts val="0"/>
              </a:spcBef>
              <a:spcAft>
                <a:spcPts val="0"/>
              </a:spcAft>
              <a:buSzPts val="1600"/>
              <a:buNone/>
              <a:defRPr sz="2133"/>
            </a:lvl6pPr>
            <a:lvl7pPr lvl="6" algn="ctr" rtl="0">
              <a:spcBef>
                <a:spcPts val="0"/>
              </a:spcBef>
              <a:spcAft>
                <a:spcPts val="0"/>
              </a:spcAft>
              <a:buSzPts val="1600"/>
              <a:buNone/>
              <a:defRPr sz="2133"/>
            </a:lvl7pPr>
            <a:lvl8pPr lvl="7" algn="ctr" rtl="0">
              <a:spcBef>
                <a:spcPts val="0"/>
              </a:spcBef>
              <a:spcAft>
                <a:spcPts val="0"/>
              </a:spcAft>
              <a:buSzPts val="1600"/>
              <a:buNone/>
              <a:defRPr sz="2133"/>
            </a:lvl8pPr>
            <a:lvl9pPr lvl="8" algn="ctr" rtl="0">
              <a:spcBef>
                <a:spcPts val="0"/>
              </a:spcBef>
              <a:spcAft>
                <a:spcPts val="0"/>
              </a:spcAft>
              <a:buSzPts val="1600"/>
              <a:buNone/>
              <a:defRPr sz="2133"/>
            </a:lvl9pPr>
          </a:lstStyle>
          <a:p>
            <a:endParaRPr/>
          </a:p>
        </p:txBody>
      </p:sp>
      <p:sp>
        <p:nvSpPr>
          <p:cNvPr id="4474" name="Google Shape;4474;p217"/>
          <p:cNvSpPr txBox="1">
            <a:spLocks noGrp="1"/>
          </p:cNvSpPr>
          <p:nvPr>
            <p:ph type="subTitle" idx="6"/>
          </p:nvPr>
        </p:nvSpPr>
        <p:spPr>
          <a:xfrm>
            <a:off x="7964220" y="481633"/>
            <a:ext cx="2435600" cy="5976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475" name="Google Shape;4475;p217"/>
          <p:cNvSpPr txBox="1">
            <a:spLocks noGrp="1"/>
          </p:cNvSpPr>
          <p:nvPr>
            <p:ph type="subTitle" idx="7"/>
          </p:nvPr>
        </p:nvSpPr>
        <p:spPr>
          <a:xfrm>
            <a:off x="1785500" y="5144301"/>
            <a:ext cx="2435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SzPts val="1600"/>
              <a:buNone/>
              <a:defRPr sz="2133"/>
            </a:lvl2pPr>
            <a:lvl3pPr lvl="2" algn="ctr" rtl="0">
              <a:spcBef>
                <a:spcPts val="0"/>
              </a:spcBef>
              <a:spcAft>
                <a:spcPts val="0"/>
              </a:spcAft>
              <a:buSzPts val="1600"/>
              <a:buNone/>
              <a:defRPr sz="2133"/>
            </a:lvl3pPr>
            <a:lvl4pPr lvl="3" algn="ctr" rtl="0">
              <a:spcBef>
                <a:spcPts val="0"/>
              </a:spcBef>
              <a:spcAft>
                <a:spcPts val="0"/>
              </a:spcAft>
              <a:buSzPts val="1600"/>
              <a:buNone/>
              <a:defRPr sz="2133"/>
            </a:lvl4pPr>
            <a:lvl5pPr lvl="4" algn="ctr" rtl="0">
              <a:spcBef>
                <a:spcPts val="0"/>
              </a:spcBef>
              <a:spcAft>
                <a:spcPts val="0"/>
              </a:spcAft>
              <a:buSzPts val="1600"/>
              <a:buNone/>
              <a:defRPr sz="2133"/>
            </a:lvl5pPr>
            <a:lvl6pPr lvl="5" algn="ctr" rtl="0">
              <a:spcBef>
                <a:spcPts val="0"/>
              </a:spcBef>
              <a:spcAft>
                <a:spcPts val="0"/>
              </a:spcAft>
              <a:buSzPts val="1600"/>
              <a:buNone/>
              <a:defRPr sz="2133"/>
            </a:lvl6pPr>
            <a:lvl7pPr lvl="6" algn="ctr" rtl="0">
              <a:spcBef>
                <a:spcPts val="0"/>
              </a:spcBef>
              <a:spcAft>
                <a:spcPts val="0"/>
              </a:spcAft>
              <a:buSzPts val="1600"/>
              <a:buNone/>
              <a:defRPr sz="2133"/>
            </a:lvl7pPr>
            <a:lvl8pPr lvl="7" algn="ctr" rtl="0">
              <a:spcBef>
                <a:spcPts val="0"/>
              </a:spcBef>
              <a:spcAft>
                <a:spcPts val="0"/>
              </a:spcAft>
              <a:buSzPts val="1600"/>
              <a:buNone/>
              <a:defRPr sz="2133"/>
            </a:lvl8pPr>
            <a:lvl9pPr lvl="8" algn="ctr" rtl="0">
              <a:spcBef>
                <a:spcPts val="0"/>
              </a:spcBef>
              <a:spcAft>
                <a:spcPts val="0"/>
              </a:spcAft>
              <a:buSzPts val="1600"/>
              <a:buNone/>
              <a:defRPr sz="2133"/>
            </a:lvl9pPr>
          </a:lstStyle>
          <a:p>
            <a:endParaRPr/>
          </a:p>
        </p:txBody>
      </p:sp>
      <p:sp>
        <p:nvSpPr>
          <p:cNvPr id="4476" name="Google Shape;4476;p217"/>
          <p:cNvSpPr txBox="1">
            <a:spLocks noGrp="1"/>
          </p:cNvSpPr>
          <p:nvPr>
            <p:ph type="subTitle" idx="8"/>
          </p:nvPr>
        </p:nvSpPr>
        <p:spPr>
          <a:xfrm>
            <a:off x="1785504" y="4745333"/>
            <a:ext cx="2435600" cy="5976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477" name="Google Shape;4477;p217"/>
          <p:cNvSpPr txBox="1">
            <a:spLocks noGrp="1"/>
          </p:cNvSpPr>
          <p:nvPr>
            <p:ph type="subTitle" idx="9"/>
          </p:nvPr>
        </p:nvSpPr>
        <p:spPr>
          <a:xfrm>
            <a:off x="5904633" y="5144301"/>
            <a:ext cx="2435600" cy="329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lt1"/>
              </a:buClr>
              <a:buSzPts val="1600"/>
              <a:buNone/>
              <a:defRPr sz="2133">
                <a:solidFill>
                  <a:schemeClr val="lt1"/>
                </a:solidFill>
              </a:defRPr>
            </a:lvl1pPr>
            <a:lvl2pPr lvl="1" algn="ctr" rtl="0">
              <a:spcBef>
                <a:spcPts val="0"/>
              </a:spcBef>
              <a:spcAft>
                <a:spcPts val="0"/>
              </a:spcAft>
              <a:buSzPts val="1600"/>
              <a:buNone/>
              <a:defRPr sz="2133"/>
            </a:lvl2pPr>
            <a:lvl3pPr lvl="2" algn="ctr" rtl="0">
              <a:spcBef>
                <a:spcPts val="0"/>
              </a:spcBef>
              <a:spcAft>
                <a:spcPts val="0"/>
              </a:spcAft>
              <a:buSzPts val="1600"/>
              <a:buNone/>
              <a:defRPr sz="2133"/>
            </a:lvl3pPr>
            <a:lvl4pPr lvl="3" algn="ctr" rtl="0">
              <a:spcBef>
                <a:spcPts val="0"/>
              </a:spcBef>
              <a:spcAft>
                <a:spcPts val="0"/>
              </a:spcAft>
              <a:buSzPts val="1600"/>
              <a:buNone/>
              <a:defRPr sz="2133"/>
            </a:lvl4pPr>
            <a:lvl5pPr lvl="4" algn="ctr" rtl="0">
              <a:spcBef>
                <a:spcPts val="0"/>
              </a:spcBef>
              <a:spcAft>
                <a:spcPts val="0"/>
              </a:spcAft>
              <a:buSzPts val="1600"/>
              <a:buNone/>
              <a:defRPr sz="2133"/>
            </a:lvl5pPr>
            <a:lvl6pPr lvl="5" algn="ctr" rtl="0">
              <a:spcBef>
                <a:spcPts val="0"/>
              </a:spcBef>
              <a:spcAft>
                <a:spcPts val="0"/>
              </a:spcAft>
              <a:buSzPts val="1600"/>
              <a:buNone/>
              <a:defRPr sz="2133"/>
            </a:lvl6pPr>
            <a:lvl7pPr lvl="6" algn="ctr" rtl="0">
              <a:spcBef>
                <a:spcPts val="0"/>
              </a:spcBef>
              <a:spcAft>
                <a:spcPts val="0"/>
              </a:spcAft>
              <a:buSzPts val="1600"/>
              <a:buNone/>
              <a:defRPr sz="2133"/>
            </a:lvl7pPr>
            <a:lvl8pPr lvl="7" algn="ctr" rtl="0">
              <a:spcBef>
                <a:spcPts val="0"/>
              </a:spcBef>
              <a:spcAft>
                <a:spcPts val="0"/>
              </a:spcAft>
              <a:buSzPts val="1600"/>
              <a:buNone/>
              <a:defRPr sz="2133"/>
            </a:lvl8pPr>
            <a:lvl9pPr lvl="8" algn="ctr" rtl="0">
              <a:spcBef>
                <a:spcPts val="0"/>
              </a:spcBef>
              <a:spcAft>
                <a:spcPts val="0"/>
              </a:spcAft>
              <a:buSzPts val="1600"/>
              <a:buNone/>
              <a:defRPr sz="2133"/>
            </a:lvl9pPr>
          </a:lstStyle>
          <a:p>
            <a:endParaRPr/>
          </a:p>
        </p:txBody>
      </p:sp>
      <p:sp>
        <p:nvSpPr>
          <p:cNvPr id="4478" name="Google Shape;4478;p217"/>
          <p:cNvSpPr txBox="1">
            <a:spLocks noGrp="1"/>
          </p:cNvSpPr>
          <p:nvPr>
            <p:ph type="subTitle" idx="13"/>
          </p:nvPr>
        </p:nvSpPr>
        <p:spPr>
          <a:xfrm>
            <a:off x="5904637" y="4745333"/>
            <a:ext cx="2435600" cy="5976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ct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479" name="Google Shape;4479;p217"/>
          <p:cNvSpPr txBox="1">
            <a:spLocks noGrp="1"/>
          </p:cNvSpPr>
          <p:nvPr>
            <p:ph type="subTitle" idx="14"/>
          </p:nvPr>
        </p:nvSpPr>
        <p:spPr>
          <a:xfrm>
            <a:off x="8412651" y="5149535"/>
            <a:ext cx="24356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480" name="Google Shape;4480;p217"/>
          <p:cNvSpPr txBox="1">
            <a:spLocks noGrp="1"/>
          </p:cNvSpPr>
          <p:nvPr>
            <p:ph type="subTitle" idx="15"/>
          </p:nvPr>
        </p:nvSpPr>
        <p:spPr>
          <a:xfrm>
            <a:off x="8412653" y="4750567"/>
            <a:ext cx="24356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46829393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matchingName="83. Three dates vertical timeline">
  <p:cSld name="83. Three dates vertical timeline">
    <p:spTree>
      <p:nvGrpSpPr>
        <p:cNvPr id="1" name="Shape 4481"/>
        <p:cNvGrpSpPr/>
        <p:nvPr/>
      </p:nvGrpSpPr>
      <p:grpSpPr>
        <a:xfrm>
          <a:off x="0" y="0"/>
          <a:ext cx="0" cy="0"/>
          <a:chOff x="0" y="0"/>
          <a:chExt cx="0" cy="0"/>
        </a:xfrm>
      </p:grpSpPr>
      <p:grpSp>
        <p:nvGrpSpPr>
          <p:cNvPr id="4482" name="Google Shape;4482;p218"/>
          <p:cNvGrpSpPr/>
          <p:nvPr/>
        </p:nvGrpSpPr>
        <p:grpSpPr>
          <a:xfrm rot="-5400000">
            <a:off x="7021377" y="3898216"/>
            <a:ext cx="160051" cy="1993169"/>
            <a:chOff x="8582641" y="7032180"/>
            <a:chExt cx="320100" cy="3986340"/>
          </a:xfrm>
        </p:grpSpPr>
        <p:cxnSp>
          <p:nvCxnSpPr>
            <p:cNvPr id="4483" name="Google Shape;4483;p218"/>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484" name="Google Shape;4484;p218"/>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485" name="Google Shape;4485;p218"/>
          <p:cNvGrpSpPr/>
          <p:nvPr/>
        </p:nvGrpSpPr>
        <p:grpSpPr>
          <a:xfrm rot="5400000" flipH="1">
            <a:off x="5014384" y="1996822"/>
            <a:ext cx="160049" cy="1993169"/>
            <a:chOff x="8582641" y="7032180"/>
            <a:chExt cx="320100" cy="3986340"/>
          </a:xfrm>
        </p:grpSpPr>
        <p:cxnSp>
          <p:nvCxnSpPr>
            <p:cNvPr id="4486" name="Google Shape;4486;p218"/>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487" name="Google Shape;4487;p218"/>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cxnSp>
        <p:nvCxnSpPr>
          <p:cNvPr id="4488" name="Google Shape;4488;p218"/>
          <p:cNvCxnSpPr>
            <a:endCxn id="4489" idx="4"/>
          </p:cNvCxnSpPr>
          <p:nvPr/>
        </p:nvCxnSpPr>
        <p:spPr>
          <a:xfrm>
            <a:off x="6105541" y="29"/>
            <a:ext cx="0" cy="5224400"/>
          </a:xfrm>
          <a:prstGeom prst="straightConnector1">
            <a:avLst/>
          </a:prstGeom>
          <a:noFill/>
          <a:ln w="19050" cap="flat" cmpd="sng">
            <a:solidFill>
              <a:schemeClr val="dk2"/>
            </a:solidFill>
            <a:prstDash val="solid"/>
            <a:miter lim="400000"/>
            <a:headEnd type="none" w="sm" len="sm"/>
            <a:tailEnd type="none" w="sm" len="sm"/>
          </a:ln>
        </p:spPr>
      </p:cxnSp>
      <p:grpSp>
        <p:nvGrpSpPr>
          <p:cNvPr id="4490" name="Google Shape;4490;p218"/>
          <p:cNvGrpSpPr/>
          <p:nvPr/>
        </p:nvGrpSpPr>
        <p:grpSpPr>
          <a:xfrm rot="-5400000">
            <a:off x="7017569" y="95156"/>
            <a:ext cx="160049" cy="1993169"/>
            <a:chOff x="8582641" y="7032180"/>
            <a:chExt cx="320100" cy="3986340"/>
          </a:xfrm>
        </p:grpSpPr>
        <p:cxnSp>
          <p:nvCxnSpPr>
            <p:cNvPr id="4491" name="Google Shape;4491;p218"/>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492" name="Google Shape;4492;p218"/>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sp>
        <p:nvSpPr>
          <p:cNvPr id="4493" name="Google Shape;4493;p218"/>
          <p:cNvSpPr/>
          <p:nvPr/>
        </p:nvSpPr>
        <p:spPr>
          <a:xfrm>
            <a:off x="5739741" y="2591436"/>
            <a:ext cx="731600" cy="7316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489" name="Google Shape;4489;p218"/>
          <p:cNvSpPr/>
          <p:nvPr/>
        </p:nvSpPr>
        <p:spPr>
          <a:xfrm>
            <a:off x="5739741" y="4492829"/>
            <a:ext cx="731600" cy="7316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494" name="Google Shape;4494;p218"/>
          <p:cNvSpPr/>
          <p:nvPr/>
        </p:nvSpPr>
        <p:spPr>
          <a:xfrm>
            <a:off x="5739741" y="690037"/>
            <a:ext cx="7316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495" name="Google Shape;4495;p218"/>
          <p:cNvGrpSpPr/>
          <p:nvPr/>
        </p:nvGrpSpPr>
        <p:grpSpPr>
          <a:xfrm>
            <a:off x="12253600" y="1"/>
            <a:ext cx="3438989" cy="3424452"/>
            <a:chOff x="22170399" y="777240"/>
            <a:chExt cx="6877978" cy="6848903"/>
          </a:xfrm>
        </p:grpSpPr>
        <p:grpSp>
          <p:nvGrpSpPr>
            <p:cNvPr id="4496" name="Google Shape;4496;p218"/>
            <p:cNvGrpSpPr/>
            <p:nvPr/>
          </p:nvGrpSpPr>
          <p:grpSpPr>
            <a:xfrm>
              <a:off x="22170399" y="777240"/>
              <a:ext cx="6877978" cy="6848903"/>
              <a:chOff x="22155159" y="0"/>
              <a:chExt cx="6877978" cy="6848903"/>
            </a:xfrm>
          </p:grpSpPr>
          <p:sp>
            <p:nvSpPr>
              <p:cNvPr id="4497" name="Google Shape;4497;p218"/>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498" name="Google Shape;4498;p218"/>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499" name="Google Shape;4499;p218"/>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500" name="Google Shape;4500;p218"/>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501" name="Google Shape;4501;p218"/>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502" name="Google Shape;4502;p218"/>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503" name="Google Shape;4503;p218"/>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504" name="Google Shape;4504;p218"/>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505" name="Google Shape;4505;p218"/>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506" name="Google Shape;4506;p218"/>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507" name="Google Shape;4507;p218"/>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508" name="Google Shape;4508;p218"/>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509" name="Google Shape;4509;p218"/>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510" name="Google Shape;4510;p218"/>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511" name="Google Shape;4511;p218"/>
          <p:cNvSpPr txBox="1">
            <a:spLocks noGrp="1"/>
          </p:cNvSpPr>
          <p:nvPr>
            <p:ph type="subTitle" idx="1"/>
          </p:nvPr>
        </p:nvSpPr>
        <p:spPr>
          <a:xfrm>
            <a:off x="8185467" y="819856"/>
            <a:ext cx="34388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512" name="Google Shape;4512;p218"/>
          <p:cNvSpPr txBox="1">
            <a:spLocks noGrp="1"/>
          </p:cNvSpPr>
          <p:nvPr>
            <p:ph type="subTitle" idx="2"/>
          </p:nvPr>
        </p:nvSpPr>
        <p:spPr>
          <a:xfrm>
            <a:off x="8185467" y="420867"/>
            <a:ext cx="34388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513" name="Google Shape;4513;p218"/>
          <p:cNvSpPr txBox="1">
            <a:spLocks noGrp="1"/>
          </p:cNvSpPr>
          <p:nvPr>
            <p:ph type="subTitle" idx="3"/>
          </p:nvPr>
        </p:nvSpPr>
        <p:spPr>
          <a:xfrm>
            <a:off x="8185467" y="1550500"/>
            <a:ext cx="3438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514" name="Google Shape;4514;p218"/>
          <p:cNvSpPr txBox="1">
            <a:spLocks noGrp="1"/>
          </p:cNvSpPr>
          <p:nvPr>
            <p:ph type="subTitle" idx="4"/>
          </p:nvPr>
        </p:nvSpPr>
        <p:spPr>
          <a:xfrm>
            <a:off x="8185467" y="4631405"/>
            <a:ext cx="34388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515" name="Google Shape;4515;p218"/>
          <p:cNvSpPr txBox="1">
            <a:spLocks noGrp="1"/>
          </p:cNvSpPr>
          <p:nvPr>
            <p:ph type="subTitle" idx="5"/>
          </p:nvPr>
        </p:nvSpPr>
        <p:spPr>
          <a:xfrm>
            <a:off x="8185467" y="4232417"/>
            <a:ext cx="34388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516" name="Google Shape;4516;p218"/>
          <p:cNvSpPr txBox="1">
            <a:spLocks noGrp="1"/>
          </p:cNvSpPr>
          <p:nvPr>
            <p:ph type="subTitle" idx="6"/>
          </p:nvPr>
        </p:nvSpPr>
        <p:spPr>
          <a:xfrm>
            <a:off x="8185467" y="5362051"/>
            <a:ext cx="3438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517" name="Google Shape;4517;p218"/>
          <p:cNvSpPr txBox="1">
            <a:spLocks noGrp="1"/>
          </p:cNvSpPr>
          <p:nvPr>
            <p:ph type="subTitle" idx="7"/>
          </p:nvPr>
        </p:nvSpPr>
        <p:spPr>
          <a:xfrm>
            <a:off x="534100" y="2619139"/>
            <a:ext cx="34388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518" name="Google Shape;4518;p218"/>
          <p:cNvSpPr txBox="1">
            <a:spLocks noGrp="1"/>
          </p:cNvSpPr>
          <p:nvPr>
            <p:ph type="subTitle" idx="8"/>
          </p:nvPr>
        </p:nvSpPr>
        <p:spPr>
          <a:xfrm>
            <a:off x="534100" y="2220151"/>
            <a:ext cx="34388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519" name="Google Shape;4519;p218"/>
          <p:cNvSpPr txBox="1">
            <a:spLocks noGrp="1"/>
          </p:cNvSpPr>
          <p:nvPr>
            <p:ph type="subTitle" idx="9"/>
          </p:nvPr>
        </p:nvSpPr>
        <p:spPr>
          <a:xfrm>
            <a:off x="534100" y="3349784"/>
            <a:ext cx="34388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760172189"/>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matchingName="84. Four dates vertical timeline">
  <p:cSld name="84. Four dates vertical timeline">
    <p:spTree>
      <p:nvGrpSpPr>
        <p:cNvPr id="1" name="Shape 4520"/>
        <p:cNvGrpSpPr/>
        <p:nvPr/>
      </p:nvGrpSpPr>
      <p:grpSpPr>
        <a:xfrm>
          <a:off x="0" y="0"/>
          <a:ext cx="0" cy="0"/>
          <a:chOff x="0" y="0"/>
          <a:chExt cx="0" cy="0"/>
        </a:xfrm>
      </p:grpSpPr>
      <p:grpSp>
        <p:nvGrpSpPr>
          <p:cNvPr id="4521" name="Google Shape;4521;p219"/>
          <p:cNvGrpSpPr/>
          <p:nvPr/>
        </p:nvGrpSpPr>
        <p:grpSpPr>
          <a:xfrm rot="5400000" flipH="1">
            <a:off x="5003460" y="4277178"/>
            <a:ext cx="160051" cy="1993169"/>
            <a:chOff x="8582641" y="7032180"/>
            <a:chExt cx="320100" cy="3986340"/>
          </a:xfrm>
        </p:grpSpPr>
        <p:cxnSp>
          <p:nvCxnSpPr>
            <p:cNvPr id="4522" name="Google Shape;4522;p219"/>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523" name="Google Shape;4523;p219"/>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524" name="Google Shape;4524;p219"/>
          <p:cNvGrpSpPr/>
          <p:nvPr/>
        </p:nvGrpSpPr>
        <p:grpSpPr>
          <a:xfrm rot="5400000" flipH="1">
            <a:off x="5014384" y="1220650"/>
            <a:ext cx="160049" cy="1993169"/>
            <a:chOff x="8582641" y="7032180"/>
            <a:chExt cx="320100" cy="3986340"/>
          </a:xfrm>
        </p:grpSpPr>
        <p:cxnSp>
          <p:nvCxnSpPr>
            <p:cNvPr id="4525" name="Google Shape;4525;p219"/>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526" name="Google Shape;4526;p219"/>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527" name="Google Shape;4527;p219"/>
          <p:cNvGrpSpPr/>
          <p:nvPr/>
        </p:nvGrpSpPr>
        <p:grpSpPr>
          <a:xfrm rot="-5400000">
            <a:off x="7017569" y="-307614"/>
            <a:ext cx="160049" cy="1993169"/>
            <a:chOff x="8582641" y="7032180"/>
            <a:chExt cx="320100" cy="3986340"/>
          </a:xfrm>
        </p:grpSpPr>
        <p:cxnSp>
          <p:nvCxnSpPr>
            <p:cNvPr id="4528" name="Google Shape;4528;p219"/>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529" name="Google Shape;4529;p219"/>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530" name="Google Shape;4530;p219"/>
          <p:cNvGrpSpPr/>
          <p:nvPr/>
        </p:nvGrpSpPr>
        <p:grpSpPr>
          <a:xfrm rot="-5400000">
            <a:off x="7017569" y="2748914"/>
            <a:ext cx="160049" cy="1993169"/>
            <a:chOff x="8582641" y="7032180"/>
            <a:chExt cx="320100" cy="3986340"/>
          </a:xfrm>
        </p:grpSpPr>
        <p:cxnSp>
          <p:nvCxnSpPr>
            <p:cNvPr id="4531" name="Google Shape;4531;p219"/>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532" name="Google Shape;4532;p219"/>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cxnSp>
        <p:nvCxnSpPr>
          <p:cNvPr id="4533" name="Google Shape;4533;p219"/>
          <p:cNvCxnSpPr/>
          <p:nvPr/>
        </p:nvCxnSpPr>
        <p:spPr>
          <a:xfrm>
            <a:off x="6098857" y="0"/>
            <a:ext cx="0" cy="5273600"/>
          </a:xfrm>
          <a:prstGeom prst="straightConnector1">
            <a:avLst/>
          </a:prstGeom>
          <a:noFill/>
          <a:ln w="19050" cap="flat" cmpd="sng">
            <a:solidFill>
              <a:schemeClr val="dk2"/>
            </a:solidFill>
            <a:prstDash val="solid"/>
            <a:miter lim="400000"/>
            <a:headEnd type="none" w="sm" len="sm"/>
            <a:tailEnd type="none" w="sm" len="sm"/>
          </a:ln>
        </p:spPr>
      </p:cxnSp>
      <p:sp>
        <p:nvSpPr>
          <p:cNvPr id="4534" name="Google Shape;4534;p219"/>
          <p:cNvSpPr/>
          <p:nvPr/>
        </p:nvSpPr>
        <p:spPr>
          <a:xfrm>
            <a:off x="5698808" y="4871792"/>
            <a:ext cx="800000" cy="8000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535" name="Google Shape;4535;p219"/>
          <p:cNvSpPr/>
          <p:nvPr/>
        </p:nvSpPr>
        <p:spPr>
          <a:xfrm>
            <a:off x="5698808" y="287000"/>
            <a:ext cx="800000" cy="8000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536" name="Google Shape;4536;p219"/>
          <p:cNvSpPr/>
          <p:nvPr/>
        </p:nvSpPr>
        <p:spPr>
          <a:xfrm>
            <a:off x="5698808" y="1815264"/>
            <a:ext cx="800000" cy="800000"/>
          </a:xfrm>
          <a:prstGeom prst="ellipse">
            <a:avLst/>
          </a:prstGeom>
          <a:solidFill>
            <a:srgbClr val="090C0F"/>
          </a:solid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537" name="Google Shape;4537;p219"/>
          <p:cNvSpPr/>
          <p:nvPr/>
        </p:nvSpPr>
        <p:spPr>
          <a:xfrm>
            <a:off x="5698808" y="3343528"/>
            <a:ext cx="800000" cy="800000"/>
          </a:xfrm>
          <a:prstGeom prst="ellipse">
            <a:avLst/>
          </a:prstGeom>
          <a:solidFill>
            <a:srgbClr val="090C0F"/>
          </a:solid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538" name="Google Shape;4538;p219"/>
          <p:cNvGrpSpPr/>
          <p:nvPr/>
        </p:nvGrpSpPr>
        <p:grpSpPr>
          <a:xfrm>
            <a:off x="12253600" y="1"/>
            <a:ext cx="3438989" cy="3424452"/>
            <a:chOff x="22170399" y="777240"/>
            <a:chExt cx="6877978" cy="6848903"/>
          </a:xfrm>
        </p:grpSpPr>
        <p:grpSp>
          <p:nvGrpSpPr>
            <p:cNvPr id="4539" name="Google Shape;4539;p219"/>
            <p:cNvGrpSpPr/>
            <p:nvPr/>
          </p:nvGrpSpPr>
          <p:grpSpPr>
            <a:xfrm>
              <a:off x="22170399" y="777240"/>
              <a:ext cx="6877978" cy="6848903"/>
              <a:chOff x="22155159" y="0"/>
              <a:chExt cx="6877978" cy="6848903"/>
            </a:xfrm>
          </p:grpSpPr>
          <p:sp>
            <p:nvSpPr>
              <p:cNvPr id="4540" name="Google Shape;4540;p219"/>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541" name="Google Shape;4541;p219"/>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542" name="Google Shape;4542;p219"/>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543" name="Google Shape;4543;p219"/>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544" name="Google Shape;4544;p219"/>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545" name="Google Shape;4545;p219"/>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546" name="Google Shape;4546;p219"/>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547" name="Google Shape;4547;p219"/>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548" name="Google Shape;4548;p219"/>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549" name="Google Shape;4549;p219"/>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550" name="Google Shape;4550;p219"/>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551" name="Google Shape;4551;p219"/>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552" name="Google Shape;4552;p219"/>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553" name="Google Shape;4553;p219"/>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554" name="Google Shape;4554;p219"/>
          <p:cNvSpPr txBox="1">
            <a:spLocks noGrp="1"/>
          </p:cNvSpPr>
          <p:nvPr>
            <p:ph type="subTitle" idx="1"/>
          </p:nvPr>
        </p:nvSpPr>
        <p:spPr>
          <a:xfrm>
            <a:off x="8185467" y="413456"/>
            <a:ext cx="34388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555" name="Google Shape;4555;p219"/>
          <p:cNvSpPr txBox="1">
            <a:spLocks noGrp="1"/>
          </p:cNvSpPr>
          <p:nvPr>
            <p:ph type="subTitle" idx="2"/>
          </p:nvPr>
        </p:nvSpPr>
        <p:spPr>
          <a:xfrm>
            <a:off x="8185467" y="14467"/>
            <a:ext cx="34388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556" name="Google Shape;4556;p219"/>
          <p:cNvSpPr txBox="1">
            <a:spLocks noGrp="1"/>
          </p:cNvSpPr>
          <p:nvPr>
            <p:ph type="subTitle" idx="3"/>
          </p:nvPr>
        </p:nvSpPr>
        <p:spPr>
          <a:xfrm>
            <a:off x="8185467" y="1144100"/>
            <a:ext cx="3438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557" name="Google Shape;4557;p219"/>
          <p:cNvSpPr txBox="1">
            <a:spLocks noGrp="1"/>
          </p:cNvSpPr>
          <p:nvPr>
            <p:ph type="subTitle" idx="4"/>
          </p:nvPr>
        </p:nvSpPr>
        <p:spPr>
          <a:xfrm>
            <a:off x="8185467" y="3463005"/>
            <a:ext cx="34388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558" name="Google Shape;4558;p219"/>
          <p:cNvSpPr txBox="1">
            <a:spLocks noGrp="1"/>
          </p:cNvSpPr>
          <p:nvPr>
            <p:ph type="subTitle" idx="5"/>
          </p:nvPr>
        </p:nvSpPr>
        <p:spPr>
          <a:xfrm>
            <a:off x="8185467" y="3064017"/>
            <a:ext cx="34388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559" name="Google Shape;4559;p219"/>
          <p:cNvSpPr txBox="1">
            <a:spLocks noGrp="1"/>
          </p:cNvSpPr>
          <p:nvPr>
            <p:ph type="subTitle" idx="6"/>
          </p:nvPr>
        </p:nvSpPr>
        <p:spPr>
          <a:xfrm>
            <a:off x="8185467" y="4193651"/>
            <a:ext cx="3438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560" name="Google Shape;4560;p219"/>
          <p:cNvSpPr txBox="1">
            <a:spLocks noGrp="1"/>
          </p:cNvSpPr>
          <p:nvPr>
            <p:ph type="subTitle" idx="7"/>
          </p:nvPr>
        </p:nvSpPr>
        <p:spPr>
          <a:xfrm>
            <a:off x="540067" y="1854172"/>
            <a:ext cx="34388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561" name="Google Shape;4561;p219"/>
          <p:cNvSpPr txBox="1">
            <a:spLocks noGrp="1"/>
          </p:cNvSpPr>
          <p:nvPr>
            <p:ph type="subTitle" idx="8"/>
          </p:nvPr>
        </p:nvSpPr>
        <p:spPr>
          <a:xfrm>
            <a:off x="540067" y="1455184"/>
            <a:ext cx="34388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562" name="Google Shape;4562;p219"/>
          <p:cNvSpPr txBox="1">
            <a:spLocks noGrp="1"/>
          </p:cNvSpPr>
          <p:nvPr>
            <p:ph type="subTitle" idx="9"/>
          </p:nvPr>
        </p:nvSpPr>
        <p:spPr>
          <a:xfrm>
            <a:off x="540067" y="2584817"/>
            <a:ext cx="34388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563" name="Google Shape;4563;p219"/>
          <p:cNvSpPr txBox="1">
            <a:spLocks noGrp="1"/>
          </p:cNvSpPr>
          <p:nvPr>
            <p:ph type="subTitle" idx="13"/>
          </p:nvPr>
        </p:nvSpPr>
        <p:spPr>
          <a:xfrm>
            <a:off x="540067" y="4908756"/>
            <a:ext cx="34388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564" name="Google Shape;4564;p219"/>
          <p:cNvSpPr txBox="1">
            <a:spLocks noGrp="1"/>
          </p:cNvSpPr>
          <p:nvPr>
            <p:ph type="subTitle" idx="14"/>
          </p:nvPr>
        </p:nvSpPr>
        <p:spPr>
          <a:xfrm>
            <a:off x="540067" y="4509767"/>
            <a:ext cx="34388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565" name="Google Shape;4565;p219"/>
          <p:cNvSpPr txBox="1">
            <a:spLocks noGrp="1"/>
          </p:cNvSpPr>
          <p:nvPr>
            <p:ph type="subTitle" idx="15"/>
          </p:nvPr>
        </p:nvSpPr>
        <p:spPr>
          <a:xfrm>
            <a:off x="540067" y="5639400"/>
            <a:ext cx="34388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302723033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matchingName="85. Five dates vertical timeline">
  <p:cSld name="85. Five dates vertical timeline">
    <p:spTree>
      <p:nvGrpSpPr>
        <p:cNvPr id="1" name="Shape 4566"/>
        <p:cNvGrpSpPr/>
        <p:nvPr/>
      </p:nvGrpSpPr>
      <p:grpSpPr>
        <a:xfrm>
          <a:off x="0" y="0"/>
          <a:ext cx="0" cy="0"/>
          <a:chOff x="0" y="0"/>
          <a:chExt cx="0" cy="0"/>
        </a:xfrm>
      </p:grpSpPr>
      <p:grpSp>
        <p:nvGrpSpPr>
          <p:cNvPr id="4567" name="Google Shape;4567;p220"/>
          <p:cNvGrpSpPr/>
          <p:nvPr/>
        </p:nvGrpSpPr>
        <p:grpSpPr>
          <a:xfrm rot="-5400000">
            <a:off x="7017569" y="969042"/>
            <a:ext cx="160049" cy="1993169"/>
            <a:chOff x="8582641" y="7032180"/>
            <a:chExt cx="320100" cy="3986340"/>
          </a:xfrm>
        </p:grpSpPr>
        <p:cxnSp>
          <p:nvCxnSpPr>
            <p:cNvPr id="4568" name="Google Shape;4568;p220"/>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569" name="Google Shape;4569;p220"/>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570" name="Google Shape;4570;p220"/>
          <p:cNvGrpSpPr/>
          <p:nvPr/>
        </p:nvGrpSpPr>
        <p:grpSpPr>
          <a:xfrm rot="-5400000">
            <a:off x="7017569" y="3272604"/>
            <a:ext cx="160049" cy="1993169"/>
            <a:chOff x="8582641" y="7032180"/>
            <a:chExt cx="320100" cy="3986340"/>
          </a:xfrm>
        </p:grpSpPr>
        <p:cxnSp>
          <p:nvCxnSpPr>
            <p:cNvPr id="4571" name="Google Shape;4571;p220"/>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572" name="Google Shape;4572;p220"/>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573" name="Google Shape;4573;p220"/>
          <p:cNvGrpSpPr/>
          <p:nvPr/>
        </p:nvGrpSpPr>
        <p:grpSpPr>
          <a:xfrm rot="5400000" flipH="1">
            <a:off x="5014384" y="2115506"/>
            <a:ext cx="160049" cy="1993169"/>
            <a:chOff x="8582641" y="7032180"/>
            <a:chExt cx="320100" cy="3986340"/>
          </a:xfrm>
        </p:grpSpPr>
        <p:cxnSp>
          <p:nvCxnSpPr>
            <p:cNvPr id="4574" name="Google Shape;4574;p220"/>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575" name="Google Shape;4575;p220"/>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576" name="Google Shape;4576;p220"/>
          <p:cNvGrpSpPr/>
          <p:nvPr/>
        </p:nvGrpSpPr>
        <p:grpSpPr>
          <a:xfrm rot="5400000" flipH="1">
            <a:off x="5003460" y="4419068"/>
            <a:ext cx="160051" cy="1993169"/>
            <a:chOff x="8582641" y="7032180"/>
            <a:chExt cx="320100" cy="3986340"/>
          </a:xfrm>
        </p:grpSpPr>
        <p:cxnSp>
          <p:nvCxnSpPr>
            <p:cNvPr id="4577" name="Google Shape;4577;p220"/>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578" name="Google Shape;4578;p220"/>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579" name="Google Shape;4579;p220"/>
          <p:cNvGrpSpPr/>
          <p:nvPr/>
        </p:nvGrpSpPr>
        <p:grpSpPr>
          <a:xfrm rot="5400000" flipH="1">
            <a:off x="5003461" y="-145526"/>
            <a:ext cx="160049" cy="1993169"/>
            <a:chOff x="8582641" y="7032180"/>
            <a:chExt cx="320100" cy="3986340"/>
          </a:xfrm>
        </p:grpSpPr>
        <p:cxnSp>
          <p:nvCxnSpPr>
            <p:cNvPr id="4580" name="Google Shape;4580;p220"/>
            <p:cNvCxnSpPr/>
            <p:nvPr/>
          </p:nvCxnSpPr>
          <p:spPr>
            <a:xfrm rot="-5400000">
              <a:off x="6909571" y="8865331"/>
              <a:ext cx="3666300" cy="0"/>
            </a:xfrm>
            <a:prstGeom prst="straightConnector1">
              <a:avLst/>
            </a:prstGeom>
            <a:noFill/>
            <a:ln w="19050" cap="flat" cmpd="sng">
              <a:solidFill>
                <a:schemeClr val="dk2"/>
              </a:solidFill>
              <a:prstDash val="solid"/>
              <a:miter lim="400000"/>
              <a:headEnd type="none" w="sm" len="sm"/>
              <a:tailEnd type="none" w="sm" len="sm"/>
            </a:ln>
          </p:spPr>
        </p:cxnSp>
        <p:sp>
          <p:nvSpPr>
            <p:cNvPr id="4581" name="Google Shape;4581;p220"/>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cxnSp>
        <p:nvCxnSpPr>
          <p:cNvPr id="4582" name="Google Shape;4582;p220"/>
          <p:cNvCxnSpPr/>
          <p:nvPr/>
        </p:nvCxnSpPr>
        <p:spPr>
          <a:xfrm>
            <a:off x="6079011" y="24467"/>
            <a:ext cx="0" cy="5391200"/>
          </a:xfrm>
          <a:prstGeom prst="straightConnector1">
            <a:avLst/>
          </a:prstGeom>
          <a:noFill/>
          <a:ln w="19050" cap="flat" cmpd="sng">
            <a:solidFill>
              <a:schemeClr val="dk2"/>
            </a:solidFill>
            <a:prstDash val="solid"/>
            <a:miter lim="400000"/>
            <a:headEnd type="none" w="sm" len="sm"/>
            <a:tailEnd type="none" w="sm" len="sm"/>
          </a:ln>
        </p:spPr>
      </p:cxnSp>
      <p:sp>
        <p:nvSpPr>
          <p:cNvPr id="4583" name="Google Shape;4583;p220"/>
          <p:cNvSpPr/>
          <p:nvPr/>
        </p:nvSpPr>
        <p:spPr>
          <a:xfrm>
            <a:off x="5713211" y="5009135"/>
            <a:ext cx="731600" cy="728000"/>
          </a:xfrm>
          <a:prstGeom prst="ellipse">
            <a:avLst/>
          </a:prstGeom>
          <a:solidFill>
            <a:srgbClr val="090C0F"/>
          </a:solidFill>
          <a:ln w="19050" cap="flat" cmpd="sng">
            <a:solidFill>
              <a:schemeClr val="accent5"/>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584" name="Google Shape;4584;p220"/>
          <p:cNvSpPr/>
          <p:nvPr/>
        </p:nvSpPr>
        <p:spPr>
          <a:xfrm>
            <a:off x="5713211" y="487040"/>
            <a:ext cx="731600" cy="7280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585" name="Google Shape;4585;p220"/>
          <p:cNvSpPr/>
          <p:nvPr/>
        </p:nvSpPr>
        <p:spPr>
          <a:xfrm>
            <a:off x="5713211" y="2716229"/>
            <a:ext cx="731600" cy="7280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586" name="Google Shape;4586;p220"/>
          <p:cNvSpPr/>
          <p:nvPr/>
        </p:nvSpPr>
        <p:spPr>
          <a:xfrm>
            <a:off x="5713211" y="3899881"/>
            <a:ext cx="731600" cy="728000"/>
          </a:xfrm>
          <a:prstGeom prst="ellipse">
            <a:avLst/>
          </a:prstGeom>
          <a:solidFill>
            <a:srgbClr val="090C0F"/>
          </a:solidFill>
          <a:ln w="19050" cap="flat" cmpd="sng">
            <a:solidFill>
              <a:schemeClr val="accent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587" name="Google Shape;4587;p220"/>
          <p:cNvSpPr/>
          <p:nvPr/>
        </p:nvSpPr>
        <p:spPr>
          <a:xfrm>
            <a:off x="5713211" y="1601627"/>
            <a:ext cx="731600" cy="7280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588" name="Google Shape;4588;p220"/>
          <p:cNvGrpSpPr/>
          <p:nvPr/>
        </p:nvGrpSpPr>
        <p:grpSpPr>
          <a:xfrm>
            <a:off x="12253600" y="1"/>
            <a:ext cx="3438989" cy="3424452"/>
            <a:chOff x="22170399" y="777240"/>
            <a:chExt cx="6877978" cy="6848903"/>
          </a:xfrm>
        </p:grpSpPr>
        <p:grpSp>
          <p:nvGrpSpPr>
            <p:cNvPr id="4589" name="Google Shape;4589;p220"/>
            <p:cNvGrpSpPr/>
            <p:nvPr/>
          </p:nvGrpSpPr>
          <p:grpSpPr>
            <a:xfrm>
              <a:off x="22170399" y="777240"/>
              <a:ext cx="6877978" cy="6848903"/>
              <a:chOff x="22155159" y="0"/>
              <a:chExt cx="6877978" cy="6848903"/>
            </a:xfrm>
          </p:grpSpPr>
          <p:sp>
            <p:nvSpPr>
              <p:cNvPr id="4590" name="Google Shape;4590;p220"/>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591" name="Google Shape;4591;p220"/>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592" name="Google Shape;4592;p220"/>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593" name="Google Shape;4593;p220"/>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594" name="Google Shape;4594;p220"/>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595" name="Google Shape;4595;p220"/>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596" name="Google Shape;4596;p220"/>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597" name="Google Shape;4597;p220"/>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598" name="Google Shape;4598;p220"/>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599" name="Google Shape;4599;p220"/>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600" name="Google Shape;4600;p220"/>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601" name="Google Shape;4601;p220"/>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602" name="Google Shape;4602;p220"/>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603" name="Google Shape;4603;p220"/>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604" name="Google Shape;4604;p220"/>
          <p:cNvSpPr txBox="1">
            <a:spLocks noGrp="1"/>
          </p:cNvSpPr>
          <p:nvPr>
            <p:ph type="subTitle" idx="1"/>
          </p:nvPr>
        </p:nvSpPr>
        <p:spPr>
          <a:xfrm>
            <a:off x="628967" y="495272"/>
            <a:ext cx="34388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605" name="Google Shape;4605;p220"/>
          <p:cNvSpPr txBox="1">
            <a:spLocks noGrp="1"/>
          </p:cNvSpPr>
          <p:nvPr>
            <p:ph type="subTitle" idx="2"/>
          </p:nvPr>
        </p:nvSpPr>
        <p:spPr>
          <a:xfrm>
            <a:off x="628967" y="96284"/>
            <a:ext cx="34388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606" name="Google Shape;4606;p220"/>
          <p:cNvSpPr txBox="1">
            <a:spLocks noGrp="1"/>
          </p:cNvSpPr>
          <p:nvPr>
            <p:ph type="subTitle" idx="3"/>
          </p:nvPr>
        </p:nvSpPr>
        <p:spPr>
          <a:xfrm>
            <a:off x="628967" y="1225917"/>
            <a:ext cx="34388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607" name="Google Shape;4607;p220"/>
          <p:cNvSpPr txBox="1">
            <a:spLocks noGrp="1"/>
          </p:cNvSpPr>
          <p:nvPr>
            <p:ph type="subTitle" idx="4"/>
          </p:nvPr>
        </p:nvSpPr>
        <p:spPr>
          <a:xfrm>
            <a:off x="628967" y="2805339"/>
            <a:ext cx="34388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608" name="Google Shape;4608;p220"/>
          <p:cNvSpPr txBox="1">
            <a:spLocks noGrp="1"/>
          </p:cNvSpPr>
          <p:nvPr>
            <p:ph type="subTitle" idx="5"/>
          </p:nvPr>
        </p:nvSpPr>
        <p:spPr>
          <a:xfrm>
            <a:off x="628967" y="2406351"/>
            <a:ext cx="34388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609" name="Google Shape;4609;p220"/>
          <p:cNvSpPr txBox="1">
            <a:spLocks noGrp="1"/>
          </p:cNvSpPr>
          <p:nvPr>
            <p:ph type="subTitle" idx="6"/>
          </p:nvPr>
        </p:nvSpPr>
        <p:spPr>
          <a:xfrm>
            <a:off x="628967" y="3535984"/>
            <a:ext cx="34388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610" name="Google Shape;4610;p220"/>
          <p:cNvSpPr txBox="1">
            <a:spLocks noGrp="1"/>
          </p:cNvSpPr>
          <p:nvPr>
            <p:ph type="subTitle" idx="7"/>
          </p:nvPr>
        </p:nvSpPr>
        <p:spPr>
          <a:xfrm>
            <a:off x="628967" y="5115405"/>
            <a:ext cx="34388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611" name="Google Shape;4611;p220"/>
          <p:cNvSpPr txBox="1">
            <a:spLocks noGrp="1"/>
          </p:cNvSpPr>
          <p:nvPr>
            <p:ph type="subTitle" idx="8"/>
          </p:nvPr>
        </p:nvSpPr>
        <p:spPr>
          <a:xfrm>
            <a:off x="628967" y="4716417"/>
            <a:ext cx="34388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612" name="Google Shape;4612;p220"/>
          <p:cNvSpPr txBox="1">
            <a:spLocks noGrp="1"/>
          </p:cNvSpPr>
          <p:nvPr>
            <p:ph type="subTitle" idx="9"/>
          </p:nvPr>
        </p:nvSpPr>
        <p:spPr>
          <a:xfrm>
            <a:off x="628967" y="5846051"/>
            <a:ext cx="34388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613" name="Google Shape;4613;p220"/>
          <p:cNvSpPr txBox="1">
            <a:spLocks noGrp="1"/>
          </p:cNvSpPr>
          <p:nvPr>
            <p:ph type="subTitle" idx="13"/>
          </p:nvPr>
        </p:nvSpPr>
        <p:spPr>
          <a:xfrm>
            <a:off x="8198167" y="1704189"/>
            <a:ext cx="34388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614" name="Google Shape;4614;p220"/>
          <p:cNvSpPr txBox="1">
            <a:spLocks noGrp="1"/>
          </p:cNvSpPr>
          <p:nvPr>
            <p:ph type="subTitle" idx="14"/>
          </p:nvPr>
        </p:nvSpPr>
        <p:spPr>
          <a:xfrm>
            <a:off x="8198167" y="1305200"/>
            <a:ext cx="34388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615" name="Google Shape;4615;p220"/>
          <p:cNvSpPr txBox="1">
            <a:spLocks noGrp="1"/>
          </p:cNvSpPr>
          <p:nvPr>
            <p:ph type="subTitle" idx="15"/>
          </p:nvPr>
        </p:nvSpPr>
        <p:spPr>
          <a:xfrm>
            <a:off x="8198167" y="2434833"/>
            <a:ext cx="3438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616" name="Google Shape;4616;p220"/>
          <p:cNvSpPr txBox="1">
            <a:spLocks noGrp="1"/>
          </p:cNvSpPr>
          <p:nvPr>
            <p:ph type="subTitle" idx="16"/>
          </p:nvPr>
        </p:nvSpPr>
        <p:spPr>
          <a:xfrm>
            <a:off x="8198167" y="3963456"/>
            <a:ext cx="34388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617" name="Google Shape;4617;p220"/>
          <p:cNvSpPr txBox="1">
            <a:spLocks noGrp="1"/>
          </p:cNvSpPr>
          <p:nvPr>
            <p:ph type="subTitle" idx="17"/>
          </p:nvPr>
        </p:nvSpPr>
        <p:spPr>
          <a:xfrm>
            <a:off x="8198167" y="3564467"/>
            <a:ext cx="34388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618" name="Google Shape;4618;p220"/>
          <p:cNvSpPr txBox="1">
            <a:spLocks noGrp="1"/>
          </p:cNvSpPr>
          <p:nvPr>
            <p:ph type="subTitle" idx="18"/>
          </p:nvPr>
        </p:nvSpPr>
        <p:spPr>
          <a:xfrm>
            <a:off x="8198167" y="4694100"/>
            <a:ext cx="34388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07385958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matchingName="86. Three point process">
  <p:cSld name="86. Three point process">
    <p:spTree>
      <p:nvGrpSpPr>
        <p:cNvPr id="1" name="Shape 4619"/>
        <p:cNvGrpSpPr/>
        <p:nvPr/>
      </p:nvGrpSpPr>
      <p:grpSpPr>
        <a:xfrm>
          <a:off x="0" y="0"/>
          <a:ext cx="0" cy="0"/>
          <a:chOff x="0" y="0"/>
          <a:chExt cx="0" cy="0"/>
        </a:xfrm>
      </p:grpSpPr>
      <p:cxnSp>
        <p:nvCxnSpPr>
          <p:cNvPr id="4620" name="Google Shape;4620;p221"/>
          <p:cNvCxnSpPr/>
          <p:nvPr/>
        </p:nvCxnSpPr>
        <p:spPr>
          <a:xfrm>
            <a:off x="3325365" y="3684312"/>
            <a:ext cx="0" cy="727200"/>
          </a:xfrm>
          <a:prstGeom prst="straightConnector1">
            <a:avLst/>
          </a:prstGeom>
          <a:noFill/>
          <a:ln w="19050" cap="rnd" cmpd="sng">
            <a:solidFill>
              <a:schemeClr val="accent5"/>
            </a:solidFill>
            <a:prstDash val="solid"/>
            <a:round/>
            <a:headEnd type="none" w="sm" len="sm"/>
            <a:tailEnd type="none" w="sm" len="sm"/>
          </a:ln>
        </p:spPr>
      </p:cxnSp>
      <p:cxnSp>
        <p:nvCxnSpPr>
          <p:cNvPr id="4621" name="Google Shape;4621;p221"/>
          <p:cNvCxnSpPr/>
          <p:nvPr/>
        </p:nvCxnSpPr>
        <p:spPr>
          <a:xfrm rot="10800000">
            <a:off x="3325247" y="4414425"/>
            <a:ext cx="720000" cy="0"/>
          </a:xfrm>
          <a:prstGeom prst="straightConnector1">
            <a:avLst/>
          </a:prstGeom>
          <a:noFill/>
          <a:ln w="19050" cap="rnd" cmpd="sng">
            <a:solidFill>
              <a:schemeClr val="accent2"/>
            </a:solidFill>
            <a:prstDash val="solid"/>
            <a:round/>
            <a:headEnd type="none" w="sm" len="sm"/>
            <a:tailEnd type="none" w="sm" len="sm"/>
          </a:ln>
        </p:spPr>
      </p:cxnSp>
      <p:sp>
        <p:nvSpPr>
          <p:cNvPr id="4622" name="Google Shape;4622;p221"/>
          <p:cNvSpPr/>
          <p:nvPr/>
        </p:nvSpPr>
        <p:spPr>
          <a:xfrm>
            <a:off x="1734927" y="1613104"/>
            <a:ext cx="6400800" cy="888400"/>
          </a:xfrm>
          <a:prstGeom prst="roundRect">
            <a:avLst>
              <a:gd name="adj" fmla="val 13808"/>
            </a:avLst>
          </a:prstGeom>
          <a:noFill/>
          <a:ln w="19050" cap="flat" cmpd="sng">
            <a:solidFill>
              <a:schemeClr val="accent1"/>
            </a:solidFill>
            <a:prstDash val="solid"/>
            <a:round/>
            <a:headEnd type="none" w="sm" len="sm"/>
            <a:tailEnd type="none" w="sm" len="sm"/>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0" i="0" u="none" strike="noStrike" cap="none">
              <a:solidFill>
                <a:srgbClr val="F0F6FC"/>
              </a:solidFill>
              <a:latin typeface="Arial"/>
              <a:ea typeface="Arial"/>
              <a:cs typeface="Arial"/>
              <a:sym typeface="Arial"/>
            </a:endParaRPr>
          </a:p>
        </p:txBody>
      </p:sp>
      <p:sp>
        <p:nvSpPr>
          <p:cNvPr id="4623" name="Google Shape;4623;p221"/>
          <p:cNvSpPr/>
          <p:nvPr/>
        </p:nvSpPr>
        <p:spPr>
          <a:xfrm>
            <a:off x="2895600" y="2787393"/>
            <a:ext cx="6400800" cy="888400"/>
          </a:xfrm>
          <a:prstGeom prst="roundRect">
            <a:avLst>
              <a:gd name="adj" fmla="val 15237"/>
            </a:avLst>
          </a:prstGeom>
          <a:noFill/>
          <a:ln w="19050" cap="flat" cmpd="sng">
            <a:solidFill>
              <a:schemeClr val="accent5"/>
            </a:solidFill>
            <a:prstDash val="solid"/>
            <a:round/>
            <a:headEnd type="none" w="sm" len="sm"/>
            <a:tailEnd type="none" w="sm" len="sm"/>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0" i="0" u="none" strike="noStrike" cap="none">
              <a:solidFill>
                <a:srgbClr val="F0F6FC"/>
              </a:solidFill>
              <a:latin typeface="Arial"/>
              <a:ea typeface="Arial"/>
              <a:cs typeface="Arial"/>
              <a:sym typeface="Arial"/>
            </a:endParaRPr>
          </a:p>
        </p:txBody>
      </p:sp>
      <p:sp>
        <p:nvSpPr>
          <p:cNvPr id="4624" name="Google Shape;4624;p221"/>
          <p:cNvSpPr/>
          <p:nvPr/>
        </p:nvSpPr>
        <p:spPr>
          <a:xfrm>
            <a:off x="4045247" y="3988016"/>
            <a:ext cx="6400800" cy="888400"/>
          </a:xfrm>
          <a:prstGeom prst="roundRect">
            <a:avLst>
              <a:gd name="adj" fmla="val 10949"/>
            </a:avLst>
          </a:prstGeom>
          <a:noFill/>
          <a:ln w="19050"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0" i="0" u="none" strike="noStrike" cap="none">
              <a:solidFill>
                <a:srgbClr val="F0F6FC"/>
              </a:solidFill>
              <a:latin typeface="Arial"/>
              <a:ea typeface="Arial"/>
              <a:cs typeface="Arial"/>
              <a:sym typeface="Arial"/>
            </a:endParaRPr>
          </a:p>
        </p:txBody>
      </p:sp>
      <p:cxnSp>
        <p:nvCxnSpPr>
          <p:cNvPr id="4625" name="Google Shape;4625;p221"/>
          <p:cNvCxnSpPr/>
          <p:nvPr/>
        </p:nvCxnSpPr>
        <p:spPr>
          <a:xfrm>
            <a:off x="2175719" y="2501455"/>
            <a:ext cx="0" cy="727200"/>
          </a:xfrm>
          <a:prstGeom prst="straightConnector1">
            <a:avLst/>
          </a:prstGeom>
          <a:noFill/>
          <a:ln w="19050" cap="rnd" cmpd="sng">
            <a:solidFill>
              <a:schemeClr val="accent1"/>
            </a:solidFill>
            <a:prstDash val="solid"/>
            <a:round/>
            <a:headEnd type="none" w="sm" len="sm"/>
            <a:tailEnd type="none" w="sm" len="sm"/>
          </a:ln>
        </p:spPr>
      </p:cxnSp>
      <p:cxnSp>
        <p:nvCxnSpPr>
          <p:cNvPr id="4626" name="Google Shape;4626;p221"/>
          <p:cNvCxnSpPr>
            <a:stCxn id="4623" idx="1"/>
          </p:cNvCxnSpPr>
          <p:nvPr/>
        </p:nvCxnSpPr>
        <p:spPr>
          <a:xfrm rot="10800000">
            <a:off x="2175600" y="3231593"/>
            <a:ext cx="720000" cy="0"/>
          </a:xfrm>
          <a:prstGeom prst="straightConnector1">
            <a:avLst/>
          </a:prstGeom>
          <a:noFill/>
          <a:ln w="19050" cap="rnd" cmpd="sng">
            <a:solidFill>
              <a:schemeClr val="accent5"/>
            </a:solidFill>
            <a:prstDash val="solid"/>
            <a:round/>
            <a:headEnd type="none" w="sm" len="sm"/>
            <a:tailEnd type="none" w="sm" len="sm"/>
          </a:ln>
        </p:spPr>
      </p:cxnSp>
      <p:grpSp>
        <p:nvGrpSpPr>
          <p:cNvPr id="4627" name="Google Shape;4627;p221"/>
          <p:cNvGrpSpPr/>
          <p:nvPr/>
        </p:nvGrpSpPr>
        <p:grpSpPr>
          <a:xfrm>
            <a:off x="12253600" y="1"/>
            <a:ext cx="3438989" cy="3424452"/>
            <a:chOff x="22170399" y="777240"/>
            <a:chExt cx="6877978" cy="6848903"/>
          </a:xfrm>
        </p:grpSpPr>
        <p:grpSp>
          <p:nvGrpSpPr>
            <p:cNvPr id="4628" name="Google Shape;4628;p221"/>
            <p:cNvGrpSpPr/>
            <p:nvPr/>
          </p:nvGrpSpPr>
          <p:grpSpPr>
            <a:xfrm>
              <a:off x="22170399" y="777240"/>
              <a:ext cx="6877978" cy="6848903"/>
              <a:chOff x="22155159" y="0"/>
              <a:chExt cx="6877978" cy="6848903"/>
            </a:xfrm>
          </p:grpSpPr>
          <p:sp>
            <p:nvSpPr>
              <p:cNvPr id="4629" name="Google Shape;4629;p221"/>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630" name="Google Shape;4630;p221"/>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631" name="Google Shape;4631;p221"/>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632" name="Google Shape;4632;p221"/>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633" name="Google Shape;4633;p221"/>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634" name="Google Shape;4634;p221"/>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635" name="Google Shape;4635;p221"/>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636" name="Google Shape;4636;p221"/>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637" name="Google Shape;4637;p221"/>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638" name="Google Shape;4638;p221"/>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639" name="Google Shape;4639;p221"/>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640" name="Google Shape;4640;p221"/>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641" name="Google Shape;4641;p221"/>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642" name="Google Shape;4642;p221"/>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643" name="Google Shape;4643;p221"/>
          <p:cNvSpPr txBox="1">
            <a:spLocks noGrp="1"/>
          </p:cNvSpPr>
          <p:nvPr>
            <p:ph type="subTitle" idx="1"/>
          </p:nvPr>
        </p:nvSpPr>
        <p:spPr>
          <a:xfrm>
            <a:off x="1950720" y="1865376"/>
            <a:ext cx="60108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400"/>
              <a:buNone/>
              <a:defRPr>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644" name="Google Shape;4644;p221"/>
          <p:cNvSpPr txBox="1">
            <a:spLocks noGrp="1"/>
          </p:cNvSpPr>
          <p:nvPr>
            <p:ph type="subTitle" idx="2"/>
          </p:nvPr>
        </p:nvSpPr>
        <p:spPr>
          <a:xfrm>
            <a:off x="3084576" y="3035808"/>
            <a:ext cx="60108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400"/>
              <a:buNone/>
              <a:defRPr>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645" name="Google Shape;4645;p221"/>
          <p:cNvSpPr txBox="1">
            <a:spLocks noGrp="1"/>
          </p:cNvSpPr>
          <p:nvPr>
            <p:ph type="subTitle" idx="3"/>
          </p:nvPr>
        </p:nvSpPr>
        <p:spPr>
          <a:xfrm>
            <a:off x="4242816" y="4242816"/>
            <a:ext cx="5218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400"/>
              <a:buNone/>
              <a:defRPr>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029912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1D6238D3-5FC8-43DB-80C8-88185901CE0B}"/>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29962275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matchingName="87. Four point process">
  <p:cSld name="87. Four point process">
    <p:spTree>
      <p:nvGrpSpPr>
        <p:cNvPr id="1" name="Shape 4646"/>
        <p:cNvGrpSpPr/>
        <p:nvPr/>
      </p:nvGrpSpPr>
      <p:grpSpPr>
        <a:xfrm>
          <a:off x="0" y="0"/>
          <a:ext cx="0" cy="0"/>
          <a:chOff x="0" y="0"/>
          <a:chExt cx="0" cy="0"/>
        </a:xfrm>
      </p:grpSpPr>
      <p:cxnSp>
        <p:nvCxnSpPr>
          <p:cNvPr id="4647" name="Google Shape;4647;p222"/>
          <p:cNvCxnSpPr/>
          <p:nvPr/>
        </p:nvCxnSpPr>
        <p:spPr>
          <a:xfrm>
            <a:off x="2595263" y="3120143"/>
            <a:ext cx="0" cy="727200"/>
          </a:xfrm>
          <a:prstGeom prst="straightConnector1">
            <a:avLst/>
          </a:prstGeom>
          <a:noFill/>
          <a:ln w="19050" cap="rnd" cmpd="sng">
            <a:solidFill>
              <a:schemeClr val="accent5"/>
            </a:solidFill>
            <a:prstDash val="solid"/>
            <a:round/>
            <a:headEnd type="none" w="sm" len="sm"/>
            <a:tailEnd type="none" w="sm" len="sm"/>
          </a:ln>
        </p:spPr>
      </p:cxnSp>
      <p:cxnSp>
        <p:nvCxnSpPr>
          <p:cNvPr id="4648" name="Google Shape;4648;p222"/>
          <p:cNvCxnSpPr/>
          <p:nvPr/>
        </p:nvCxnSpPr>
        <p:spPr>
          <a:xfrm rot="10800000">
            <a:off x="2595144" y="3850256"/>
            <a:ext cx="720000" cy="0"/>
          </a:xfrm>
          <a:prstGeom prst="straightConnector1">
            <a:avLst/>
          </a:prstGeom>
          <a:noFill/>
          <a:ln w="19050" cap="rnd" cmpd="sng">
            <a:solidFill>
              <a:schemeClr val="accent2"/>
            </a:solidFill>
            <a:prstDash val="solid"/>
            <a:round/>
            <a:headEnd type="none" w="sm" len="sm"/>
            <a:tailEnd type="none" w="sm" len="sm"/>
          </a:ln>
        </p:spPr>
      </p:cxnSp>
      <p:sp>
        <p:nvSpPr>
          <p:cNvPr id="4649" name="Google Shape;4649;p222"/>
          <p:cNvSpPr/>
          <p:nvPr/>
        </p:nvSpPr>
        <p:spPr>
          <a:xfrm>
            <a:off x="1004824" y="1048935"/>
            <a:ext cx="6400800" cy="888400"/>
          </a:xfrm>
          <a:prstGeom prst="roundRect">
            <a:avLst>
              <a:gd name="adj" fmla="val 13808"/>
            </a:avLst>
          </a:prstGeom>
          <a:noFill/>
          <a:ln w="19050" cap="flat" cmpd="sng">
            <a:solidFill>
              <a:schemeClr val="accent1"/>
            </a:solidFill>
            <a:prstDash val="solid"/>
            <a:round/>
            <a:headEnd type="none" w="sm" len="sm"/>
            <a:tailEnd type="none" w="sm" len="sm"/>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0" i="0" u="none" strike="noStrike" cap="none">
              <a:solidFill>
                <a:srgbClr val="F0F6FC"/>
              </a:solidFill>
              <a:latin typeface="Arial"/>
              <a:ea typeface="Arial"/>
              <a:cs typeface="Arial"/>
              <a:sym typeface="Arial"/>
            </a:endParaRPr>
          </a:p>
        </p:txBody>
      </p:sp>
      <p:sp>
        <p:nvSpPr>
          <p:cNvPr id="4650" name="Google Shape;4650;p222"/>
          <p:cNvSpPr/>
          <p:nvPr/>
        </p:nvSpPr>
        <p:spPr>
          <a:xfrm>
            <a:off x="2165497" y="2223223"/>
            <a:ext cx="6400800" cy="888400"/>
          </a:xfrm>
          <a:prstGeom prst="roundRect">
            <a:avLst>
              <a:gd name="adj" fmla="val 15237"/>
            </a:avLst>
          </a:prstGeom>
          <a:noFill/>
          <a:ln w="19050" cap="flat" cmpd="sng">
            <a:solidFill>
              <a:schemeClr val="accent5"/>
            </a:solidFill>
            <a:prstDash val="solid"/>
            <a:round/>
            <a:headEnd type="none" w="sm" len="sm"/>
            <a:tailEnd type="none" w="sm" len="sm"/>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0" i="0" u="none" strike="noStrike" cap="none">
              <a:solidFill>
                <a:srgbClr val="F0F6FC"/>
              </a:solidFill>
              <a:latin typeface="Arial"/>
              <a:ea typeface="Arial"/>
              <a:cs typeface="Arial"/>
              <a:sym typeface="Arial"/>
            </a:endParaRPr>
          </a:p>
        </p:txBody>
      </p:sp>
      <p:sp>
        <p:nvSpPr>
          <p:cNvPr id="4651" name="Google Shape;4651;p222"/>
          <p:cNvSpPr/>
          <p:nvPr/>
        </p:nvSpPr>
        <p:spPr>
          <a:xfrm>
            <a:off x="3315144" y="3423847"/>
            <a:ext cx="6400800" cy="888400"/>
          </a:xfrm>
          <a:prstGeom prst="roundRect">
            <a:avLst>
              <a:gd name="adj" fmla="val 10949"/>
            </a:avLst>
          </a:prstGeom>
          <a:noFill/>
          <a:ln w="19050"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0" i="0" u="none" strike="noStrike" cap="none">
              <a:solidFill>
                <a:srgbClr val="F0F6FC"/>
              </a:solidFill>
              <a:latin typeface="Arial"/>
              <a:ea typeface="Arial"/>
              <a:cs typeface="Arial"/>
              <a:sym typeface="Arial"/>
            </a:endParaRPr>
          </a:p>
        </p:txBody>
      </p:sp>
      <p:cxnSp>
        <p:nvCxnSpPr>
          <p:cNvPr id="4652" name="Google Shape;4652;p222"/>
          <p:cNvCxnSpPr/>
          <p:nvPr/>
        </p:nvCxnSpPr>
        <p:spPr>
          <a:xfrm>
            <a:off x="1445616" y="1937284"/>
            <a:ext cx="0" cy="727200"/>
          </a:xfrm>
          <a:prstGeom prst="straightConnector1">
            <a:avLst/>
          </a:prstGeom>
          <a:noFill/>
          <a:ln w="19050" cap="rnd" cmpd="sng">
            <a:solidFill>
              <a:schemeClr val="accent1"/>
            </a:solidFill>
            <a:prstDash val="solid"/>
            <a:round/>
            <a:headEnd type="none" w="sm" len="sm"/>
            <a:tailEnd type="none" w="sm" len="sm"/>
          </a:ln>
        </p:spPr>
      </p:cxnSp>
      <p:cxnSp>
        <p:nvCxnSpPr>
          <p:cNvPr id="4653" name="Google Shape;4653;p222"/>
          <p:cNvCxnSpPr>
            <a:stCxn id="4650" idx="1"/>
          </p:cNvCxnSpPr>
          <p:nvPr/>
        </p:nvCxnSpPr>
        <p:spPr>
          <a:xfrm rot="10800000">
            <a:off x="1445497" y="2667423"/>
            <a:ext cx="720000" cy="0"/>
          </a:xfrm>
          <a:prstGeom prst="straightConnector1">
            <a:avLst/>
          </a:prstGeom>
          <a:noFill/>
          <a:ln w="19050" cap="rnd" cmpd="sng">
            <a:solidFill>
              <a:schemeClr val="accent5"/>
            </a:solidFill>
            <a:prstDash val="solid"/>
            <a:round/>
            <a:headEnd type="none" w="sm" len="sm"/>
            <a:tailEnd type="none" w="sm" len="sm"/>
          </a:ln>
        </p:spPr>
      </p:cxnSp>
      <p:cxnSp>
        <p:nvCxnSpPr>
          <p:cNvPr id="4654" name="Google Shape;4654;p222"/>
          <p:cNvCxnSpPr/>
          <p:nvPr/>
        </p:nvCxnSpPr>
        <p:spPr>
          <a:xfrm>
            <a:off x="3762476" y="4310755"/>
            <a:ext cx="0" cy="727200"/>
          </a:xfrm>
          <a:prstGeom prst="straightConnector1">
            <a:avLst/>
          </a:prstGeom>
          <a:noFill/>
          <a:ln w="19050" cap="rnd" cmpd="sng">
            <a:solidFill>
              <a:schemeClr val="accent2"/>
            </a:solidFill>
            <a:prstDash val="solid"/>
            <a:round/>
            <a:headEnd type="none" w="sm" len="sm"/>
            <a:tailEnd type="none" w="sm" len="sm"/>
          </a:ln>
        </p:spPr>
      </p:cxnSp>
      <p:cxnSp>
        <p:nvCxnSpPr>
          <p:cNvPr id="4655" name="Google Shape;4655;p222"/>
          <p:cNvCxnSpPr/>
          <p:nvPr/>
        </p:nvCxnSpPr>
        <p:spPr>
          <a:xfrm rot="10800000">
            <a:off x="3762356" y="5040868"/>
            <a:ext cx="720000" cy="0"/>
          </a:xfrm>
          <a:prstGeom prst="straightConnector1">
            <a:avLst/>
          </a:prstGeom>
          <a:noFill/>
          <a:ln w="19050" cap="rnd" cmpd="sng">
            <a:solidFill>
              <a:schemeClr val="accent6"/>
            </a:solidFill>
            <a:prstDash val="solid"/>
            <a:round/>
            <a:headEnd type="none" w="sm" len="sm"/>
            <a:tailEnd type="none" w="sm" len="sm"/>
          </a:ln>
        </p:spPr>
      </p:cxnSp>
      <p:sp>
        <p:nvSpPr>
          <p:cNvPr id="4656" name="Google Shape;4656;p222"/>
          <p:cNvSpPr/>
          <p:nvPr/>
        </p:nvSpPr>
        <p:spPr>
          <a:xfrm>
            <a:off x="4482356" y="4614459"/>
            <a:ext cx="6400800" cy="888400"/>
          </a:xfrm>
          <a:prstGeom prst="roundRect">
            <a:avLst>
              <a:gd name="adj" fmla="val 10949"/>
            </a:avLst>
          </a:prstGeom>
          <a:noFill/>
          <a:ln w="19050" cap="flat" cmpd="sng">
            <a:solidFill>
              <a:schemeClr val="accent6"/>
            </a:solidFill>
            <a:prstDash val="solid"/>
            <a:round/>
            <a:headEnd type="none" w="sm" len="sm"/>
            <a:tailEnd type="none" w="sm" len="sm"/>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66" b="0" i="0" u="none" strike="noStrike" cap="none">
              <a:solidFill>
                <a:srgbClr val="F0F6FC"/>
              </a:solidFill>
              <a:latin typeface="Arial"/>
              <a:ea typeface="Arial"/>
              <a:cs typeface="Arial"/>
              <a:sym typeface="Arial"/>
            </a:endParaRPr>
          </a:p>
        </p:txBody>
      </p:sp>
      <p:grpSp>
        <p:nvGrpSpPr>
          <p:cNvPr id="4657" name="Google Shape;4657;p222"/>
          <p:cNvGrpSpPr/>
          <p:nvPr/>
        </p:nvGrpSpPr>
        <p:grpSpPr>
          <a:xfrm>
            <a:off x="12253600" y="1"/>
            <a:ext cx="3438989" cy="3424452"/>
            <a:chOff x="22170399" y="777240"/>
            <a:chExt cx="6877978" cy="6848903"/>
          </a:xfrm>
        </p:grpSpPr>
        <p:grpSp>
          <p:nvGrpSpPr>
            <p:cNvPr id="4658" name="Google Shape;4658;p222"/>
            <p:cNvGrpSpPr/>
            <p:nvPr/>
          </p:nvGrpSpPr>
          <p:grpSpPr>
            <a:xfrm>
              <a:off x="22170399" y="777240"/>
              <a:ext cx="6877978" cy="6848903"/>
              <a:chOff x="22155159" y="0"/>
              <a:chExt cx="6877978" cy="6848903"/>
            </a:xfrm>
          </p:grpSpPr>
          <p:sp>
            <p:nvSpPr>
              <p:cNvPr id="4659" name="Google Shape;4659;p222"/>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660" name="Google Shape;4660;p222"/>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661" name="Google Shape;4661;p222"/>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662" name="Google Shape;4662;p222"/>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663" name="Google Shape;4663;p222"/>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664" name="Google Shape;4664;p222"/>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665" name="Google Shape;4665;p222"/>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666" name="Google Shape;4666;p222"/>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667" name="Google Shape;4667;p222"/>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668" name="Google Shape;4668;p222"/>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669" name="Google Shape;4669;p222"/>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670" name="Google Shape;4670;p222"/>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671" name="Google Shape;4671;p222"/>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672" name="Google Shape;4672;p222"/>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673" name="Google Shape;4673;p222"/>
          <p:cNvSpPr txBox="1">
            <a:spLocks noGrp="1"/>
          </p:cNvSpPr>
          <p:nvPr>
            <p:ph type="subTitle" idx="1"/>
          </p:nvPr>
        </p:nvSpPr>
        <p:spPr>
          <a:xfrm>
            <a:off x="1219200" y="1304544"/>
            <a:ext cx="60108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400"/>
              <a:buNone/>
              <a:defRPr>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674" name="Google Shape;4674;p222"/>
          <p:cNvSpPr txBox="1">
            <a:spLocks noGrp="1"/>
          </p:cNvSpPr>
          <p:nvPr>
            <p:ph type="subTitle" idx="2"/>
          </p:nvPr>
        </p:nvSpPr>
        <p:spPr>
          <a:xfrm>
            <a:off x="2365248" y="2474976"/>
            <a:ext cx="60108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400"/>
              <a:buNone/>
              <a:defRPr>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675" name="Google Shape;4675;p222"/>
          <p:cNvSpPr txBox="1">
            <a:spLocks noGrp="1"/>
          </p:cNvSpPr>
          <p:nvPr>
            <p:ph type="subTitle" idx="3"/>
          </p:nvPr>
        </p:nvSpPr>
        <p:spPr>
          <a:xfrm>
            <a:off x="3511296" y="3669792"/>
            <a:ext cx="60108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400"/>
              <a:buNone/>
              <a:defRPr>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676" name="Google Shape;4676;p222"/>
          <p:cNvSpPr txBox="1">
            <a:spLocks noGrp="1"/>
          </p:cNvSpPr>
          <p:nvPr>
            <p:ph type="subTitle" idx="4"/>
          </p:nvPr>
        </p:nvSpPr>
        <p:spPr>
          <a:xfrm>
            <a:off x="4681728" y="4864608"/>
            <a:ext cx="5218000" cy="390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400"/>
              <a:buNone/>
              <a:defRPr>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19354205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matchingName="88. Title/funnel four">
  <p:cSld name="88. Title/funnel four">
    <p:spTree>
      <p:nvGrpSpPr>
        <p:cNvPr id="1" name="Shape 4677"/>
        <p:cNvGrpSpPr/>
        <p:nvPr/>
      </p:nvGrpSpPr>
      <p:grpSpPr>
        <a:xfrm>
          <a:off x="0" y="0"/>
          <a:ext cx="0" cy="0"/>
          <a:chOff x="0" y="0"/>
          <a:chExt cx="0" cy="0"/>
        </a:xfrm>
      </p:grpSpPr>
      <p:sp>
        <p:nvSpPr>
          <p:cNvPr id="4678" name="Google Shape;4678;p223"/>
          <p:cNvSpPr/>
          <p:nvPr/>
        </p:nvSpPr>
        <p:spPr>
          <a:xfrm>
            <a:off x="7348000" y="4248751"/>
            <a:ext cx="2627200" cy="603600"/>
          </a:xfrm>
          <a:prstGeom prst="roundRect">
            <a:avLst>
              <a:gd name="adj" fmla="val 17744"/>
            </a:avLst>
          </a:prstGeom>
          <a:noFill/>
          <a:ln w="19050" cap="flat" cmpd="sng">
            <a:solidFill>
              <a:srgbClr val="2A9D9A"/>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679" name="Google Shape;4679;p223"/>
          <p:cNvSpPr/>
          <p:nvPr/>
        </p:nvSpPr>
        <p:spPr>
          <a:xfrm>
            <a:off x="7055800" y="3501051"/>
            <a:ext cx="3211600" cy="603600"/>
          </a:xfrm>
          <a:prstGeom prst="roundRect">
            <a:avLst>
              <a:gd name="adj" fmla="val 13535"/>
            </a:avLst>
          </a:prstGeom>
          <a:no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680" name="Google Shape;4680;p223"/>
          <p:cNvSpPr/>
          <p:nvPr/>
        </p:nvSpPr>
        <p:spPr>
          <a:xfrm>
            <a:off x="6698600" y="2753351"/>
            <a:ext cx="3926000" cy="603600"/>
          </a:xfrm>
          <a:prstGeom prst="roundRect">
            <a:avLst>
              <a:gd name="adj" fmla="val 13535"/>
            </a:avLst>
          </a:prstGeom>
          <a:noFill/>
          <a:ln w="19050" cap="flat" cmpd="sng">
            <a:solidFill>
              <a:srgbClr val="797EF9"/>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681" name="Google Shape;4681;p223"/>
          <p:cNvSpPr/>
          <p:nvPr/>
        </p:nvSpPr>
        <p:spPr>
          <a:xfrm>
            <a:off x="6350000" y="2005684"/>
            <a:ext cx="4623200" cy="603600"/>
          </a:xfrm>
          <a:prstGeom prst="roundRect">
            <a:avLst>
              <a:gd name="adj" fmla="val 15640"/>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682" name="Google Shape;4682;p223"/>
          <p:cNvSpPr txBox="1">
            <a:spLocks noGrp="1"/>
          </p:cNvSpPr>
          <p:nvPr>
            <p:ph type="title"/>
          </p:nvPr>
        </p:nvSpPr>
        <p:spPr>
          <a:xfrm>
            <a:off x="608395" y="2266951"/>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grpSp>
        <p:nvGrpSpPr>
          <p:cNvPr id="4683" name="Google Shape;4683;p223"/>
          <p:cNvGrpSpPr/>
          <p:nvPr/>
        </p:nvGrpSpPr>
        <p:grpSpPr>
          <a:xfrm>
            <a:off x="12253600" y="1"/>
            <a:ext cx="3438989" cy="3424452"/>
            <a:chOff x="22170399" y="777240"/>
            <a:chExt cx="6877978" cy="6848903"/>
          </a:xfrm>
        </p:grpSpPr>
        <p:grpSp>
          <p:nvGrpSpPr>
            <p:cNvPr id="4684" name="Google Shape;4684;p223"/>
            <p:cNvGrpSpPr/>
            <p:nvPr/>
          </p:nvGrpSpPr>
          <p:grpSpPr>
            <a:xfrm>
              <a:off x="22170399" y="777240"/>
              <a:ext cx="6877978" cy="6848903"/>
              <a:chOff x="22155159" y="0"/>
              <a:chExt cx="6877978" cy="6848903"/>
            </a:xfrm>
          </p:grpSpPr>
          <p:sp>
            <p:nvSpPr>
              <p:cNvPr id="4685" name="Google Shape;4685;p223"/>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686" name="Google Shape;4686;p223"/>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687" name="Google Shape;4687;p223"/>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688" name="Google Shape;4688;p223"/>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689" name="Google Shape;4689;p223"/>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690" name="Google Shape;4690;p223"/>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691" name="Google Shape;4691;p223"/>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692" name="Google Shape;4692;p223"/>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693" name="Google Shape;4693;p223"/>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694" name="Google Shape;4694;p223"/>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695" name="Google Shape;4695;p223"/>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696" name="Google Shape;4696;p223"/>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697" name="Google Shape;4697;p223"/>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698" name="Google Shape;4698;p223"/>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699" name="Google Shape;4699;p223"/>
          <p:cNvSpPr txBox="1">
            <a:spLocks noGrp="1"/>
          </p:cNvSpPr>
          <p:nvPr>
            <p:ph type="subTitle" idx="1"/>
          </p:nvPr>
        </p:nvSpPr>
        <p:spPr>
          <a:xfrm>
            <a:off x="6698600" y="2095051"/>
            <a:ext cx="39260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700" name="Google Shape;4700;p223"/>
          <p:cNvSpPr txBox="1">
            <a:spLocks noGrp="1"/>
          </p:cNvSpPr>
          <p:nvPr>
            <p:ph type="subTitle" idx="2"/>
          </p:nvPr>
        </p:nvSpPr>
        <p:spPr>
          <a:xfrm>
            <a:off x="6885800" y="2844651"/>
            <a:ext cx="35516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701" name="Google Shape;4701;p223"/>
          <p:cNvSpPr txBox="1">
            <a:spLocks noGrp="1"/>
          </p:cNvSpPr>
          <p:nvPr>
            <p:ph type="subTitle" idx="3"/>
          </p:nvPr>
        </p:nvSpPr>
        <p:spPr>
          <a:xfrm>
            <a:off x="7316200" y="3588351"/>
            <a:ext cx="26908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702" name="Google Shape;4702;p223"/>
          <p:cNvSpPr txBox="1">
            <a:spLocks noGrp="1"/>
          </p:cNvSpPr>
          <p:nvPr>
            <p:ph type="subTitle" idx="4"/>
          </p:nvPr>
        </p:nvSpPr>
        <p:spPr>
          <a:xfrm>
            <a:off x="7594800" y="4332084"/>
            <a:ext cx="21336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Tree>
    <p:extLst>
      <p:ext uri="{BB962C8B-B14F-4D97-AF65-F5344CB8AC3E}">
        <p14:creationId xmlns:p14="http://schemas.microsoft.com/office/powerpoint/2010/main" val="2699384120"/>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matchingName="89. Title/funnel five">
  <p:cSld name="89. Title/funnel five">
    <p:spTree>
      <p:nvGrpSpPr>
        <p:cNvPr id="1" name="Shape 4703"/>
        <p:cNvGrpSpPr/>
        <p:nvPr/>
      </p:nvGrpSpPr>
      <p:grpSpPr>
        <a:xfrm>
          <a:off x="0" y="0"/>
          <a:ext cx="0" cy="0"/>
          <a:chOff x="0" y="0"/>
          <a:chExt cx="0" cy="0"/>
        </a:xfrm>
      </p:grpSpPr>
      <p:grpSp>
        <p:nvGrpSpPr>
          <p:cNvPr id="4704" name="Google Shape;4704;p224"/>
          <p:cNvGrpSpPr/>
          <p:nvPr/>
        </p:nvGrpSpPr>
        <p:grpSpPr>
          <a:xfrm>
            <a:off x="12253600" y="1"/>
            <a:ext cx="3438989" cy="3424452"/>
            <a:chOff x="22170399" y="777240"/>
            <a:chExt cx="6877978" cy="6848903"/>
          </a:xfrm>
        </p:grpSpPr>
        <p:grpSp>
          <p:nvGrpSpPr>
            <p:cNvPr id="4705" name="Google Shape;4705;p224"/>
            <p:cNvGrpSpPr/>
            <p:nvPr/>
          </p:nvGrpSpPr>
          <p:grpSpPr>
            <a:xfrm>
              <a:off x="22170399" y="777240"/>
              <a:ext cx="6877978" cy="6848903"/>
              <a:chOff x="22155159" y="0"/>
              <a:chExt cx="6877978" cy="6848903"/>
            </a:xfrm>
          </p:grpSpPr>
          <p:sp>
            <p:nvSpPr>
              <p:cNvPr id="4706" name="Google Shape;4706;p224"/>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707" name="Google Shape;4707;p224"/>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708" name="Google Shape;4708;p224"/>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709" name="Google Shape;4709;p224"/>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710" name="Google Shape;4710;p224"/>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711" name="Google Shape;4711;p224"/>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712" name="Google Shape;4712;p224"/>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713" name="Google Shape;4713;p224"/>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714" name="Google Shape;4714;p224"/>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715" name="Google Shape;4715;p224"/>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716" name="Google Shape;4716;p224"/>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717" name="Google Shape;4717;p224"/>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718" name="Google Shape;4718;p224"/>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719" name="Google Shape;4719;p224"/>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720" name="Google Shape;4720;p224"/>
          <p:cNvSpPr txBox="1">
            <a:spLocks noGrp="1"/>
          </p:cNvSpPr>
          <p:nvPr>
            <p:ph type="title"/>
          </p:nvPr>
        </p:nvSpPr>
        <p:spPr>
          <a:xfrm>
            <a:off x="608395" y="2266951"/>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4721" name="Google Shape;4721;p224"/>
          <p:cNvSpPr/>
          <p:nvPr/>
        </p:nvSpPr>
        <p:spPr>
          <a:xfrm>
            <a:off x="7348000" y="3874833"/>
            <a:ext cx="2627200" cy="603600"/>
          </a:xfrm>
          <a:prstGeom prst="roundRect">
            <a:avLst>
              <a:gd name="adj" fmla="val 17744"/>
            </a:avLst>
          </a:prstGeom>
          <a:noFill/>
          <a:ln w="19050" cap="flat" cmpd="sng">
            <a:solidFill>
              <a:srgbClr val="2A9D9A"/>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722" name="Google Shape;4722;p224"/>
          <p:cNvSpPr/>
          <p:nvPr/>
        </p:nvSpPr>
        <p:spPr>
          <a:xfrm>
            <a:off x="7055800" y="3127133"/>
            <a:ext cx="3211600" cy="603600"/>
          </a:xfrm>
          <a:prstGeom prst="roundRect">
            <a:avLst>
              <a:gd name="adj" fmla="val 13535"/>
            </a:avLst>
          </a:prstGeom>
          <a:no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723" name="Google Shape;4723;p224"/>
          <p:cNvSpPr/>
          <p:nvPr/>
        </p:nvSpPr>
        <p:spPr>
          <a:xfrm>
            <a:off x="6698600" y="2379433"/>
            <a:ext cx="3926000" cy="603600"/>
          </a:xfrm>
          <a:prstGeom prst="roundRect">
            <a:avLst>
              <a:gd name="adj" fmla="val 13535"/>
            </a:avLst>
          </a:prstGeom>
          <a:noFill/>
          <a:ln w="19050" cap="flat" cmpd="sng">
            <a:solidFill>
              <a:srgbClr val="797EF9"/>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724" name="Google Shape;4724;p224"/>
          <p:cNvSpPr/>
          <p:nvPr/>
        </p:nvSpPr>
        <p:spPr>
          <a:xfrm>
            <a:off x="6350000" y="1631767"/>
            <a:ext cx="4623200" cy="603600"/>
          </a:xfrm>
          <a:prstGeom prst="roundRect">
            <a:avLst>
              <a:gd name="adj" fmla="val 15640"/>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725" name="Google Shape;4725;p224"/>
          <p:cNvSpPr txBox="1">
            <a:spLocks noGrp="1"/>
          </p:cNvSpPr>
          <p:nvPr>
            <p:ph type="subTitle" idx="1"/>
          </p:nvPr>
        </p:nvSpPr>
        <p:spPr>
          <a:xfrm>
            <a:off x="6698600" y="1721133"/>
            <a:ext cx="39260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726" name="Google Shape;4726;p224"/>
          <p:cNvSpPr txBox="1">
            <a:spLocks noGrp="1"/>
          </p:cNvSpPr>
          <p:nvPr>
            <p:ph type="subTitle" idx="2"/>
          </p:nvPr>
        </p:nvSpPr>
        <p:spPr>
          <a:xfrm>
            <a:off x="6885800" y="2470733"/>
            <a:ext cx="35516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727" name="Google Shape;4727;p224"/>
          <p:cNvSpPr txBox="1">
            <a:spLocks noGrp="1"/>
          </p:cNvSpPr>
          <p:nvPr>
            <p:ph type="subTitle" idx="3"/>
          </p:nvPr>
        </p:nvSpPr>
        <p:spPr>
          <a:xfrm>
            <a:off x="7316200" y="3214433"/>
            <a:ext cx="26908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728" name="Google Shape;4728;p224"/>
          <p:cNvSpPr txBox="1">
            <a:spLocks noGrp="1"/>
          </p:cNvSpPr>
          <p:nvPr>
            <p:ph type="subTitle" idx="4"/>
          </p:nvPr>
        </p:nvSpPr>
        <p:spPr>
          <a:xfrm>
            <a:off x="7594800" y="3958167"/>
            <a:ext cx="21336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729" name="Google Shape;4729;p224"/>
          <p:cNvSpPr/>
          <p:nvPr/>
        </p:nvSpPr>
        <p:spPr>
          <a:xfrm>
            <a:off x="7594800" y="4622551"/>
            <a:ext cx="2133600" cy="603600"/>
          </a:xfrm>
          <a:prstGeom prst="roundRect">
            <a:avLst>
              <a:gd name="adj" fmla="val 17744"/>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730" name="Google Shape;4730;p224"/>
          <p:cNvSpPr txBox="1">
            <a:spLocks noGrp="1"/>
          </p:cNvSpPr>
          <p:nvPr>
            <p:ph type="subTitle" idx="5"/>
          </p:nvPr>
        </p:nvSpPr>
        <p:spPr>
          <a:xfrm>
            <a:off x="7795215" y="4705884"/>
            <a:ext cx="17324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Tree>
    <p:extLst>
      <p:ext uri="{BB962C8B-B14F-4D97-AF65-F5344CB8AC3E}">
        <p14:creationId xmlns:p14="http://schemas.microsoft.com/office/powerpoint/2010/main" val="200563549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matchingName="90. Funnel four w supporting">
  <p:cSld name="90. Funnel four w supporting">
    <p:spTree>
      <p:nvGrpSpPr>
        <p:cNvPr id="1" name="Shape 4731"/>
        <p:cNvGrpSpPr/>
        <p:nvPr/>
      </p:nvGrpSpPr>
      <p:grpSpPr>
        <a:xfrm>
          <a:off x="0" y="0"/>
          <a:ext cx="0" cy="0"/>
          <a:chOff x="0" y="0"/>
          <a:chExt cx="0" cy="0"/>
        </a:xfrm>
      </p:grpSpPr>
      <p:cxnSp>
        <p:nvCxnSpPr>
          <p:cNvPr id="4732" name="Google Shape;4732;p225"/>
          <p:cNvCxnSpPr/>
          <p:nvPr/>
        </p:nvCxnSpPr>
        <p:spPr>
          <a:xfrm flipH="1">
            <a:off x="2006504" y="2372467"/>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4733" name="Google Shape;4733;p225"/>
          <p:cNvCxnSpPr/>
          <p:nvPr/>
        </p:nvCxnSpPr>
        <p:spPr>
          <a:xfrm flipH="1">
            <a:off x="1996205" y="3120149"/>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4734" name="Google Shape;4734;p225"/>
          <p:cNvCxnSpPr/>
          <p:nvPr/>
        </p:nvCxnSpPr>
        <p:spPr>
          <a:xfrm flipH="1">
            <a:off x="1996205" y="3867832"/>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4735" name="Google Shape;4735;p225"/>
          <p:cNvCxnSpPr/>
          <p:nvPr/>
        </p:nvCxnSpPr>
        <p:spPr>
          <a:xfrm flipH="1">
            <a:off x="2006504" y="4615515"/>
            <a:ext cx="5296000" cy="6000"/>
          </a:xfrm>
          <a:prstGeom prst="straightConnector1">
            <a:avLst/>
          </a:prstGeom>
          <a:noFill/>
          <a:ln w="19050" cap="flat" cmpd="sng">
            <a:solidFill>
              <a:schemeClr val="dk2"/>
            </a:solidFill>
            <a:prstDash val="solid"/>
            <a:round/>
            <a:headEnd type="none" w="sm" len="sm"/>
            <a:tailEnd type="none" w="sm" len="sm"/>
          </a:ln>
        </p:spPr>
      </p:cxnSp>
      <p:sp>
        <p:nvSpPr>
          <p:cNvPr id="4736" name="Google Shape;4736;p225"/>
          <p:cNvSpPr/>
          <p:nvPr/>
        </p:nvSpPr>
        <p:spPr>
          <a:xfrm>
            <a:off x="1432749" y="2086721"/>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i="0" u="none" strike="noStrike" cap="none">
                <a:solidFill>
                  <a:schemeClr val="lt1"/>
                </a:solidFill>
                <a:latin typeface="Roboto Mono"/>
                <a:ea typeface="Roboto Mono"/>
                <a:cs typeface="Roboto Mono"/>
                <a:sym typeface="Roboto Mono"/>
              </a:rPr>
              <a:t>1</a:t>
            </a:r>
            <a:endParaRPr sz="1867" i="0" u="none" strike="noStrike" cap="none">
              <a:solidFill>
                <a:schemeClr val="lt1"/>
              </a:solidFill>
              <a:latin typeface="Roboto Mono"/>
              <a:ea typeface="Roboto Mono"/>
              <a:cs typeface="Roboto Mono"/>
              <a:sym typeface="Roboto Mono"/>
            </a:endParaRPr>
          </a:p>
        </p:txBody>
      </p:sp>
      <p:sp>
        <p:nvSpPr>
          <p:cNvPr id="4737" name="Google Shape;4737;p225"/>
          <p:cNvSpPr/>
          <p:nvPr/>
        </p:nvSpPr>
        <p:spPr>
          <a:xfrm>
            <a:off x="1432749" y="2834399"/>
            <a:ext cx="571600" cy="571600"/>
          </a:xfrm>
          <a:prstGeom prst="ellipse">
            <a:avLst/>
          </a:prstGeom>
          <a:solidFill>
            <a:srgbClr val="090C0F"/>
          </a:solidFill>
          <a:ln w="19050" cap="flat" cmpd="sng">
            <a:solidFill>
              <a:srgbClr val="797EF9"/>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i="0" u="none" strike="noStrike" cap="none">
                <a:solidFill>
                  <a:schemeClr val="lt1"/>
                </a:solidFill>
                <a:latin typeface="Roboto Mono"/>
                <a:ea typeface="Roboto Mono"/>
                <a:cs typeface="Roboto Mono"/>
                <a:sym typeface="Roboto Mono"/>
              </a:rPr>
              <a:t>2</a:t>
            </a:r>
            <a:endParaRPr sz="1867" i="0" u="none" strike="noStrike" cap="none">
              <a:solidFill>
                <a:schemeClr val="lt1"/>
              </a:solidFill>
              <a:latin typeface="Roboto Mono"/>
              <a:ea typeface="Roboto Mono"/>
              <a:cs typeface="Roboto Mono"/>
              <a:sym typeface="Roboto Mono"/>
            </a:endParaRPr>
          </a:p>
        </p:txBody>
      </p:sp>
      <p:sp>
        <p:nvSpPr>
          <p:cNvPr id="4738" name="Google Shape;4738;p225"/>
          <p:cNvSpPr/>
          <p:nvPr/>
        </p:nvSpPr>
        <p:spPr>
          <a:xfrm>
            <a:off x="1432749" y="3582076"/>
            <a:ext cx="571600" cy="571600"/>
          </a:xfrm>
          <a:prstGeom prst="ellipse">
            <a:avLst/>
          </a:prstGeom>
          <a:solidFill>
            <a:srgbClr val="090C0F"/>
          </a:solidFill>
          <a:ln w="19050" cap="flat" cmpd="sng">
            <a:solidFill>
              <a:srgbClr val="388BFD"/>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i="0" u="none" strike="noStrike" cap="none">
                <a:solidFill>
                  <a:schemeClr val="lt1"/>
                </a:solidFill>
                <a:latin typeface="Roboto Mono"/>
                <a:ea typeface="Roboto Mono"/>
                <a:cs typeface="Roboto Mono"/>
                <a:sym typeface="Roboto Mono"/>
              </a:rPr>
              <a:t>3</a:t>
            </a:r>
            <a:endParaRPr sz="1867" i="0" u="none" strike="noStrike" cap="none">
              <a:solidFill>
                <a:schemeClr val="lt1"/>
              </a:solidFill>
              <a:latin typeface="Roboto Mono"/>
              <a:ea typeface="Roboto Mono"/>
              <a:cs typeface="Roboto Mono"/>
              <a:sym typeface="Roboto Mono"/>
            </a:endParaRPr>
          </a:p>
        </p:txBody>
      </p:sp>
      <p:sp>
        <p:nvSpPr>
          <p:cNvPr id="4739" name="Google Shape;4739;p225"/>
          <p:cNvSpPr/>
          <p:nvPr/>
        </p:nvSpPr>
        <p:spPr>
          <a:xfrm>
            <a:off x="1432749" y="4329755"/>
            <a:ext cx="571600" cy="571600"/>
          </a:xfrm>
          <a:prstGeom prst="ellipse">
            <a:avLst/>
          </a:prstGeom>
          <a:solidFill>
            <a:srgbClr val="090C0F"/>
          </a:solidFill>
          <a:ln w="19050" cap="flat" cmpd="sng">
            <a:solidFill>
              <a:srgbClr val="2A9D9A"/>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i="0" u="none" strike="noStrike" cap="none">
                <a:solidFill>
                  <a:schemeClr val="lt1"/>
                </a:solidFill>
                <a:latin typeface="Roboto Mono"/>
                <a:ea typeface="Roboto Mono"/>
                <a:cs typeface="Roboto Mono"/>
                <a:sym typeface="Roboto Mono"/>
              </a:rPr>
              <a:t>4</a:t>
            </a:r>
            <a:endParaRPr sz="1867" i="0" u="none" strike="noStrike" cap="none">
              <a:solidFill>
                <a:schemeClr val="lt1"/>
              </a:solidFill>
              <a:latin typeface="Roboto Mono"/>
              <a:ea typeface="Roboto Mono"/>
              <a:cs typeface="Roboto Mono"/>
              <a:sym typeface="Roboto Mono"/>
            </a:endParaRPr>
          </a:p>
        </p:txBody>
      </p:sp>
      <p:grpSp>
        <p:nvGrpSpPr>
          <p:cNvPr id="4740" name="Google Shape;4740;p225"/>
          <p:cNvGrpSpPr/>
          <p:nvPr/>
        </p:nvGrpSpPr>
        <p:grpSpPr>
          <a:xfrm>
            <a:off x="12253600" y="1"/>
            <a:ext cx="3438989" cy="3424452"/>
            <a:chOff x="22170399" y="777240"/>
            <a:chExt cx="6877978" cy="6848903"/>
          </a:xfrm>
        </p:grpSpPr>
        <p:grpSp>
          <p:nvGrpSpPr>
            <p:cNvPr id="4741" name="Google Shape;4741;p225"/>
            <p:cNvGrpSpPr/>
            <p:nvPr/>
          </p:nvGrpSpPr>
          <p:grpSpPr>
            <a:xfrm>
              <a:off x="22170399" y="777240"/>
              <a:ext cx="6877978" cy="6848903"/>
              <a:chOff x="22155159" y="0"/>
              <a:chExt cx="6877978" cy="6848903"/>
            </a:xfrm>
          </p:grpSpPr>
          <p:sp>
            <p:nvSpPr>
              <p:cNvPr id="4742" name="Google Shape;4742;p225"/>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743" name="Google Shape;4743;p225"/>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744" name="Google Shape;4744;p225"/>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745" name="Google Shape;4745;p225"/>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746" name="Google Shape;4746;p225"/>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747" name="Google Shape;4747;p225"/>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748" name="Google Shape;4748;p225"/>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749" name="Google Shape;4749;p225"/>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750" name="Google Shape;4750;p225"/>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751" name="Google Shape;4751;p225"/>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752" name="Google Shape;4752;p225"/>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753" name="Google Shape;4753;p225"/>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754" name="Google Shape;4754;p225"/>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755" name="Google Shape;4755;p225"/>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756" name="Google Shape;4756;p225"/>
          <p:cNvSpPr txBox="1">
            <a:spLocks noGrp="1"/>
          </p:cNvSpPr>
          <p:nvPr>
            <p:ph type="subTitle" idx="1"/>
          </p:nvPr>
        </p:nvSpPr>
        <p:spPr>
          <a:xfrm>
            <a:off x="7425936" y="2060433"/>
            <a:ext cx="3334800" cy="597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757" name="Google Shape;4757;p225"/>
          <p:cNvSpPr txBox="1">
            <a:spLocks noGrp="1"/>
          </p:cNvSpPr>
          <p:nvPr>
            <p:ph type="subTitle" idx="2"/>
          </p:nvPr>
        </p:nvSpPr>
        <p:spPr>
          <a:xfrm>
            <a:off x="7425936" y="2804147"/>
            <a:ext cx="3334800" cy="597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758" name="Google Shape;4758;p225"/>
          <p:cNvSpPr txBox="1">
            <a:spLocks noGrp="1"/>
          </p:cNvSpPr>
          <p:nvPr>
            <p:ph type="subTitle" idx="3"/>
          </p:nvPr>
        </p:nvSpPr>
        <p:spPr>
          <a:xfrm>
            <a:off x="7425936" y="3560052"/>
            <a:ext cx="3334800" cy="597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759" name="Google Shape;4759;p225"/>
          <p:cNvSpPr txBox="1">
            <a:spLocks noGrp="1"/>
          </p:cNvSpPr>
          <p:nvPr>
            <p:ph type="subTitle" idx="4"/>
          </p:nvPr>
        </p:nvSpPr>
        <p:spPr>
          <a:xfrm>
            <a:off x="7425936" y="4303765"/>
            <a:ext cx="3334800" cy="597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760" name="Google Shape;4760;p225"/>
          <p:cNvSpPr/>
          <p:nvPr/>
        </p:nvSpPr>
        <p:spPr>
          <a:xfrm>
            <a:off x="3411000" y="4350351"/>
            <a:ext cx="2627200" cy="603600"/>
          </a:xfrm>
          <a:prstGeom prst="roundRect">
            <a:avLst>
              <a:gd name="adj" fmla="val 17744"/>
            </a:avLst>
          </a:prstGeom>
          <a:solidFill>
            <a:srgbClr val="090C0F"/>
          </a:solidFill>
          <a:ln w="19050" cap="flat" cmpd="sng">
            <a:solidFill>
              <a:srgbClr val="2A9D9A"/>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761" name="Google Shape;4761;p225"/>
          <p:cNvSpPr/>
          <p:nvPr/>
        </p:nvSpPr>
        <p:spPr>
          <a:xfrm>
            <a:off x="3118800" y="3602651"/>
            <a:ext cx="3211600" cy="603600"/>
          </a:xfrm>
          <a:prstGeom prst="roundRect">
            <a:avLst>
              <a:gd name="adj" fmla="val 13535"/>
            </a:avLst>
          </a:prstGeom>
          <a:solidFill>
            <a:srgbClr val="090C0F"/>
          </a:solid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762" name="Google Shape;4762;p225"/>
          <p:cNvSpPr/>
          <p:nvPr/>
        </p:nvSpPr>
        <p:spPr>
          <a:xfrm>
            <a:off x="2761600" y="2854951"/>
            <a:ext cx="3926000" cy="603600"/>
          </a:xfrm>
          <a:prstGeom prst="roundRect">
            <a:avLst>
              <a:gd name="adj" fmla="val 13535"/>
            </a:avLst>
          </a:prstGeom>
          <a:solidFill>
            <a:srgbClr val="090C0F"/>
          </a:solidFill>
          <a:ln w="19050" cap="flat" cmpd="sng">
            <a:solidFill>
              <a:srgbClr val="797EF9"/>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763" name="Google Shape;4763;p225"/>
          <p:cNvSpPr/>
          <p:nvPr/>
        </p:nvSpPr>
        <p:spPr>
          <a:xfrm>
            <a:off x="2413000" y="2107284"/>
            <a:ext cx="4623200" cy="603600"/>
          </a:xfrm>
          <a:prstGeom prst="roundRect">
            <a:avLst>
              <a:gd name="adj" fmla="val 15640"/>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764" name="Google Shape;4764;p225"/>
          <p:cNvSpPr txBox="1">
            <a:spLocks noGrp="1"/>
          </p:cNvSpPr>
          <p:nvPr>
            <p:ph type="subTitle" idx="5"/>
          </p:nvPr>
        </p:nvSpPr>
        <p:spPr>
          <a:xfrm>
            <a:off x="2761600" y="2196651"/>
            <a:ext cx="39260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765" name="Google Shape;4765;p225"/>
          <p:cNvSpPr txBox="1">
            <a:spLocks noGrp="1"/>
          </p:cNvSpPr>
          <p:nvPr>
            <p:ph type="subTitle" idx="6"/>
          </p:nvPr>
        </p:nvSpPr>
        <p:spPr>
          <a:xfrm>
            <a:off x="2948800" y="2946251"/>
            <a:ext cx="35516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766" name="Google Shape;4766;p225"/>
          <p:cNvSpPr txBox="1">
            <a:spLocks noGrp="1"/>
          </p:cNvSpPr>
          <p:nvPr>
            <p:ph type="subTitle" idx="7"/>
          </p:nvPr>
        </p:nvSpPr>
        <p:spPr>
          <a:xfrm>
            <a:off x="3379200" y="3689951"/>
            <a:ext cx="26908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767" name="Google Shape;4767;p225"/>
          <p:cNvSpPr txBox="1">
            <a:spLocks noGrp="1"/>
          </p:cNvSpPr>
          <p:nvPr>
            <p:ph type="subTitle" idx="8"/>
          </p:nvPr>
        </p:nvSpPr>
        <p:spPr>
          <a:xfrm>
            <a:off x="3657800" y="4433684"/>
            <a:ext cx="21336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Tree>
    <p:extLst>
      <p:ext uri="{BB962C8B-B14F-4D97-AF65-F5344CB8AC3E}">
        <p14:creationId xmlns:p14="http://schemas.microsoft.com/office/powerpoint/2010/main" val="327861485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matchingName="91. Funnel five w supporting">
  <p:cSld name="91. Funnel five w supporting">
    <p:spTree>
      <p:nvGrpSpPr>
        <p:cNvPr id="1" name="Shape 4768"/>
        <p:cNvGrpSpPr/>
        <p:nvPr/>
      </p:nvGrpSpPr>
      <p:grpSpPr>
        <a:xfrm>
          <a:off x="0" y="0"/>
          <a:ext cx="0" cy="0"/>
          <a:chOff x="0" y="0"/>
          <a:chExt cx="0" cy="0"/>
        </a:xfrm>
      </p:grpSpPr>
      <p:grpSp>
        <p:nvGrpSpPr>
          <p:cNvPr id="4769" name="Google Shape;4769;p226"/>
          <p:cNvGrpSpPr/>
          <p:nvPr/>
        </p:nvGrpSpPr>
        <p:grpSpPr>
          <a:xfrm>
            <a:off x="12253600" y="1"/>
            <a:ext cx="3438989" cy="3424452"/>
            <a:chOff x="22170399" y="777240"/>
            <a:chExt cx="6877978" cy="6848903"/>
          </a:xfrm>
        </p:grpSpPr>
        <p:grpSp>
          <p:nvGrpSpPr>
            <p:cNvPr id="4770" name="Google Shape;4770;p226"/>
            <p:cNvGrpSpPr/>
            <p:nvPr/>
          </p:nvGrpSpPr>
          <p:grpSpPr>
            <a:xfrm>
              <a:off x="22170399" y="777240"/>
              <a:ext cx="6877978" cy="6848903"/>
              <a:chOff x="22155159" y="0"/>
              <a:chExt cx="6877978" cy="6848903"/>
            </a:xfrm>
          </p:grpSpPr>
          <p:sp>
            <p:nvSpPr>
              <p:cNvPr id="4771" name="Google Shape;4771;p226"/>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772" name="Google Shape;4772;p226"/>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773" name="Google Shape;4773;p226"/>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774" name="Google Shape;4774;p226"/>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775" name="Google Shape;4775;p226"/>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776" name="Google Shape;4776;p226"/>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777" name="Google Shape;4777;p226"/>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778" name="Google Shape;4778;p226"/>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779" name="Google Shape;4779;p226"/>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780" name="Google Shape;4780;p226"/>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781" name="Google Shape;4781;p226"/>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782" name="Google Shape;4782;p226"/>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783" name="Google Shape;4783;p226"/>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784" name="Google Shape;4784;p226"/>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cxnSp>
        <p:nvCxnSpPr>
          <p:cNvPr id="4785" name="Google Shape;4785;p226"/>
          <p:cNvCxnSpPr/>
          <p:nvPr/>
        </p:nvCxnSpPr>
        <p:spPr>
          <a:xfrm flipH="1">
            <a:off x="2006504" y="1864467"/>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4786" name="Google Shape;4786;p226"/>
          <p:cNvCxnSpPr/>
          <p:nvPr/>
        </p:nvCxnSpPr>
        <p:spPr>
          <a:xfrm flipH="1">
            <a:off x="1996205" y="2612149"/>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4787" name="Google Shape;4787;p226"/>
          <p:cNvCxnSpPr/>
          <p:nvPr/>
        </p:nvCxnSpPr>
        <p:spPr>
          <a:xfrm flipH="1">
            <a:off x="1996205" y="3359832"/>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4788" name="Google Shape;4788;p226"/>
          <p:cNvCxnSpPr/>
          <p:nvPr/>
        </p:nvCxnSpPr>
        <p:spPr>
          <a:xfrm flipH="1">
            <a:off x="2006504" y="4107515"/>
            <a:ext cx="5296000" cy="6000"/>
          </a:xfrm>
          <a:prstGeom prst="straightConnector1">
            <a:avLst/>
          </a:prstGeom>
          <a:noFill/>
          <a:ln w="19050" cap="flat" cmpd="sng">
            <a:solidFill>
              <a:schemeClr val="dk2"/>
            </a:solidFill>
            <a:prstDash val="solid"/>
            <a:round/>
            <a:headEnd type="none" w="sm" len="sm"/>
            <a:tailEnd type="none" w="sm" len="sm"/>
          </a:ln>
        </p:spPr>
      </p:cxnSp>
      <p:sp>
        <p:nvSpPr>
          <p:cNvPr id="4789" name="Google Shape;4789;p226"/>
          <p:cNvSpPr/>
          <p:nvPr/>
        </p:nvSpPr>
        <p:spPr>
          <a:xfrm>
            <a:off x="1432383" y="1578721"/>
            <a:ext cx="571600" cy="5716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i="0" u="none" strike="noStrike" cap="none">
                <a:solidFill>
                  <a:schemeClr val="lt1"/>
                </a:solidFill>
                <a:latin typeface="Roboto Mono"/>
                <a:ea typeface="Roboto Mono"/>
                <a:cs typeface="Roboto Mono"/>
                <a:sym typeface="Roboto Mono"/>
              </a:rPr>
              <a:t>1</a:t>
            </a:r>
            <a:endParaRPr sz="1867" i="0" u="none" strike="noStrike" cap="none">
              <a:solidFill>
                <a:schemeClr val="lt1"/>
              </a:solidFill>
              <a:latin typeface="Roboto Mono"/>
              <a:ea typeface="Roboto Mono"/>
              <a:cs typeface="Roboto Mono"/>
              <a:sym typeface="Roboto Mono"/>
            </a:endParaRPr>
          </a:p>
        </p:txBody>
      </p:sp>
      <p:sp>
        <p:nvSpPr>
          <p:cNvPr id="4790" name="Google Shape;4790;p226"/>
          <p:cNvSpPr/>
          <p:nvPr/>
        </p:nvSpPr>
        <p:spPr>
          <a:xfrm>
            <a:off x="1432383" y="2326399"/>
            <a:ext cx="571600" cy="571600"/>
          </a:xfrm>
          <a:prstGeom prst="ellipse">
            <a:avLst/>
          </a:prstGeom>
          <a:solidFill>
            <a:srgbClr val="090C0F"/>
          </a:solidFill>
          <a:ln w="19050" cap="flat" cmpd="sng">
            <a:solidFill>
              <a:srgbClr val="797EF9"/>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i="0" u="none" strike="noStrike" cap="none">
                <a:solidFill>
                  <a:schemeClr val="lt1"/>
                </a:solidFill>
                <a:latin typeface="Roboto Mono"/>
                <a:ea typeface="Roboto Mono"/>
                <a:cs typeface="Roboto Mono"/>
                <a:sym typeface="Roboto Mono"/>
              </a:rPr>
              <a:t>2</a:t>
            </a:r>
            <a:endParaRPr sz="1867" i="0" u="none" strike="noStrike" cap="none">
              <a:solidFill>
                <a:schemeClr val="lt1"/>
              </a:solidFill>
              <a:latin typeface="Roboto Mono"/>
              <a:ea typeface="Roboto Mono"/>
              <a:cs typeface="Roboto Mono"/>
              <a:sym typeface="Roboto Mono"/>
            </a:endParaRPr>
          </a:p>
        </p:txBody>
      </p:sp>
      <p:sp>
        <p:nvSpPr>
          <p:cNvPr id="4791" name="Google Shape;4791;p226"/>
          <p:cNvSpPr/>
          <p:nvPr/>
        </p:nvSpPr>
        <p:spPr>
          <a:xfrm>
            <a:off x="1432383" y="3074076"/>
            <a:ext cx="571600" cy="571600"/>
          </a:xfrm>
          <a:prstGeom prst="ellipse">
            <a:avLst/>
          </a:prstGeom>
          <a:solidFill>
            <a:srgbClr val="090C0F"/>
          </a:solidFill>
          <a:ln w="19050" cap="flat" cmpd="sng">
            <a:solidFill>
              <a:srgbClr val="388BFD"/>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i="0" u="none" strike="noStrike" cap="none">
                <a:solidFill>
                  <a:schemeClr val="lt1"/>
                </a:solidFill>
                <a:latin typeface="Roboto Mono"/>
                <a:ea typeface="Roboto Mono"/>
                <a:cs typeface="Roboto Mono"/>
                <a:sym typeface="Roboto Mono"/>
              </a:rPr>
              <a:t>3</a:t>
            </a:r>
            <a:endParaRPr sz="1867" i="0" u="none" strike="noStrike" cap="none">
              <a:solidFill>
                <a:schemeClr val="lt1"/>
              </a:solidFill>
              <a:latin typeface="Roboto Mono"/>
              <a:ea typeface="Roboto Mono"/>
              <a:cs typeface="Roboto Mono"/>
              <a:sym typeface="Roboto Mono"/>
            </a:endParaRPr>
          </a:p>
        </p:txBody>
      </p:sp>
      <p:sp>
        <p:nvSpPr>
          <p:cNvPr id="4792" name="Google Shape;4792;p226"/>
          <p:cNvSpPr/>
          <p:nvPr/>
        </p:nvSpPr>
        <p:spPr>
          <a:xfrm>
            <a:off x="1432383" y="3821755"/>
            <a:ext cx="571600" cy="571600"/>
          </a:xfrm>
          <a:prstGeom prst="ellipse">
            <a:avLst/>
          </a:prstGeom>
          <a:solidFill>
            <a:srgbClr val="090C0F"/>
          </a:solidFill>
          <a:ln w="19050" cap="flat" cmpd="sng">
            <a:solidFill>
              <a:srgbClr val="2A9D9A"/>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1867" i="0" u="none" strike="noStrike" cap="none">
                <a:solidFill>
                  <a:schemeClr val="lt1"/>
                </a:solidFill>
                <a:latin typeface="Roboto Mono"/>
                <a:ea typeface="Roboto Mono"/>
                <a:cs typeface="Roboto Mono"/>
                <a:sym typeface="Roboto Mono"/>
              </a:rPr>
              <a:t>4</a:t>
            </a:r>
            <a:endParaRPr sz="1867" i="0" u="none" strike="noStrike" cap="none">
              <a:solidFill>
                <a:schemeClr val="lt1"/>
              </a:solidFill>
              <a:latin typeface="Roboto Mono"/>
              <a:ea typeface="Roboto Mono"/>
              <a:cs typeface="Roboto Mono"/>
              <a:sym typeface="Roboto Mono"/>
            </a:endParaRPr>
          </a:p>
        </p:txBody>
      </p:sp>
      <p:sp>
        <p:nvSpPr>
          <p:cNvPr id="4793" name="Google Shape;4793;p226"/>
          <p:cNvSpPr txBox="1">
            <a:spLocks noGrp="1"/>
          </p:cNvSpPr>
          <p:nvPr>
            <p:ph type="subTitle" idx="1"/>
          </p:nvPr>
        </p:nvSpPr>
        <p:spPr>
          <a:xfrm>
            <a:off x="7425936" y="1552433"/>
            <a:ext cx="3334800" cy="597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794" name="Google Shape;4794;p226"/>
          <p:cNvSpPr txBox="1">
            <a:spLocks noGrp="1"/>
          </p:cNvSpPr>
          <p:nvPr>
            <p:ph type="subTitle" idx="2"/>
          </p:nvPr>
        </p:nvSpPr>
        <p:spPr>
          <a:xfrm>
            <a:off x="7425936" y="2296147"/>
            <a:ext cx="3334800" cy="597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795" name="Google Shape;4795;p226"/>
          <p:cNvSpPr txBox="1">
            <a:spLocks noGrp="1"/>
          </p:cNvSpPr>
          <p:nvPr>
            <p:ph type="subTitle" idx="3"/>
          </p:nvPr>
        </p:nvSpPr>
        <p:spPr>
          <a:xfrm>
            <a:off x="7425936" y="3052052"/>
            <a:ext cx="3334800" cy="597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796" name="Google Shape;4796;p226"/>
          <p:cNvSpPr txBox="1">
            <a:spLocks noGrp="1"/>
          </p:cNvSpPr>
          <p:nvPr>
            <p:ph type="subTitle" idx="4"/>
          </p:nvPr>
        </p:nvSpPr>
        <p:spPr>
          <a:xfrm>
            <a:off x="7425936" y="3795765"/>
            <a:ext cx="3334800" cy="597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797" name="Google Shape;4797;p226"/>
          <p:cNvSpPr/>
          <p:nvPr/>
        </p:nvSpPr>
        <p:spPr>
          <a:xfrm>
            <a:off x="3411000" y="3842351"/>
            <a:ext cx="2627200" cy="603600"/>
          </a:xfrm>
          <a:prstGeom prst="roundRect">
            <a:avLst>
              <a:gd name="adj" fmla="val 17744"/>
            </a:avLst>
          </a:prstGeom>
          <a:solidFill>
            <a:srgbClr val="090C0F"/>
          </a:solidFill>
          <a:ln w="19050" cap="flat" cmpd="sng">
            <a:solidFill>
              <a:srgbClr val="2A9D9A"/>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798" name="Google Shape;4798;p226"/>
          <p:cNvSpPr/>
          <p:nvPr/>
        </p:nvSpPr>
        <p:spPr>
          <a:xfrm>
            <a:off x="3118800" y="3094651"/>
            <a:ext cx="3211600" cy="603600"/>
          </a:xfrm>
          <a:prstGeom prst="roundRect">
            <a:avLst>
              <a:gd name="adj" fmla="val 13535"/>
            </a:avLst>
          </a:prstGeom>
          <a:solidFill>
            <a:srgbClr val="090C0F"/>
          </a:solid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799" name="Google Shape;4799;p226"/>
          <p:cNvSpPr/>
          <p:nvPr/>
        </p:nvSpPr>
        <p:spPr>
          <a:xfrm>
            <a:off x="2761600" y="2346951"/>
            <a:ext cx="3926000" cy="603600"/>
          </a:xfrm>
          <a:prstGeom prst="roundRect">
            <a:avLst>
              <a:gd name="adj" fmla="val 13535"/>
            </a:avLst>
          </a:prstGeom>
          <a:solidFill>
            <a:srgbClr val="090C0F"/>
          </a:solidFill>
          <a:ln w="19050" cap="flat" cmpd="sng">
            <a:solidFill>
              <a:srgbClr val="797EF9"/>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800" name="Google Shape;4800;p226"/>
          <p:cNvSpPr/>
          <p:nvPr/>
        </p:nvSpPr>
        <p:spPr>
          <a:xfrm>
            <a:off x="2413000" y="1599284"/>
            <a:ext cx="4623200" cy="603600"/>
          </a:xfrm>
          <a:prstGeom prst="roundRect">
            <a:avLst>
              <a:gd name="adj" fmla="val 15640"/>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801" name="Google Shape;4801;p226"/>
          <p:cNvSpPr txBox="1">
            <a:spLocks noGrp="1"/>
          </p:cNvSpPr>
          <p:nvPr>
            <p:ph type="subTitle" idx="5"/>
          </p:nvPr>
        </p:nvSpPr>
        <p:spPr>
          <a:xfrm>
            <a:off x="2761600" y="1688651"/>
            <a:ext cx="39260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802" name="Google Shape;4802;p226"/>
          <p:cNvSpPr txBox="1">
            <a:spLocks noGrp="1"/>
          </p:cNvSpPr>
          <p:nvPr>
            <p:ph type="subTitle" idx="6"/>
          </p:nvPr>
        </p:nvSpPr>
        <p:spPr>
          <a:xfrm>
            <a:off x="2948800" y="2438251"/>
            <a:ext cx="35516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803" name="Google Shape;4803;p226"/>
          <p:cNvSpPr txBox="1">
            <a:spLocks noGrp="1"/>
          </p:cNvSpPr>
          <p:nvPr>
            <p:ph type="subTitle" idx="7"/>
          </p:nvPr>
        </p:nvSpPr>
        <p:spPr>
          <a:xfrm>
            <a:off x="3379200" y="3181951"/>
            <a:ext cx="26908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4804" name="Google Shape;4804;p226"/>
          <p:cNvSpPr txBox="1">
            <a:spLocks noGrp="1"/>
          </p:cNvSpPr>
          <p:nvPr>
            <p:ph type="subTitle" idx="8"/>
          </p:nvPr>
        </p:nvSpPr>
        <p:spPr>
          <a:xfrm>
            <a:off x="3657800" y="3925684"/>
            <a:ext cx="21336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cxnSp>
        <p:nvCxnSpPr>
          <p:cNvPr id="4805" name="Google Shape;4805;p226"/>
          <p:cNvCxnSpPr/>
          <p:nvPr/>
        </p:nvCxnSpPr>
        <p:spPr>
          <a:xfrm flipH="1">
            <a:off x="2005771" y="4901815"/>
            <a:ext cx="5296000" cy="6000"/>
          </a:xfrm>
          <a:prstGeom prst="straightConnector1">
            <a:avLst/>
          </a:prstGeom>
          <a:noFill/>
          <a:ln w="19050" cap="flat" cmpd="sng">
            <a:solidFill>
              <a:schemeClr val="dk2"/>
            </a:solidFill>
            <a:prstDash val="solid"/>
            <a:round/>
            <a:headEnd type="none" w="sm" len="sm"/>
            <a:tailEnd type="none" w="sm" len="sm"/>
          </a:ln>
        </p:spPr>
      </p:cxnSp>
      <p:sp>
        <p:nvSpPr>
          <p:cNvPr id="4806" name="Google Shape;4806;p226"/>
          <p:cNvSpPr/>
          <p:nvPr/>
        </p:nvSpPr>
        <p:spPr>
          <a:xfrm>
            <a:off x="1432383" y="4616055"/>
            <a:ext cx="571600" cy="571600"/>
          </a:xfrm>
          <a:prstGeom prst="ellipse">
            <a:avLst/>
          </a:prstGeom>
          <a:solidFill>
            <a:srgbClr val="090C0F"/>
          </a:solidFill>
          <a:ln w="19050" cap="flat" cmpd="sng">
            <a:solidFill>
              <a:schemeClr val="accent3"/>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 sz="2400">
                <a:solidFill>
                  <a:schemeClr val="lt1"/>
                </a:solidFill>
                <a:latin typeface="Roboto Mono"/>
                <a:ea typeface="Roboto Mono"/>
                <a:cs typeface="Roboto Mono"/>
                <a:sym typeface="Roboto Mono"/>
              </a:rPr>
              <a:t>5</a:t>
            </a:r>
            <a:endParaRPr sz="1867" i="0" u="none" strike="noStrike" cap="none">
              <a:solidFill>
                <a:schemeClr val="lt1"/>
              </a:solidFill>
              <a:latin typeface="Roboto Mono"/>
              <a:ea typeface="Roboto Mono"/>
              <a:cs typeface="Roboto Mono"/>
              <a:sym typeface="Roboto Mono"/>
            </a:endParaRPr>
          </a:p>
        </p:txBody>
      </p:sp>
      <p:sp>
        <p:nvSpPr>
          <p:cNvPr id="4807" name="Google Shape;4807;p226"/>
          <p:cNvSpPr txBox="1">
            <a:spLocks noGrp="1"/>
          </p:cNvSpPr>
          <p:nvPr>
            <p:ph type="subTitle" idx="9"/>
          </p:nvPr>
        </p:nvSpPr>
        <p:spPr>
          <a:xfrm>
            <a:off x="7425203" y="4590065"/>
            <a:ext cx="3334800" cy="597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808" name="Google Shape;4808;p226"/>
          <p:cNvSpPr/>
          <p:nvPr/>
        </p:nvSpPr>
        <p:spPr>
          <a:xfrm>
            <a:off x="3657067" y="4605817"/>
            <a:ext cx="2133600" cy="603600"/>
          </a:xfrm>
          <a:prstGeom prst="roundRect">
            <a:avLst>
              <a:gd name="adj" fmla="val 17744"/>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7" b="0" i="0" u="none" strike="noStrike" cap="none">
              <a:solidFill>
                <a:schemeClr val="dk1"/>
              </a:solidFill>
              <a:latin typeface="Arial"/>
              <a:ea typeface="Arial"/>
              <a:cs typeface="Arial"/>
              <a:sym typeface="Arial"/>
            </a:endParaRPr>
          </a:p>
        </p:txBody>
      </p:sp>
      <p:sp>
        <p:nvSpPr>
          <p:cNvPr id="4809" name="Google Shape;4809;p226"/>
          <p:cNvSpPr txBox="1">
            <a:spLocks noGrp="1"/>
          </p:cNvSpPr>
          <p:nvPr>
            <p:ph type="subTitle" idx="13"/>
          </p:nvPr>
        </p:nvSpPr>
        <p:spPr>
          <a:xfrm>
            <a:off x="3857481" y="4689151"/>
            <a:ext cx="1732400" cy="4268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Clr>
                <a:schemeClr val="lt1"/>
              </a:buClr>
              <a:buSzPts val="1400"/>
              <a:buNone/>
              <a:defRPr>
                <a:solidFill>
                  <a:schemeClr val="lt1"/>
                </a:solidFill>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Tree>
    <p:extLst>
      <p:ext uri="{BB962C8B-B14F-4D97-AF65-F5344CB8AC3E}">
        <p14:creationId xmlns:p14="http://schemas.microsoft.com/office/powerpoint/2010/main" val="241923758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matchingName="92. Venn three">
  <p:cSld name="92. Venn three">
    <p:spTree>
      <p:nvGrpSpPr>
        <p:cNvPr id="1" name="Shape 4810"/>
        <p:cNvGrpSpPr/>
        <p:nvPr/>
      </p:nvGrpSpPr>
      <p:grpSpPr>
        <a:xfrm>
          <a:off x="0" y="0"/>
          <a:ext cx="0" cy="0"/>
          <a:chOff x="0" y="0"/>
          <a:chExt cx="0" cy="0"/>
        </a:xfrm>
      </p:grpSpPr>
      <p:sp>
        <p:nvSpPr>
          <p:cNvPr id="4811" name="Google Shape;4811;p227"/>
          <p:cNvSpPr/>
          <p:nvPr/>
        </p:nvSpPr>
        <p:spPr>
          <a:xfrm>
            <a:off x="4902496" y="1953731"/>
            <a:ext cx="2286000" cy="22860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812" name="Google Shape;4812;p227"/>
          <p:cNvSpPr/>
          <p:nvPr/>
        </p:nvSpPr>
        <p:spPr>
          <a:xfrm>
            <a:off x="5676900" y="3256219"/>
            <a:ext cx="2286000" cy="22860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813" name="Google Shape;4813;p227"/>
          <p:cNvSpPr/>
          <p:nvPr/>
        </p:nvSpPr>
        <p:spPr>
          <a:xfrm>
            <a:off x="4165305" y="3256219"/>
            <a:ext cx="2286000" cy="2286000"/>
          </a:xfrm>
          <a:prstGeom prst="ellipse">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grpSp>
        <p:nvGrpSpPr>
          <p:cNvPr id="4814" name="Google Shape;4814;p227"/>
          <p:cNvGrpSpPr/>
          <p:nvPr/>
        </p:nvGrpSpPr>
        <p:grpSpPr>
          <a:xfrm rot="5400000" flipH="1">
            <a:off x="3838044" y="4212312"/>
            <a:ext cx="160051" cy="493469"/>
            <a:chOff x="8582641" y="10031581"/>
            <a:chExt cx="320100" cy="986939"/>
          </a:xfrm>
        </p:grpSpPr>
        <p:cxnSp>
          <p:nvCxnSpPr>
            <p:cNvPr id="4815" name="Google Shape;4815;p227"/>
            <p:cNvCxnSpPr/>
            <p:nvPr/>
          </p:nvCxnSpPr>
          <p:spPr>
            <a:xfrm rot="-5400000">
              <a:off x="8409272" y="10365031"/>
              <a:ext cx="666900" cy="0"/>
            </a:xfrm>
            <a:prstGeom prst="straightConnector1">
              <a:avLst/>
            </a:prstGeom>
            <a:noFill/>
            <a:ln w="19050" cap="flat" cmpd="sng">
              <a:solidFill>
                <a:schemeClr val="dk2"/>
              </a:solidFill>
              <a:prstDash val="solid"/>
              <a:miter lim="400000"/>
              <a:headEnd type="none" w="sm" len="sm"/>
              <a:tailEnd type="none" w="sm" len="sm"/>
            </a:ln>
          </p:spPr>
        </p:cxnSp>
        <p:sp>
          <p:nvSpPr>
            <p:cNvPr id="4816" name="Google Shape;4816;p227"/>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817" name="Google Shape;4817;p227"/>
          <p:cNvGrpSpPr/>
          <p:nvPr/>
        </p:nvGrpSpPr>
        <p:grpSpPr>
          <a:xfrm rot="-5400000" flipH="1">
            <a:off x="8129669" y="4156978"/>
            <a:ext cx="160049" cy="493469"/>
            <a:chOff x="8582641" y="10031581"/>
            <a:chExt cx="320100" cy="986939"/>
          </a:xfrm>
        </p:grpSpPr>
        <p:cxnSp>
          <p:nvCxnSpPr>
            <p:cNvPr id="4818" name="Google Shape;4818;p227"/>
            <p:cNvCxnSpPr/>
            <p:nvPr/>
          </p:nvCxnSpPr>
          <p:spPr>
            <a:xfrm rot="-5400000">
              <a:off x="8409272" y="10365031"/>
              <a:ext cx="666900" cy="0"/>
            </a:xfrm>
            <a:prstGeom prst="straightConnector1">
              <a:avLst/>
            </a:prstGeom>
            <a:noFill/>
            <a:ln w="19050" cap="flat" cmpd="sng">
              <a:solidFill>
                <a:schemeClr val="dk2"/>
              </a:solidFill>
              <a:prstDash val="solid"/>
              <a:miter lim="400000"/>
              <a:headEnd type="none" w="sm" len="sm"/>
              <a:tailEnd type="none" w="sm" len="sm"/>
            </a:ln>
          </p:spPr>
        </p:cxnSp>
        <p:sp>
          <p:nvSpPr>
            <p:cNvPr id="4819" name="Google Shape;4819;p227"/>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820" name="Google Shape;4820;p227"/>
          <p:cNvGrpSpPr/>
          <p:nvPr/>
        </p:nvGrpSpPr>
        <p:grpSpPr>
          <a:xfrm rot="-5400000" flipH="1">
            <a:off x="7469520" y="1227942"/>
            <a:ext cx="160049" cy="1813769"/>
            <a:chOff x="8582641" y="7390982"/>
            <a:chExt cx="320100" cy="3627538"/>
          </a:xfrm>
        </p:grpSpPr>
        <p:cxnSp>
          <p:nvCxnSpPr>
            <p:cNvPr id="4821" name="Google Shape;4821;p227"/>
            <p:cNvCxnSpPr/>
            <p:nvPr/>
          </p:nvCxnSpPr>
          <p:spPr>
            <a:xfrm rot="-5400000">
              <a:off x="7088973" y="9044732"/>
              <a:ext cx="3307500" cy="0"/>
            </a:xfrm>
            <a:prstGeom prst="straightConnector1">
              <a:avLst/>
            </a:prstGeom>
            <a:noFill/>
            <a:ln w="19050" cap="flat" cmpd="sng">
              <a:solidFill>
                <a:schemeClr val="dk2"/>
              </a:solidFill>
              <a:prstDash val="solid"/>
              <a:miter lim="400000"/>
              <a:headEnd type="none" w="sm" len="sm"/>
              <a:tailEnd type="none" w="sm" len="sm"/>
            </a:ln>
          </p:spPr>
        </p:cxnSp>
        <p:sp>
          <p:nvSpPr>
            <p:cNvPr id="4822" name="Google Shape;4822;p227"/>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823" name="Google Shape;4823;p227"/>
          <p:cNvGrpSpPr/>
          <p:nvPr/>
        </p:nvGrpSpPr>
        <p:grpSpPr>
          <a:xfrm>
            <a:off x="12253600" y="1"/>
            <a:ext cx="3438989" cy="3424452"/>
            <a:chOff x="22170399" y="777240"/>
            <a:chExt cx="6877978" cy="6848903"/>
          </a:xfrm>
        </p:grpSpPr>
        <p:grpSp>
          <p:nvGrpSpPr>
            <p:cNvPr id="4824" name="Google Shape;4824;p227"/>
            <p:cNvGrpSpPr/>
            <p:nvPr/>
          </p:nvGrpSpPr>
          <p:grpSpPr>
            <a:xfrm>
              <a:off x="22170399" y="777240"/>
              <a:ext cx="6877978" cy="6848903"/>
              <a:chOff x="22155159" y="0"/>
              <a:chExt cx="6877978" cy="6848903"/>
            </a:xfrm>
          </p:grpSpPr>
          <p:sp>
            <p:nvSpPr>
              <p:cNvPr id="4825" name="Google Shape;4825;p227"/>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826" name="Google Shape;4826;p227"/>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827" name="Google Shape;4827;p227"/>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828" name="Google Shape;4828;p227"/>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829" name="Google Shape;4829;p227"/>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830" name="Google Shape;4830;p227"/>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831" name="Google Shape;4831;p227"/>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832" name="Google Shape;4832;p227"/>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833" name="Google Shape;4833;p227"/>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834" name="Google Shape;4834;p227"/>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835" name="Google Shape;4835;p227"/>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836" name="Google Shape;4836;p227"/>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837" name="Google Shape;4837;p227"/>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838" name="Google Shape;4838;p227"/>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839" name="Google Shape;4839;p227"/>
          <p:cNvSpPr txBox="1">
            <a:spLocks noGrp="1"/>
          </p:cNvSpPr>
          <p:nvPr>
            <p:ph type="title"/>
          </p:nvPr>
        </p:nvSpPr>
        <p:spPr>
          <a:xfrm>
            <a:off x="451104" y="512064"/>
            <a:ext cx="11424000" cy="890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4840" name="Google Shape;4840;p227"/>
          <p:cNvSpPr txBox="1">
            <a:spLocks noGrp="1"/>
          </p:cNvSpPr>
          <p:nvPr>
            <p:ph type="subTitle" idx="1"/>
          </p:nvPr>
        </p:nvSpPr>
        <p:spPr>
          <a:xfrm>
            <a:off x="8502967" y="1805789"/>
            <a:ext cx="29820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841" name="Google Shape;4841;p227"/>
          <p:cNvSpPr txBox="1">
            <a:spLocks noGrp="1"/>
          </p:cNvSpPr>
          <p:nvPr>
            <p:ph type="subTitle" idx="2"/>
          </p:nvPr>
        </p:nvSpPr>
        <p:spPr>
          <a:xfrm>
            <a:off x="8502967" y="1406800"/>
            <a:ext cx="29820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842" name="Google Shape;4842;p227"/>
          <p:cNvSpPr txBox="1">
            <a:spLocks noGrp="1"/>
          </p:cNvSpPr>
          <p:nvPr>
            <p:ph type="subTitle" idx="3"/>
          </p:nvPr>
        </p:nvSpPr>
        <p:spPr>
          <a:xfrm>
            <a:off x="8502967" y="2536433"/>
            <a:ext cx="29820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843" name="Google Shape;4843;p227"/>
          <p:cNvSpPr txBox="1">
            <a:spLocks noGrp="1"/>
          </p:cNvSpPr>
          <p:nvPr>
            <p:ph type="subTitle" idx="4"/>
          </p:nvPr>
        </p:nvSpPr>
        <p:spPr>
          <a:xfrm>
            <a:off x="8502967" y="4142589"/>
            <a:ext cx="29820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844" name="Google Shape;4844;p227"/>
          <p:cNvSpPr txBox="1">
            <a:spLocks noGrp="1"/>
          </p:cNvSpPr>
          <p:nvPr>
            <p:ph type="subTitle" idx="5"/>
          </p:nvPr>
        </p:nvSpPr>
        <p:spPr>
          <a:xfrm>
            <a:off x="8502967" y="3743600"/>
            <a:ext cx="29820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845" name="Google Shape;4845;p227"/>
          <p:cNvSpPr txBox="1">
            <a:spLocks noGrp="1"/>
          </p:cNvSpPr>
          <p:nvPr>
            <p:ph type="subTitle" idx="6"/>
          </p:nvPr>
        </p:nvSpPr>
        <p:spPr>
          <a:xfrm>
            <a:off x="8502967" y="4873233"/>
            <a:ext cx="29820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846" name="Google Shape;4846;p227"/>
          <p:cNvSpPr txBox="1">
            <a:spLocks noGrp="1"/>
          </p:cNvSpPr>
          <p:nvPr>
            <p:ph type="subTitle" idx="7"/>
          </p:nvPr>
        </p:nvSpPr>
        <p:spPr>
          <a:xfrm>
            <a:off x="578167" y="4142589"/>
            <a:ext cx="29820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847" name="Google Shape;4847;p227"/>
          <p:cNvSpPr txBox="1">
            <a:spLocks noGrp="1"/>
          </p:cNvSpPr>
          <p:nvPr>
            <p:ph type="subTitle" idx="8"/>
          </p:nvPr>
        </p:nvSpPr>
        <p:spPr>
          <a:xfrm>
            <a:off x="578167" y="3743600"/>
            <a:ext cx="29820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848" name="Google Shape;4848;p227"/>
          <p:cNvSpPr txBox="1">
            <a:spLocks noGrp="1"/>
          </p:cNvSpPr>
          <p:nvPr>
            <p:ph type="subTitle" idx="9"/>
          </p:nvPr>
        </p:nvSpPr>
        <p:spPr>
          <a:xfrm>
            <a:off x="578167" y="4873233"/>
            <a:ext cx="29820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3172112454"/>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matchingName="93. Venn four">
  <p:cSld name="93. Venn four">
    <p:spTree>
      <p:nvGrpSpPr>
        <p:cNvPr id="1" name="Shape 4849"/>
        <p:cNvGrpSpPr/>
        <p:nvPr/>
      </p:nvGrpSpPr>
      <p:grpSpPr>
        <a:xfrm>
          <a:off x="0" y="0"/>
          <a:ext cx="0" cy="0"/>
          <a:chOff x="0" y="0"/>
          <a:chExt cx="0" cy="0"/>
        </a:xfrm>
      </p:grpSpPr>
      <p:grpSp>
        <p:nvGrpSpPr>
          <p:cNvPr id="4850" name="Google Shape;4850;p228"/>
          <p:cNvGrpSpPr/>
          <p:nvPr/>
        </p:nvGrpSpPr>
        <p:grpSpPr>
          <a:xfrm rot="5400000" flipH="1">
            <a:off x="4515471" y="4416424"/>
            <a:ext cx="160051" cy="1813769"/>
            <a:chOff x="8582641" y="7390982"/>
            <a:chExt cx="320100" cy="3627538"/>
          </a:xfrm>
        </p:grpSpPr>
        <p:cxnSp>
          <p:nvCxnSpPr>
            <p:cNvPr id="4851" name="Google Shape;4851;p228"/>
            <p:cNvCxnSpPr/>
            <p:nvPr/>
          </p:nvCxnSpPr>
          <p:spPr>
            <a:xfrm rot="-5400000">
              <a:off x="7088973" y="9044732"/>
              <a:ext cx="3307500" cy="0"/>
            </a:xfrm>
            <a:prstGeom prst="straightConnector1">
              <a:avLst/>
            </a:prstGeom>
            <a:noFill/>
            <a:ln w="19050" cap="flat" cmpd="sng">
              <a:solidFill>
                <a:schemeClr val="dk2"/>
              </a:solidFill>
              <a:prstDash val="solid"/>
              <a:miter lim="400000"/>
              <a:headEnd type="none" w="sm" len="sm"/>
              <a:tailEnd type="none" w="sm" len="sm"/>
            </a:ln>
          </p:spPr>
        </p:cxnSp>
        <p:sp>
          <p:nvSpPr>
            <p:cNvPr id="4852" name="Google Shape;4852;p228"/>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853" name="Google Shape;4853;p228"/>
          <p:cNvGrpSpPr/>
          <p:nvPr/>
        </p:nvGrpSpPr>
        <p:grpSpPr>
          <a:xfrm rot="-5400000" flipH="1">
            <a:off x="8150934" y="3372758"/>
            <a:ext cx="160049" cy="493469"/>
            <a:chOff x="8582641" y="10031581"/>
            <a:chExt cx="320100" cy="986939"/>
          </a:xfrm>
        </p:grpSpPr>
        <p:cxnSp>
          <p:nvCxnSpPr>
            <p:cNvPr id="4854" name="Google Shape;4854;p228"/>
            <p:cNvCxnSpPr/>
            <p:nvPr/>
          </p:nvCxnSpPr>
          <p:spPr>
            <a:xfrm rot="-5400000">
              <a:off x="8409272" y="10365031"/>
              <a:ext cx="666900" cy="0"/>
            </a:xfrm>
            <a:prstGeom prst="straightConnector1">
              <a:avLst/>
            </a:prstGeom>
            <a:noFill/>
            <a:ln w="19050" cap="flat" cmpd="sng">
              <a:solidFill>
                <a:schemeClr val="dk2"/>
              </a:solidFill>
              <a:prstDash val="solid"/>
              <a:miter lim="400000"/>
              <a:headEnd type="none" w="sm" len="sm"/>
              <a:tailEnd type="none" w="sm" len="sm"/>
            </a:ln>
          </p:spPr>
        </p:cxnSp>
        <p:sp>
          <p:nvSpPr>
            <p:cNvPr id="4855" name="Google Shape;4855;p228"/>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sp>
        <p:nvSpPr>
          <p:cNvPr id="4856" name="Google Shape;4856;p228"/>
          <p:cNvSpPr/>
          <p:nvPr/>
        </p:nvSpPr>
        <p:spPr>
          <a:xfrm>
            <a:off x="4934393" y="1695013"/>
            <a:ext cx="2286000" cy="22860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857" name="Google Shape;4857;p228"/>
          <p:cNvSpPr/>
          <p:nvPr/>
        </p:nvSpPr>
        <p:spPr>
          <a:xfrm>
            <a:off x="5698165" y="2476507"/>
            <a:ext cx="2286000" cy="22860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858" name="Google Shape;4858;p228"/>
          <p:cNvSpPr/>
          <p:nvPr/>
        </p:nvSpPr>
        <p:spPr>
          <a:xfrm>
            <a:off x="4186571" y="2476507"/>
            <a:ext cx="2286000" cy="2286000"/>
          </a:xfrm>
          <a:prstGeom prst="ellipse">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859" name="Google Shape;4859;p228"/>
          <p:cNvSpPr/>
          <p:nvPr/>
        </p:nvSpPr>
        <p:spPr>
          <a:xfrm>
            <a:off x="4953000" y="3208149"/>
            <a:ext cx="2286000" cy="2286000"/>
          </a:xfrm>
          <a:prstGeom prst="ellipse">
            <a:avLst/>
          </a:prstGeom>
          <a:noFill/>
          <a:ln w="19050" cap="flat" cmpd="sng">
            <a:solidFill>
              <a:schemeClr val="accent6"/>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grpSp>
        <p:nvGrpSpPr>
          <p:cNvPr id="4860" name="Google Shape;4860;p228"/>
          <p:cNvGrpSpPr/>
          <p:nvPr/>
        </p:nvGrpSpPr>
        <p:grpSpPr>
          <a:xfrm rot="-5400000" flipH="1">
            <a:off x="7472180" y="950010"/>
            <a:ext cx="160049" cy="1813769"/>
            <a:chOff x="8582641" y="7390982"/>
            <a:chExt cx="320100" cy="3627538"/>
          </a:xfrm>
        </p:grpSpPr>
        <p:cxnSp>
          <p:nvCxnSpPr>
            <p:cNvPr id="4861" name="Google Shape;4861;p228"/>
            <p:cNvCxnSpPr/>
            <p:nvPr/>
          </p:nvCxnSpPr>
          <p:spPr>
            <a:xfrm rot="-5400000">
              <a:off x="7088973" y="9044732"/>
              <a:ext cx="3307500" cy="0"/>
            </a:xfrm>
            <a:prstGeom prst="straightConnector1">
              <a:avLst/>
            </a:prstGeom>
            <a:noFill/>
            <a:ln w="19050" cap="flat" cmpd="sng">
              <a:solidFill>
                <a:schemeClr val="dk2"/>
              </a:solidFill>
              <a:prstDash val="solid"/>
              <a:miter lim="400000"/>
              <a:headEnd type="none" w="sm" len="sm"/>
              <a:tailEnd type="none" w="sm" len="sm"/>
            </a:ln>
          </p:spPr>
        </p:cxnSp>
        <p:sp>
          <p:nvSpPr>
            <p:cNvPr id="4862" name="Google Shape;4862;p228"/>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grpSp>
        <p:nvGrpSpPr>
          <p:cNvPr id="4863" name="Google Shape;4863;p228"/>
          <p:cNvGrpSpPr/>
          <p:nvPr/>
        </p:nvGrpSpPr>
        <p:grpSpPr>
          <a:xfrm rot="5400000" flipH="1">
            <a:off x="3855322" y="3372787"/>
            <a:ext cx="160049" cy="493469"/>
            <a:chOff x="8582641" y="10031581"/>
            <a:chExt cx="320100" cy="986939"/>
          </a:xfrm>
        </p:grpSpPr>
        <p:cxnSp>
          <p:nvCxnSpPr>
            <p:cNvPr id="4864" name="Google Shape;4864;p228"/>
            <p:cNvCxnSpPr/>
            <p:nvPr/>
          </p:nvCxnSpPr>
          <p:spPr>
            <a:xfrm rot="-5400000">
              <a:off x="8409272" y="10365031"/>
              <a:ext cx="666900" cy="0"/>
            </a:xfrm>
            <a:prstGeom prst="straightConnector1">
              <a:avLst/>
            </a:prstGeom>
            <a:noFill/>
            <a:ln w="19050" cap="flat" cmpd="sng">
              <a:solidFill>
                <a:schemeClr val="dk2"/>
              </a:solidFill>
              <a:prstDash val="solid"/>
              <a:miter lim="400000"/>
              <a:headEnd type="none" w="sm" len="sm"/>
              <a:tailEnd type="none" w="sm" len="sm"/>
            </a:ln>
          </p:spPr>
        </p:cxnSp>
        <p:sp>
          <p:nvSpPr>
            <p:cNvPr id="4865" name="Google Shape;4865;p228"/>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sp>
        <p:nvSpPr>
          <p:cNvPr id="4866" name="Google Shape;4866;p228"/>
          <p:cNvSpPr txBox="1">
            <a:spLocks noGrp="1"/>
          </p:cNvSpPr>
          <p:nvPr>
            <p:ph type="title"/>
          </p:nvPr>
        </p:nvSpPr>
        <p:spPr>
          <a:xfrm>
            <a:off x="451104" y="512064"/>
            <a:ext cx="11424000" cy="890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grpSp>
        <p:nvGrpSpPr>
          <p:cNvPr id="4867" name="Google Shape;4867;p228"/>
          <p:cNvGrpSpPr/>
          <p:nvPr/>
        </p:nvGrpSpPr>
        <p:grpSpPr>
          <a:xfrm>
            <a:off x="12253600" y="1"/>
            <a:ext cx="3438989" cy="3424452"/>
            <a:chOff x="22170399" y="777240"/>
            <a:chExt cx="6877978" cy="6848903"/>
          </a:xfrm>
        </p:grpSpPr>
        <p:grpSp>
          <p:nvGrpSpPr>
            <p:cNvPr id="4868" name="Google Shape;4868;p228"/>
            <p:cNvGrpSpPr/>
            <p:nvPr/>
          </p:nvGrpSpPr>
          <p:grpSpPr>
            <a:xfrm>
              <a:off x="22170399" y="777240"/>
              <a:ext cx="6877978" cy="6848903"/>
              <a:chOff x="22155159" y="0"/>
              <a:chExt cx="6877978" cy="6848903"/>
            </a:xfrm>
          </p:grpSpPr>
          <p:sp>
            <p:nvSpPr>
              <p:cNvPr id="4869" name="Google Shape;4869;p228"/>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870" name="Google Shape;4870;p228"/>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871" name="Google Shape;4871;p228"/>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872" name="Google Shape;4872;p228"/>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873" name="Google Shape;4873;p228"/>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874" name="Google Shape;4874;p228"/>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875" name="Google Shape;4875;p228"/>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876" name="Google Shape;4876;p228"/>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877" name="Google Shape;4877;p228"/>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878" name="Google Shape;4878;p228"/>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879" name="Google Shape;4879;p228"/>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880" name="Google Shape;4880;p228"/>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881" name="Google Shape;4881;p228"/>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882" name="Google Shape;4882;p228"/>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883" name="Google Shape;4883;p228"/>
          <p:cNvSpPr txBox="1">
            <a:spLocks noGrp="1"/>
          </p:cNvSpPr>
          <p:nvPr>
            <p:ph type="subTitle" idx="1"/>
          </p:nvPr>
        </p:nvSpPr>
        <p:spPr>
          <a:xfrm>
            <a:off x="8604567" y="1602589"/>
            <a:ext cx="29820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884" name="Google Shape;4884;p228"/>
          <p:cNvSpPr txBox="1">
            <a:spLocks noGrp="1"/>
          </p:cNvSpPr>
          <p:nvPr>
            <p:ph type="subTitle" idx="2"/>
          </p:nvPr>
        </p:nvSpPr>
        <p:spPr>
          <a:xfrm>
            <a:off x="8604567" y="1203600"/>
            <a:ext cx="29820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885" name="Google Shape;4885;p228"/>
          <p:cNvSpPr txBox="1">
            <a:spLocks noGrp="1"/>
          </p:cNvSpPr>
          <p:nvPr>
            <p:ph type="subTitle" idx="3"/>
          </p:nvPr>
        </p:nvSpPr>
        <p:spPr>
          <a:xfrm>
            <a:off x="8604567" y="2333233"/>
            <a:ext cx="29820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886" name="Google Shape;4886;p228"/>
          <p:cNvSpPr txBox="1">
            <a:spLocks noGrp="1"/>
          </p:cNvSpPr>
          <p:nvPr>
            <p:ph type="subTitle" idx="4"/>
          </p:nvPr>
        </p:nvSpPr>
        <p:spPr>
          <a:xfrm>
            <a:off x="8604567" y="3329789"/>
            <a:ext cx="2982000" cy="329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4887" name="Google Shape;4887;p228"/>
          <p:cNvSpPr txBox="1">
            <a:spLocks noGrp="1"/>
          </p:cNvSpPr>
          <p:nvPr>
            <p:ph type="subTitle" idx="5"/>
          </p:nvPr>
        </p:nvSpPr>
        <p:spPr>
          <a:xfrm>
            <a:off x="8604567" y="2930800"/>
            <a:ext cx="2982000" cy="597600"/>
          </a:xfrm>
          <a:prstGeom prst="rect">
            <a:avLst/>
          </a:prstGeom>
          <a:noFill/>
          <a:ln>
            <a:noFill/>
          </a:ln>
        </p:spPr>
        <p:txBody>
          <a:bodyPr spcFirstLastPara="1" wrap="square" lIns="91425" tIns="91425" rIns="91425" bIns="91425" anchor="b" anchorCtr="0">
            <a:noAutofit/>
          </a:bodyPr>
          <a:lstStyle>
            <a:lvl1pPr lvl="0"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888" name="Google Shape;4888;p228"/>
          <p:cNvSpPr txBox="1">
            <a:spLocks noGrp="1"/>
          </p:cNvSpPr>
          <p:nvPr>
            <p:ph type="subTitle" idx="6"/>
          </p:nvPr>
        </p:nvSpPr>
        <p:spPr>
          <a:xfrm>
            <a:off x="8604567" y="4060433"/>
            <a:ext cx="2982000" cy="597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4889" name="Google Shape;4889;p228"/>
          <p:cNvSpPr txBox="1">
            <a:spLocks noGrp="1"/>
          </p:cNvSpPr>
          <p:nvPr>
            <p:ph type="subTitle" idx="7"/>
          </p:nvPr>
        </p:nvSpPr>
        <p:spPr>
          <a:xfrm>
            <a:off x="679767" y="3126589"/>
            <a:ext cx="29820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890" name="Google Shape;4890;p228"/>
          <p:cNvSpPr txBox="1">
            <a:spLocks noGrp="1"/>
          </p:cNvSpPr>
          <p:nvPr>
            <p:ph type="subTitle" idx="8"/>
          </p:nvPr>
        </p:nvSpPr>
        <p:spPr>
          <a:xfrm>
            <a:off x="679767" y="2727600"/>
            <a:ext cx="29820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891" name="Google Shape;4891;p228"/>
          <p:cNvSpPr txBox="1">
            <a:spLocks noGrp="1"/>
          </p:cNvSpPr>
          <p:nvPr>
            <p:ph type="subTitle" idx="9"/>
          </p:nvPr>
        </p:nvSpPr>
        <p:spPr>
          <a:xfrm>
            <a:off x="679767" y="3857233"/>
            <a:ext cx="29820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
        <p:nvSpPr>
          <p:cNvPr id="4892" name="Google Shape;4892;p228"/>
          <p:cNvSpPr txBox="1">
            <a:spLocks noGrp="1"/>
          </p:cNvSpPr>
          <p:nvPr>
            <p:ph type="subTitle" idx="13"/>
          </p:nvPr>
        </p:nvSpPr>
        <p:spPr>
          <a:xfrm>
            <a:off x="679767" y="4853789"/>
            <a:ext cx="2982000" cy="3292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lt1"/>
              </a:buClr>
              <a:buSzPts val="1600"/>
              <a:buNone/>
              <a:defRPr sz="2133">
                <a:solidFill>
                  <a:schemeClr val="lt1"/>
                </a:solidFill>
              </a:defRPr>
            </a:lvl1pPr>
            <a:lvl2pPr lvl="1" algn="r" rtl="0">
              <a:spcBef>
                <a:spcPts val="0"/>
              </a:spcBef>
              <a:spcAft>
                <a:spcPts val="0"/>
              </a:spcAft>
              <a:buSzPts val="1600"/>
              <a:buNone/>
              <a:defRPr sz="2133"/>
            </a:lvl2pPr>
            <a:lvl3pPr lvl="2" algn="r" rtl="0">
              <a:spcBef>
                <a:spcPts val="0"/>
              </a:spcBef>
              <a:spcAft>
                <a:spcPts val="0"/>
              </a:spcAft>
              <a:buSzPts val="1600"/>
              <a:buNone/>
              <a:defRPr sz="2133"/>
            </a:lvl3pPr>
            <a:lvl4pPr lvl="3" algn="r" rtl="0">
              <a:spcBef>
                <a:spcPts val="0"/>
              </a:spcBef>
              <a:spcAft>
                <a:spcPts val="0"/>
              </a:spcAft>
              <a:buSzPts val="1600"/>
              <a:buNone/>
              <a:defRPr sz="2133"/>
            </a:lvl4pPr>
            <a:lvl5pPr lvl="4" algn="r" rtl="0">
              <a:spcBef>
                <a:spcPts val="0"/>
              </a:spcBef>
              <a:spcAft>
                <a:spcPts val="0"/>
              </a:spcAft>
              <a:buSzPts val="1600"/>
              <a:buNone/>
              <a:defRPr sz="2133"/>
            </a:lvl5pPr>
            <a:lvl6pPr lvl="5" algn="r" rtl="0">
              <a:spcBef>
                <a:spcPts val="0"/>
              </a:spcBef>
              <a:spcAft>
                <a:spcPts val="0"/>
              </a:spcAft>
              <a:buSzPts val="1600"/>
              <a:buNone/>
              <a:defRPr sz="2133"/>
            </a:lvl6pPr>
            <a:lvl7pPr lvl="6" algn="r" rtl="0">
              <a:spcBef>
                <a:spcPts val="0"/>
              </a:spcBef>
              <a:spcAft>
                <a:spcPts val="0"/>
              </a:spcAft>
              <a:buSzPts val="1600"/>
              <a:buNone/>
              <a:defRPr sz="2133"/>
            </a:lvl7pPr>
            <a:lvl8pPr lvl="7" algn="r" rtl="0">
              <a:spcBef>
                <a:spcPts val="0"/>
              </a:spcBef>
              <a:spcAft>
                <a:spcPts val="0"/>
              </a:spcAft>
              <a:buSzPts val="1600"/>
              <a:buNone/>
              <a:defRPr sz="2133"/>
            </a:lvl8pPr>
            <a:lvl9pPr lvl="8" algn="r" rtl="0">
              <a:spcBef>
                <a:spcPts val="0"/>
              </a:spcBef>
              <a:spcAft>
                <a:spcPts val="0"/>
              </a:spcAft>
              <a:buSzPts val="1600"/>
              <a:buNone/>
              <a:defRPr sz="2133"/>
            </a:lvl9pPr>
          </a:lstStyle>
          <a:p>
            <a:endParaRPr/>
          </a:p>
        </p:txBody>
      </p:sp>
      <p:sp>
        <p:nvSpPr>
          <p:cNvPr id="4893" name="Google Shape;4893;p228"/>
          <p:cNvSpPr txBox="1">
            <a:spLocks noGrp="1"/>
          </p:cNvSpPr>
          <p:nvPr>
            <p:ph type="subTitle" idx="14"/>
          </p:nvPr>
        </p:nvSpPr>
        <p:spPr>
          <a:xfrm>
            <a:off x="679767" y="4454800"/>
            <a:ext cx="2982000" cy="597600"/>
          </a:xfrm>
          <a:prstGeom prst="rect">
            <a:avLst/>
          </a:prstGeom>
          <a:noFill/>
          <a:ln>
            <a:noFill/>
          </a:ln>
        </p:spPr>
        <p:txBody>
          <a:bodyPr spcFirstLastPara="1" wrap="square" lIns="91425" tIns="91425" rIns="91425" bIns="91425" anchor="b" anchorCtr="0">
            <a:noAutofit/>
          </a:bodyPr>
          <a:lstStyle>
            <a:lvl1pPr lvl="0"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1pPr>
            <a:lvl2pPr lvl="1"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2pPr>
            <a:lvl3pPr lvl="2"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3pPr>
            <a:lvl4pPr lvl="3"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4pPr>
            <a:lvl5pPr lvl="4"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5pPr>
            <a:lvl6pPr lvl="5"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6pPr>
            <a:lvl7pPr lvl="6"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7pPr>
            <a:lvl8pPr lvl="7"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8pPr>
            <a:lvl9pPr lvl="8" algn="r" rtl="0">
              <a:spcBef>
                <a:spcPts val="0"/>
              </a:spcBef>
              <a:spcAft>
                <a:spcPts val="0"/>
              </a:spcAft>
              <a:buClr>
                <a:schemeClr val="dk2"/>
              </a:buClr>
              <a:buSzPts val="1000"/>
              <a:buFont typeface="Roboto Mono"/>
              <a:buNone/>
              <a:defRPr sz="1333">
                <a:solidFill>
                  <a:schemeClr val="dk2"/>
                </a:solidFill>
                <a:latin typeface="Roboto Mono"/>
                <a:ea typeface="Roboto Mono"/>
                <a:cs typeface="Roboto Mono"/>
                <a:sym typeface="Roboto Mono"/>
              </a:defRPr>
            </a:lvl9pPr>
          </a:lstStyle>
          <a:p>
            <a:endParaRPr/>
          </a:p>
        </p:txBody>
      </p:sp>
      <p:sp>
        <p:nvSpPr>
          <p:cNvPr id="4894" name="Google Shape;4894;p228"/>
          <p:cNvSpPr txBox="1">
            <a:spLocks noGrp="1"/>
          </p:cNvSpPr>
          <p:nvPr>
            <p:ph type="subTitle" idx="15"/>
          </p:nvPr>
        </p:nvSpPr>
        <p:spPr>
          <a:xfrm>
            <a:off x="679767" y="5584433"/>
            <a:ext cx="2982000" cy="597600"/>
          </a:xfrm>
          <a:prstGeom prst="rect">
            <a:avLst/>
          </a:prstGeom>
          <a:noFill/>
          <a:ln>
            <a:noFill/>
          </a:ln>
        </p:spPr>
        <p:txBody>
          <a:bodyPr spcFirstLastPara="1" wrap="square" lIns="91425" tIns="91425" rIns="91425" bIns="91425" anchor="t" anchorCtr="0">
            <a:noAutofit/>
          </a:bodyPr>
          <a:lstStyle>
            <a:lvl1pPr lvl="0" algn="r" rtl="0">
              <a:spcBef>
                <a:spcPts val="0"/>
              </a:spcBef>
              <a:spcAft>
                <a:spcPts val="0"/>
              </a:spcAft>
              <a:buClr>
                <a:schemeClr val="dk2"/>
              </a:buClr>
              <a:buSzPts val="1200"/>
              <a:buNone/>
              <a:defRPr sz="1600">
                <a:solidFill>
                  <a:schemeClr val="dk2"/>
                </a:solidFill>
              </a:defRPr>
            </a:lvl1pPr>
            <a:lvl2pPr lvl="1" algn="r" rtl="0">
              <a:spcBef>
                <a:spcPts val="0"/>
              </a:spcBef>
              <a:spcAft>
                <a:spcPts val="0"/>
              </a:spcAft>
              <a:buClr>
                <a:schemeClr val="dk2"/>
              </a:buClr>
              <a:buSzPts val="1200"/>
              <a:buNone/>
              <a:defRPr sz="1600">
                <a:solidFill>
                  <a:schemeClr val="dk2"/>
                </a:solidFill>
              </a:defRPr>
            </a:lvl2pPr>
            <a:lvl3pPr lvl="2" algn="r" rtl="0">
              <a:spcBef>
                <a:spcPts val="0"/>
              </a:spcBef>
              <a:spcAft>
                <a:spcPts val="0"/>
              </a:spcAft>
              <a:buClr>
                <a:schemeClr val="dk2"/>
              </a:buClr>
              <a:buSzPts val="1200"/>
              <a:buNone/>
              <a:defRPr sz="1600">
                <a:solidFill>
                  <a:schemeClr val="dk2"/>
                </a:solidFill>
              </a:defRPr>
            </a:lvl3pPr>
            <a:lvl4pPr lvl="3" algn="r" rtl="0">
              <a:spcBef>
                <a:spcPts val="0"/>
              </a:spcBef>
              <a:spcAft>
                <a:spcPts val="0"/>
              </a:spcAft>
              <a:buClr>
                <a:schemeClr val="dk2"/>
              </a:buClr>
              <a:buSzPts val="1200"/>
              <a:buNone/>
              <a:defRPr sz="1600">
                <a:solidFill>
                  <a:schemeClr val="dk2"/>
                </a:solidFill>
              </a:defRPr>
            </a:lvl4pPr>
            <a:lvl5pPr lvl="4" algn="r" rtl="0">
              <a:spcBef>
                <a:spcPts val="0"/>
              </a:spcBef>
              <a:spcAft>
                <a:spcPts val="0"/>
              </a:spcAft>
              <a:buClr>
                <a:schemeClr val="dk2"/>
              </a:buClr>
              <a:buSzPts val="1200"/>
              <a:buNone/>
              <a:defRPr sz="1600">
                <a:solidFill>
                  <a:schemeClr val="dk2"/>
                </a:solidFill>
              </a:defRPr>
            </a:lvl5pPr>
            <a:lvl6pPr lvl="5" algn="r" rtl="0">
              <a:spcBef>
                <a:spcPts val="0"/>
              </a:spcBef>
              <a:spcAft>
                <a:spcPts val="0"/>
              </a:spcAft>
              <a:buClr>
                <a:schemeClr val="dk2"/>
              </a:buClr>
              <a:buSzPts val="1200"/>
              <a:buNone/>
              <a:defRPr sz="1600">
                <a:solidFill>
                  <a:schemeClr val="dk2"/>
                </a:solidFill>
              </a:defRPr>
            </a:lvl6pPr>
            <a:lvl7pPr lvl="6" algn="r" rtl="0">
              <a:spcBef>
                <a:spcPts val="0"/>
              </a:spcBef>
              <a:spcAft>
                <a:spcPts val="0"/>
              </a:spcAft>
              <a:buClr>
                <a:schemeClr val="dk2"/>
              </a:buClr>
              <a:buSzPts val="1200"/>
              <a:buNone/>
              <a:defRPr sz="1600">
                <a:solidFill>
                  <a:schemeClr val="dk2"/>
                </a:solidFill>
              </a:defRPr>
            </a:lvl7pPr>
            <a:lvl8pPr lvl="7" algn="r" rtl="0">
              <a:spcBef>
                <a:spcPts val="0"/>
              </a:spcBef>
              <a:spcAft>
                <a:spcPts val="0"/>
              </a:spcAft>
              <a:buClr>
                <a:schemeClr val="dk2"/>
              </a:buClr>
              <a:buSzPts val="1200"/>
              <a:buNone/>
              <a:defRPr sz="1600">
                <a:solidFill>
                  <a:schemeClr val="dk2"/>
                </a:solidFill>
              </a:defRPr>
            </a:lvl8pPr>
            <a:lvl9pPr lvl="8" algn="r"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146937802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matchingName="94. Four computer feature functions">
  <p:cSld name="94. Four computer feature functions">
    <p:spTree>
      <p:nvGrpSpPr>
        <p:cNvPr id="1" name="Shape 4895"/>
        <p:cNvGrpSpPr/>
        <p:nvPr/>
      </p:nvGrpSpPr>
      <p:grpSpPr>
        <a:xfrm>
          <a:off x="0" y="0"/>
          <a:ext cx="0" cy="0"/>
          <a:chOff x="0" y="0"/>
          <a:chExt cx="0" cy="0"/>
        </a:xfrm>
      </p:grpSpPr>
      <p:sp>
        <p:nvSpPr>
          <p:cNvPr id="4896" name="Google Shape;4896;p229"/>
          <p:cNvSpPr/>
          <p:nvPr/>
        </p:nvSpPr>
        <p:spPr>
          <a:xfrm>
            <a:off x="4273100" y="1977996"/>
            <a:ext cx="3621600" cy="2324000"/>
          </a:xfrm>
          <a:prstGeom prst="roundRect">
            <a:avLst>
              <a:gd name="adj" fmla="val 4665"/>
            </a:avLst>
          </a:prstGeom>
          <a:noFill/>
          <a:ln w="50800" cap="flat" cmpd="sng">
            <a:solidFill>
              <a:srgbClr val="484F58"/>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897" name="Google Shape;4897;p229"/>
          <p:cNvSpPr/>
          <p:nvPr/>
        </p:nvSpPr>
        <p:spPr>
          <a:xfrm>
            <a:off x="5512711" y="4301836"/>
            <a:ext cx="1142800" cy="628800"/>
          </a:xfrm>
          <a:prstGeom prst="trapezoid">
            <a:avLst>
              <a:gd name="adj" fmla="val 52196"/>
            </a:avLst>
          </a:prstGeom>
          <a:noFill/>
          <a:ln w="50800" cap="rnd" cmpd="sng">
            <a:solidFill>
              <a:srgbClr val="484F58"/>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grpSp>
        <p:nvGrpSpPr>
          <p:cNvPr id="4898" name="Google Shape;4898;p229"/>
          <p:cNvGrpSpPr/>
          <p:nvPr/>
        </p:nvGrpSpPr>
        <p:grpSpPr>
          <a:xfrm>
            <a:off x="12253600" y="1"/>
            <a:ext cx="3438989" cy="3424452"/>
            <a:chOff x="22170399" y="777240"/>
            <a:chExt cx="6877978" cy="6848903"/>
          </a:xfrm>
        </p:grpSpPr>
        <p:grpSp>
          <p:nvGrpSpPr>
            <p:cNvPr id="4899" name="Google Shape;4899;p229"/>
            <p:cNvGrpSpPr/>
            <p:nvPr/>
          </p:nvGrpSpPr>
          <p:grpSpPr>
            <a:xfrm>
              <a:off x="22170399" y="777240"/>
              <a:ext cx="6877978" cy="6848903"/>
              <a:chOff x="22155159" y="0"/>
              <a:chExt cx="6877978" cy="6848903"/>
            </a:xfrm>
          </p:grpSpPr>
          <p:sp>
            <p:nvSpPr>
              <p:cNvPr id="4900" name="Google Shape;4900;p229"/>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901" name="Google Shape;4901;p229"/>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902" name="Google Shape;4902;p229"/>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903" name="Google Shape;4903;p229"/>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904" name="Google Shape;4904;p229"/>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905" name="Google Shape;4905;p229"/>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906" name="Google Shape;4906;p229"/>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907" name="Google Shape;4907;p229"/>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908" name="Google Shape;4908;p229"/>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909" name="Google Shape;4909;p229"/>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910" name="Google Shape;4910;p229"/>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911" name="Google Shape;4911;p229"/>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912" name="Google Shape;4912;p229"/>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913" name="Google Shape;4913;p229"/>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grpSp>
        <p:nvGrpSpPr>
          <p:cNvPr id="4914" name="Google Shape;4914;p229"/>
          <p:cNvGrpSpPr/>
          <p:nvPr/>
        </p:nvGrpSpPr>
        <p:grpSpPr>
          <a:xfrm rot="1499954">
            <a:off x="2020125" y="797840"/>
            <a:ext cx="3402349" cy="1828773"/>
            <a:chOff x="1191527" y="2380720"/>
            <a:chExt cx="2551800" cy="1371600"/>
          </a:xfrm>
        </p:grpSpPr>
        <p:cxnSp>
          <p:nvCxnSpPr>
            <p:cNvPr id="4915" name="Google Shape;4915;p229"/>
            <p:cNvCxnSpPr>
              <a:stCxn id="4916" idx="6"/>
            </p:cNvCxnSpPr>
            <p:nvPr/>
          </p:nvCxnSpPr>
          <p:spPr>
            <a:xfrm rot="-1500315">
              <a:off x="2618452" y="2817084"/>
              <a:ext cx="1069550" cy="498872"/>
            </a:xfrm>
            <a:prstGeom prst="straightConnector1">
              <a:avLst/>
            </a:prstGeom>
            <a:noFill/>
            <a:ln w="19050" cap="rnd" cmpd="sng">
              <a:solidFill>
                <a:srgbClr val="A371F7"/>
              </a:solidFill>
              <a:prstDash val="solid"/>
              <a:miter lim="400000"/>
              <a:headEnd type="none" w="med" len="med"/>
              <a:tailEnd type="triangle" w="med" len="med"/>
            </a:ln>
          </p:spPr>
        </p:cxnSp>
        <p:sp>
          <p:nvSpPr>
            <p:cNvPr id="4916" name="Google Shape;4916;p229"/>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33" b="1" i="0" u="none" strike="noStrike" cap="none">
                <a:solidFill>
                  <a:srgbClr val="F0F6FC"/>
                </a:solidFill>
                <a:latin typeface="Arial"/>
                <a:ea typeface="Arial"/>
                <a:cs typeface="Arial"/>
                <a:sym typeface="Arial"/>
              </a:endParaRPr>
            </a:p>
          </p:txBody>
        </p:sp>
      </p:grpSp>
      <p:grpSp>
        <p:nvGrpSpPr>
          <p:cNvPr id="4917" name="Google Shape;4917;p229"/>
          <p:cNvGrpSpPr/>
          <p:nvPr/>
        </p:nvGrpSpPr>
        <p:grpSpPr>
          <a:xfrm rot="-1499954" flipH="1">
            <a:off x="6882759" y="797840"/>
            <a:ext cx="3402349" cy="1828773"/>
            <a:chOff x="1191527" y="2380720"/>
            <a:chExt cx="2551800" cy="1371600"/>
          </a:xfrm>
        </p:grpSpPr>
        <p:cxnSp>
          <p:nvCxnSpPr>
            <p:cNvPr id="4918" name="Google Shape;4918;p229"/>
            <p:cNvCxnSpPr>
              <a:stCxn id="4919" idx="6"/>
            </p:cNvCxnSpPr>
            <p:nvPr/>
          </p:nvCxnSpPr>
          <p:spPr>
            <a:xfrm rot="-1500315">
              <a:off x="2618452" y="2817084"/>
              <a:ext cx="1069550" cy="498872"/>
            </a:xfrm>
            <a:prstGeom prst="straightConnector1">
              <a:avLst/>
            </a:prstGeom>
            <a:noFill/>
            <a:ln w="19050" cap="rnd" cmpd="sng">
              <a:solidFill>
                <a:srgbClr val="A371F7"/>
              </a:solidFill>
              <a:prstDash val="solid"/>
              <a:miter lim="400000"/>
              <a:headEnd type="none" w="med" len="med"/>
              <a:tailEnd type="triangle" w="med" len="med"/>
            </a:ln>
          </p:spPr>
        </p:cxnSp>
        <p:sp>
          <p:nvSpPr>
            <p:cNvPr id="4919" name="Google Shape;4919;p229"/>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33" b="1" i="0" u="none" strike="noStrike" cap="none">
                <a:solidFill>
                  <a:srgbClr val="F0F6FC"/>
                </a:solidFill>
                <a:latin typeface="Arial"/>
                <a:ea typeface="Arial"/>
                <a:cs typeface="Arial"/>
                <a:sym typeface="Arial"/>
              </a:endParaRPr>
            </a:p>
          </p:txBody>
        </p:sp>
      </p:grpSp>
      <p:grpSp>
        <p:nvGrpSpPr>
          <p:cNvPr id="4920" name="Google Shape;4920;p229"/>
          <p:cNvGrpSpPr/>
          <p:nvPr/>
        </p:nvGrpSpPr>
        <p:grpSpPr>
          <a:xfrm rot="-9300046">
            <a:off x="6882759" y="3515640"/>
            <a:ext cx="3402349" cy="1828773"/>
            <a:chOff x="1191527" y="2380720"/>
            <a:chExt cx="2551800" cy="1371600"/>
          </a:xfrm>
        </p:grpSpPr>
        <p:cxnSp>
          <p:nvCxnSpPr>
            <p:cNvPr id="4921" name="Google Shape;4921;p229"/>
            <p:cNvCxnSpPr>
              <a:stCxn id="4922" idx="6"/>
            </p:cNvCxnSpPr>
            <p:nvPr/>
          </p:nvCxnSpPr>
          <p:spPr>
            <a:xfrm rot="-1500315">
              <a:off x="2618452" y="2817084"/>
              <a:ext cx="1069550" cy="498872"/>
            </a:xfrm>
            <a:prstGeom prst="straightConnector1">
              <a:avLst/>
            </a:prstGeom>
            <a:noFill/>
            <a:ln w="19050" cap="rnd" cmpd="sng">
              <a:solidFill>
                <a:srgbClr val="A371F7"/>
              </a:solidFill>
              <a:prstDash val="solid"/>
              <a:miter lim="400000"/>
              <a:headEnd type="none" w="med" len="med"/>
              <a:tailEnd type="triangle" w="med" len="med"/>
            </a:ln>
          </p:spPr>
        </p:cxnSp>
        <p:sp>
          <p:nvSpPr>
            <p:cNvPr id="4922" name="Google Shape;4922;p229"/>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33" b="1" i="0" u="none" strike="noStrike" cap="none">
                <a:solidFill>
                  <a:srgbClr val="F0F6FC"/>
                </a:solidFill>
                <a:latin typeface="Arial"/>
                <a:ea typeface="Arial"/>
                <a:cs typeface="Arial"/>
                <a:sym typeface="Arial"/>
              </a:endParaRPr>
            </a:p>
          </p:txBody>
        </p:sp>
      </p:grpSp>
      <p:grpSp>
        <p:nvGrpSpPr>
          <p:cNvPr id="4923" name="Google Shape;4923;p229"/>
          <p:cNvGrpSpPr/>
          <p:nvPr/>
        </p:nvGrpSpPr>
        <p:grpSpPr>
          <a:xfrm rot="9300046" flipH="1">
            <a:off x="2020125" y="3515640"/>
            <a:ext cx="3402349" cy="1828773"/>
            <a:chOff x="1191527" y="2380720"/>
            <a:chExt cx="2551800" cy="1371600"/>
          </a:xfrm>
        </p:grpSpPr>
        <p:cxnSp>
          <p:nvCxnSpPr>
            <p:cNvPr id="4924" name="Google Shape;4924;p229"/>
            <p:cNvCxnSpPr>
              <a:stCxn id="4925" idx="6"/>
            </p:cNvCxnSpPr>
            <p:nvPr/>
          </p:nvCxnSpPr>
          <p:spPr>
            <a:xfrm rot="-1500315">
              <a:off x="2618452" y="2817084"/>
              <a:ext cx="1069550" cy="498872"/>
            </a:xfrm>
            <a:prstGeom prst="straightConnector1">
              <a:avLst/>
            </a:prstGeom>
            <a:noFill/>
            <a:ln w="19050" cap="rnd" cmpd="sng">
              <a:solidFill>
                <a:srgbClr val="A371F7"/>
              </a:solidFill>
              <a:prstDash val="solid"/>
              <a:miter lim="400000"/>
              <a:headEnd type="none" w="med" len="med"/>
              <a:tailEnd type="triangle" w="med" len="med"/>
            </a:ln>
          </p:spPr>
        </p:cxnSp>
        <p:sp>
          <p:nvSpPr>
            <p:cNvPr id="4925" name="Google Shape;4925;p229"/>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33" b="1" i="0" u="none" strike="noStrike" cap="none">
                <a:solidFill>
                  <a:srgbClr val="F0F6FC"/>
                </a:solidFill>
                <a:latin typeface="Arial"/>
                <a:ea typeface="Arial"/>
                <a:cs typeface="Arial"/>
                <a:sym typeface="Arial"/>
              </a:endParaRPr>
            </a:p>
          </p:txBody>
        </p:sp>
      </p:grpSp>
    </p:spTree>
    <p:extLst>
      <p:ext uri="{BB962C8B-B14F-4D97-AF65-F5344CB8AC3E}">
        <p14:creationId xmlns:p14="http://schemas.microsoft.com/office/powerpoint/2010/main" val="310468421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matchingName="95. Six computer feature functions">
  <p:cSld name="95. Six computer feature functions">
    <p:spTree>
      <p:nvGrpSpPr>
        <p:cNvPr id="1" name="Shape 4926"/>
        <p:cNvGrpSpPr/>
        <p:nvPr/>
      </p:nvGrpSpPr>
      <p:grpSpPr>
        <a:xfrm>
          <a:off x="0" y="0"/>
          <a:ext cx="0" cy="0"/>
          <a:chOff x="0" y="0"/>
          <a:chExt cx="0" cy="0"/>
        </a:xfrm>
      </p:grpSpPr>
      <p:sp>
        <p:nvSpPr>
          <p:cNvPr id="4927" name="Google Shape;4927;p230"/>
          <p:cNvSpPr/>
          <p:nvPr/>
        </p:nvSpPr>
        <p:spPr>
          <a:xfrm>
            <a:off x="4273100" y="1977996"/>
            <a:ext cx="3621600" cy="2324000"/>
          </a:xfrm>
          <a:prstGeom prst="roundRect">
            <a:avLst>
              <a:gd name="adj" fmla="val 4665"/>
            </a:avLst>
          </a:prstGeom>
          <a:noFill/>
          <a:ln w="50800" cap="flat" cmpd="sng">
            <a:solidFill>
              <a:srgbClr val="484F58"/>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sp>
        <p:nvSpPr>
          <p:cNvPr id="4928" name="Google Shape;4928;p230"/>
          <p:cNvSpPr/>
          <p:nvPr/>
        </p:nvSpPr>
        <p:spPr>
          <a:xfrm>
            <a:off x="5512711" y="4301836"/>
            <a:ext cx="1142800" cy="628800"/>
          </a:xfrm>
          <a:prstGeom prst="trapezoid">
            <a:avLst>
              <a:gd name="adj" fmla="val 52196"/>
            </a:avLst>
          </a:prstGeom>
          <a:noFill/>
          <a:ln w="50800" cap="rnd" cmpd="sng">
            <a:solidFill>
              <a:srgbClr val="484F58"/>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200" b="0" i="0" u="none" strike="noStrike" cap="none">
              <a:solidFill>
                <a:schemeClr val="dk1"/>
              </a:solidFill>
              <a:latin typeface="Arial"/>
              <a:ea typeface="Arial"/>
              <a:cs typeface="Arial"/>
              <a:sym typeface="Arial"/>
            </a:endParaRPr>
          </a:p>
        </p:txBody>
      </p:sp>
      <p:grpSp>
        <p:nvGrpSpPr>
          <p:cNvPr id="4929" name="Google Shape;4929;p230"/>
          <p:cNvGrpSpPr/>
          <p:nvPr/>
        </p:nvGrpSpPr>
        <p:grpSpPr>
          <a:xfrm>
            <a:off x="12253600" y="1"/>
            <a:ext cx="3438989" cy="3424452"/>
            <a:chOff x="22170399" y="777240"/>
            <a:chExt cx="6877978" cy="6848903"/>
          </a:xfrm>
        </p:grpSpPr>
        <p:grpSp>
          <p:nvGrpSpPr>
            <p:cNvPr id="4930" name="Google Shape;4930;p230"/>
            <p:cNvGrpSpPr/>
            <p:nvPr/>
          </p:nvGrpSpPr>
          <p:grpSpPr>
            <a:xfrm>
              <a:off x="22170399" y="777240"/>
              <a:ext cx="6877978" cy="6848903"/>
              <a:chOff x="22155159" y="0"/>
              <a:chExt cx="6877978" cy="6848903"/>
            </a:xfrm>
          </p:grpSpPr>
          <p:sp>
            <p:nvSpPr>
              <p:cNvPr id="4931" name="Google Shape;4931;p230"/>
              <p:cNvSpPr/>
              <p:nvPr/>
            </p:nvSpPr>
            <p:spPr>
              <a:xfrm>
                <a:off x="22155159" y="1972983"/>
                <a:ext cx="68778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932" name="Google Shape;4932;p230"/>
              <p:cNvSpPr/>
              <p:nvPr/>
            </p:nvSpPr>
            <p:spPr>
              <a:xfrm>
                <a:off x="22155159" y="2964166"/>
                <a:ext cx="68778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933" name="Google Shape;4933;p230"/>
              <p:cNvSpPr/>
              <p:nvPr/>
            </p:nvSpPr>
            <p:spPr>
              <a:xfrm>
                <a:off x="22155159" y="3953413"/>
                <a:ext cx="33756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934" name="Google Shape;4934;p230"/>
              <p:cNvSpPr/>
              <p:nvPr/>
            </p:nvSpPr>
            <p:spPr>
              <a:xfrm>
                <a:off x="25631437" y="3953413"/>
                <a:ext cx="34017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935" name="Google Shape;4935;p230"/>
              <p:cNvSpPr/>
              <p:nvPr/>
            </p:nvSpPr>
            <p:spPr>
              <a:xfrm>
                <a:off x="22155159" y="4942660"/>
                <a:ext cx="33756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936" name="Google Shape;4936;p230"/>
              <p:cNvSpPr/>
              <p:nvPr/>
            </p:nvSpPr>
            <p:spPr>
              <a:xfrm>
                <a:off x="25631437" y="4942660"/>
                <a:ext cx="34017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937" name="Google Shape;4937;p230"/>
              <p:cNvSpPr/>
              <p:nvPr/>
            </p:nvSpPr>
            <p:spPr>
              <a:xfrm>
                <a:off x="22155159" y="0"/>
                <a:ext cx="6877800"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938" name="Google Shape;4938;p230"/>
              <p:cNvSpPr/>
              <p:nvPr/>
            </p:nvSpPr>
            <p:spPr>
              <a:xfrm>
                <a:off x="22155159" y="986491"/>
                <a:ext cx="6877800"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939" name="Google Shape;4939;p230"/>
              <p:cNvSpPr/>
              <p:nvPr/>
            </p:nvSpPr>
            <p:spPr>
              <a:xfrm>
                <a:off x="24461005" y="5934503"/>
                <a:ext cx="10698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940" name="Google Shape;4940;p230"/>
              <p:cNvSpPr/>
              <p:nvPr/>
            </p:nvSpPr>
            <p:spPr>
              <a:xfrm>
                <a:off x="25631437" y="5934503"/>
                <a:ext cx="10698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941" name="Google Shape;4941;p230"/>
              <p:cNvSpPr/>
              <p:nvPr/>
            </p:nvSpPr>
            <p:spPr>
              <a:xfrm>
                <a:off x="26792725" y="5934503"/>
                <a:ext cx="10698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942" name="Google Shape;4942;p230"/>
              <p:cNvSpPr/>
              <p:nvPr/>
            </p:nvSpPr>
            <p:spPr>
              <a:xfrm>
                <a:off x="27954013" y="5934503"/>
                <a:ext cx="10698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943" name="Google Shape;4943;p230"/>
            <p:cNvSpPr/>
            <p:nvPr/>
          </p:nvSpPr>
          <p:spPr>
            <a:xfrm>
              <a:off x="22170400" y="6711743"/>
              <a:ext cx="10698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944" name="Google Shape;4944;p230"/>
            <p:cNvSpPr/>
            <p:nvPr/>
          </p:nvSpPr>
          <p:spPr>
            <a:xfrm>
              <a:off x="23340832" y="6711743"/>
              <a:ext cx="10698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grpSp>
        <p:nvGrpSpPr>
          <p:cNvPr id="4945" name="Google Shape;4945;p230"/>
          <p:cNvGrpSpPr/>
          <p:nvPr/>
        </p:nvGrpSpPr>
        <p:grpSpPr>
          <a:xfrm rot="1499954">
            <a:off x="2223325" y="696240"/>
            <a:ext cx="3402349" cy="1828773"/>
            <a:chOff x="1191527" y="2380720"/>
            <a:chExt cx="2551800" cy="1371600"/>
          </a:xfrm>
        </p:grpSpPr>
        <p:cxnSp>
          <p:nvCxnSpPr>
            <p:cNvPr id="4946" name="Google Shape;4946;p230"/>
            <p:cNvCxnSpPr>
              <a:stCxn id="4947" idx="6"/>
            </p:cNvCxnSpPr>
            <p:nvPr/>
          </p:nvCxnSpPr>
          <p:spPr>
            <a:xfrm rot="-1500315">
              <a:off x="2618452" y="2817084"/>
              <a:ext cx="1069550" cy="498872"/>
            </a:xfrm>
            <a:prstGeom prst="straightConnector1">
              <a:avLst/>
            </a:prstGeom>
            <a:noFill/>
            <a:ln w="19050" cap="rnd" cmpd="sng">
              <a:solidFill>
                <a:srgbClr val="A371F7"/>
              </a:solidFill>
              <a:prstDash val="solid"/>
              <a:miter lim="400000"/>
              <a:headEnd type="none" w="med" len="med"/>
              <a:tailEnd type="triangle" w="med" len="med"/>
            </a:ln>
          </p:spPr>
        </p:cxnSp>
        <p:sp>
          <p:nvSpPr>
            <p:cNvPr id="4947" name="Google Shape;4947;p230"/>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33" b="1" i="0" u="none" strike="noStrike" cap="none">
                <a:solidFill>
                  <a:srgbClr val="F0F6FC"/>
                </a:solidFill>
                <a:latin typeface="Arial"/>
                <a:ea typeface="Arial"/>
                <a:cs typeface="Arial"/>
                <a:sym typeface="Arial"/>
              </a:endParaRPr>
            </a:p>
          </p:txBody>
        </p:sp>
      </p:grpSp>
      <p:grpSp>
        <p:nvGrpSpPr>
          <p:cNvPr id="4948" name="Google Shape;4948;p230"/>
          <p:cNvGrpSpPr/>
          <p:nvPr/>
        </p:nvGrpSpPr>
        <p:grpSpPr>
          <a:xfrm rot="-1499954" flipH="1">
            <a:off x="6374759" y="696240"/>
            <a:ext cx="3402349" cy="1828773"/>
            <a:chOff x="1191527" y="2380720"/>
            <a:chExt cx="2551800" cy="1371600"/>
          </a:xfrm>
        </p:grpSpPr>
        <p:cxnSp>
          <p:nvCxnSpPr>
            <p:cNvPr id="4949" name="Google Shape;4949;p230"/>
            <p:cNvCxnSpPr>
              <a:stCxn id="4950" idx="6"/>
            </p:cNvCxnSpPr>
            <p:nvPr/>
          </p:nvCxnSpPr>
          <p:spPr>
            <a:xfrm rot="-1500315">
              <a:off x="2618452" y="2817084"/>
              <a:ext cx="1069550" cy="498872"/>
            </a:xfrm>
            <a:prstGeom prst="straightConnector1">
              <a:avLst/>
            </a:prstGeom>
            <a:noFill/>
            <a:ln w="19050" cap="rnd" cmpd="sng">
              <a:solidFill>
                <a:srgbClr val="A371F7"/>
              </a:solidFill>
              <a:prstDash val="solid"/>
              <a:miter lim="400000"/>
              <a:headEnd type="none" w="med" len="med"/>
              <a:tailEnd type="triangle" w="med" len="med"/>
            </a:ln>
          </p:spPr>
        </p:cxnSp>
        <p:sp>
          <p:nvSpPr>
            <p:cNvPr id="4950" name="Google Shape;4950;p230"/>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33" b="1" i="0" u="none" strike="noStrike" cap="none">
                <a:solidFill>
                  <a:srgbClr val="F0F6FC"/>
                </a:solidFill>
                <a:latin typeface="Arial"/>
                <a:ea typeface="Arial"/>
                <a:cs typeface="Arial"/>
                <a:sym typeface="Arial"/>
              </a:endParaRPr>
            </a:p>
          </p:txBody>
        </p:sp>
      </p:grpSp>
      <p:grpSp>
        <p:nvGrpSpPr>
          <p:cNvPr id="4951" name="Google Shape;4951;p230"/>
          <p:cNvGrpSpPr/>
          <p:nvPr/>
        </p:nvGrpSpPr>
        <p:grpSpPr>
          <a:xfrm rot="-9300046">
            <a:off x="6374759" y="3718840"/>
            <a:ext cx="3402349" cy="1828773"/>
            <a:chOff x="1191527" y="2380720"/>
            <a:chExt cx="2551800" cy="1371600"/>
          </a:xfrm>
        </p:grpSpPr>
        <p:cxnSp>
          <p:nvCxnSpPr>
            <p:cNvPr id="4952" name="Google Shape;4952;p230"/>
            <p:cNvCxnSpPr>
              <a:stCxn id="4953" idx="6"/>
            </p:cNvCxnSpPr>
            <p:nvPr/>
          </p:nvCxnSpPr>
          <p:spPr>
            <a:xfrm rot="-1500315">
              <a:off x="2618452" y="2817084"/>
              <a:ext cx="1069550" cy="498872"/>
            </a:xfrm>
            <a:prstGeom prst="straightConnector1">
              <a:avLst/>
            </a:prstGeom>
            <a:noFill/>
            <a:ln w="19050" cap="rnd" cmpd="sng">
              <a:solidFill>
                <a:srgbClr val="A371F7"/>
              </a:solidFill>
              <a:prstDash val="solid"/>
              <a:miter lim="400000"/>
              <a:headEnd type="none" w="med" len="med"/>
              <a:tailEnd type="triangle" w="med" len="med"/>
            </a:ln>
          </p:spPr>
        </p:cxnSp>
        <p:sp>
          <p:nvSpPr>
            <p:cNvPr id="4953" name="Google Shape;4953;p230"/>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33" b="1" i="0" u="none" strike="noStrike" cap="none">
                <a:solidFill>
                  <a:srgbClr val="F0F6FC"/>
                </a:solidFill>
                <a:latin typeface="Arial"/>
                <a:ea typeface="Arial"/>
                <a:cs typeface="Arial"/>
                <a:sym typeface="Arial"/>
              </a:endParaRPr>
            </a:p>
          </p:txBody>
        </p:sp>
      </p:grpSp>
      <p:grpSp>
        <p:nvGrpSpPr>
          <p:cNvPr id="4954" name="Google Shape;4954;p230"/>
          <p:cNvGrpSpPr/>
          <p:nvPr/>
        </p:nvGrpSpPr>
        <p:grpSpPr>
          <a:xfrm rot="9300046" flipH="1">
            <a:off x="2121726" y="3718840"/>
            <a:ext cx="3402349" cy="1828773"/>
            <a:chOff x="1191527" y="2380720"/>
            <a:chExt cx="2551800" cy="1371600"/>
          </a:xfrm>
        </p:grpSpPr>
        <p:cxnSp>
          <p:nvCxnSpPr>
            <p:cNvPr id="4955" name="Google Shape;4955;p230"/>
            <p:cNvCxnSpPr>
              <a:stCxn id="4956" idx="6"/>
            </p:cNvCxnSpPr>
            <p:nvPr/>
          </p:nvCxnSpPr>
          <p:spPr>
            <a:xfrm rot="-1500315">
              <a:off x="2618452" y="2817084"/>
              <a:ext cx="1069550" cy="498872"/>
            </a:xfrm>
            <a:prstGeom prst="straightConnector1">
              <a:avLst/>
            </a:prstGeom>
            <a:noFill/>
            <a:ln w="19050" cap="rnd" cmpd="sng">
              <a:solidFill>
                <a:srgbClr val="A371F7"/>
              </a:solidFill>
              <a:prstDash val="solid"/>
              <a:miter lim="400000"/>
              <a:headEnd type="none" w="med" len="med"/>
              <a:tailEnd type="triangle" w="med" len="med"/>
            </a:ln>
          </p:spPr>
        </p:cxnSp>
        <p:sp>
          <p:nvSpPr>
            <p:cNvPr id="4956" name="Google Shape;4956;p230"/>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33" b="1" i="0" u="none" strike="noStrike" cap="none">
                <a:solidFill>
                  <a:srgbClr val="F0F6FC"/>
                </a:solidFill>
                <a:latin typeface="Arial"/>
                <a:ea typeface="Arial"/>
                <a:cs typeface="Arial"/>
                <a:sym typeface="Arial"/>
              </a:endParaRPr>
            </a:p>
          </p:txBody>
        </p:sp>
      </p:grpSp>
      <p:grpSp>
        <p:nvGrpSpPr>
          <p:cNvPr id="4957" name="Google Shape;4957;p230"/>
          <p:cNvGrpSpPr/>
          <p:nvPr/>
        </p:nvGrpSpPr>
        <p:grpSpPr>
          <a:xfrm>
            <a:off x="1232748" y="2194887"/>
            <a:ext cx="3402400" cy="1828800"/>
            <a:chOff x="1191527" y="2380720"/>
            <a:chExt cx="2551800" cy="1371600"/>
          </a:xfrm>
        </p:grpSpPr>
        <p:cxnSp>
          <p:nvCxnSpPr>
            <p:cNvPr id="4958" name="Google Shape;4958;p230"/>
            <p:cNvCxnSpPr>
              <a:stCxn id="4959" idx="6"/>
            </p:cNvCxnSpPr>
            <p:nvPr/>
          </p:nvCxnSpPr>
          <p:spPr>
            <a:xfrm>
              <a:off x="2563127" y="3066520"/>
              <a:ext cx="1180200" cy="0"/>
            </a:xfrm>
            <a:prstGeom prst="straightConnector1">
              <a:avLst/>
            </a:prstGeom>
            <a:noFill/>
            <a:ln w="19050" cap="rnd" cmpd="sng">
              <a:solidFill>
                <a:srgbClr val="A371F7"/>
              </a:solidFill>
              <a:prstDash val="solid"/>
              <a:miter lim="400000"/>
              <a:headEnd type="none" w="med" len="med"/>
              <a:tailEnd type="triangle" w="med" len="med"/>
            </a:ln>
          </p:spPr>
        </p:cxnSp>
        <p:sp>
          <p:nvSpPr>
            <p:cNvPr id="4959" name="Google Shape;4959;p230"/>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33" b="1" i="0" u="none" strike="noStrike" cap="none">
                <a:solidFill>
                  <a:srgbClr val="F0F6FC"/>
                </a:solidFill>
                <a:latin typeface="Arial"/>
                <a:ea typeface="Arial"/>
                <a:cs typeface="Arial"/>
                <a:sym typeface="Arial"/>
              </a:endParaRPr>
            </a:p>
          </p:txBody>
        </p:sp>
      </p:grpSp>
      <p:grpSp>
        <p:nvGrpSpPr>
          <p:cNvPr id="4960" name="Google Shape;4960;p230"/>
          <p:cNvGrpSpPr/>
          <p:nvPr/>
        </p:nvGrpSpPr>
        <p:grpSpPr>
          <a:xfrm flipH="1">
            <a:off x="7125548" y="2194887"/>
            <a:ext cx="3402400" cy="1828800"/>
            <a:chOff x="1191527" y="2380720"/>
            <a:chExt cx="2551800" cy="1371600"/>
          </a:xfrm>
        </p:grpSpPr>
        <p:cxnSp>
          <p:nvCxnSpPr>
            <p:cNvPr id="4961" name="Google Shape;4961;p230"/>
            <p:cNvCxnSpPr>
              <a:stCxn id="4962" idx="6"/>
            </p:cNvCxnSpPr>
            <p:nvPr/>
          </p:nvCxnSpPr>
          <p:spPr>
            <a:xfrm>
              <a:off x="2563127" y="3066520"/>
              <a:ext cx="1180200" cy="0"/>
            </a:xfrm>
            <a:prstGeom prst="straightConnector1">
              <a:avLst/>
            </a:prstGeom>
            <a:noFill/>
            <a:ln w="19050" cap="rnd" cmpd="sng">
              <a:solidFill>
                <a:srgbClr val="A371F7"/>
              </a:solidFill>
              <a:prstDash val="solid"/>
              <a:miter lim="400000"/>
              <a:headEnd type="none" w="med" len="med"/>
              <a:tailEnd type="triangle" w="med" len="med"/>
            </a:ln>
          </p:spPr>
        </p:cxnSp>
        <p:sp>
          <p:nvSpPr>
            <p:cNvPr id="4962" name="Google Shape;4962;p230"/>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33" b="1" i="0" u="none" strike="noStrike" cap="none">
                <a:solidFill>
                  <a:srgbClr val="F0F6FC"/>
                </a:solidFill>
                <a:latin typeface="Arial"/>
                <a:ea typeface="Arial"/>
                <a:cs typeface="Arial"/>
                <a:sym typeface="Arial"/>
              </a:endParaRPr>
            </a:p>
          </p:txBody>
        </p:sp>
      </p:grpSp>
    </p:spTree>
    <p:extLst>
      <p:ext uri="{BB962C8B-B14F-4D97-AF65-F5344CB8AC3E}">
        <p14:creationId xmlns:p14="http://schemas.microsoft.com/office/powerpoint/2010/main" val="80918224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matchingName="96. Q&amp;A_1">
  <p:cSld name="96. Q&amp;A_1">
    <p:bg>
      <p:bgPr>
        <a:gradFill>
          <a:gsLst>
            <a:gs pos="0">
              <a:schemeClr val="accent4"/>
            </a:gs>
            <a:gs pos="100000">
              <a:schemeClr val="accent1"/>
            </a:gs>
          </a:gsLst>
          <a:lin ang="8100019" scaled="0"/>
        </a:gradFill>
        <a:effectLst/>
      </p:bgPr>
    </p:bg>
    <p:spTree>
      <p:nvGrpSpPr>
        <p:cNvPr id="1" name="Shape 4963"/>
        <p:cNvGrpSpPr/>
        <p:nvPr/>
      </p:nvGrpSpPr>
      <p:grpSpPr>
        <a:xfrm>
          <a:off x="0" y="0"/>
          <a:ext cx="0" cy="0"/>
          <a:chOff x="0" y="0"/>
          <a:chExt cx="0" cy="0"/>
        </a:xfrm>
      </p:grpSpPr>
      <p:sp>
        <p:nvSpPr>
          <p:cNvPr id="4964" name="Google Shape;4964;p231"/>
          <p:cNvSpPr/>
          <p:nvPr/>
        </p:nvSpPr>
        <p:spPr>
          <a:xfrm>
            <a:off x="4887656" y="2790364"/>
            <a:ext cx="2416800" cy="1277200"/>
          </a:xfrm>
          <a:prstGeom prst="rect">
            <a:avLst/>
          </a:prstGeom>
          <a:noFill/>
          <a:ln>
            <a:noFill/>
          </a:ln>
        </p:spPr>
        <p:txBody>
          <a:bodyPr spcFirstLastPara="1" wrap="square" lIns="45700" tIns="22867" rIns="45700" bIns="22867"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 sz="8000" b="1">
                <a:solidFill>
                  <a:schemeClr val="lt1"/>
                </a:solidFill>
              </a:rPr>
              <a:t>Q&amp;A</a:t>
            </a:r>
            <a:endParaRPr sz="8000" b="1">
              <a:solidFill>
                <a:schemeClr val="lt1"/>
              </a:solidFill>
            </a:endParaRPr>
          </a:p>
        </p:txBody>
      </p:sp>
    </p:spTree>
    <p:extLst>
      <p:ext uri="{BB962C8B-B14F-4D97-AF65-F5344CB8AC3E}">
        <p14:creationId xmlns:p14="http://schemas.microsoft.com/office/powerpoint/2010/main" val="32262769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DAA9C95A-0B98-4EC3-8525-FE9CC92B75B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erial photo of an office building lobby.">
            <a:extLst>
              <a:ext uri="{FF2B5EF4-FFF2-40B4-BE49-F238E27FC236}">
                <a16:creationId xmlns:a16="http://schemas.microsoft.com/office/drawing/2014/main" id="{01F32239-DB17-4457-A0D2-E18F3721E07A}"/>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129490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matchingName="97. Q&amp;A_2">
  <p:cSld name="97. Q&amp;A_2">
    <p:bg>
      <p:bgPr>
        <a:gradFill>
          <a:gsLst>
            <a:gs pos="0">
              <a:srgbClr val="A371F7"/>
            </a:gs>
            <a:gs pos="100000">
              <a:srgbClr val="388BFD"/>
            </a:gs>
          </a:gsLst>
          <a:lin ang="18900044" scaled="0"/>
        </a:gradFill>
        <a:effectLst/>
      </p:bgPr>
    </p:bg>
    <p:spTree>
      <p:nvGrpSpPr>
        <p:cNvPr id="1" name="Shape 4965"/>
        <p:cNvGrpSpPr/>
        <p:nvPr/>
      </p:nvGrpSpPr>
      <p:grpSpPr>
        <a:xfrm>
          <a:off x="0" y="0"/>
          <a:ext cx="0" cy="0"/>
          <a:chOff x="0" y="0"/>
          <a:chExt cx="0" cy="0"/>
        </a:xfrm>
      </p:grpSpPr>
      <p:sp>
        <p:nvSpPr>
          <p:cNvPr id="4966" name="Google Shape;4966;p232"/>
          <p:cNvSpPr/>
          <p:nvPr/>
        </p:nvSpPr>
        <p:spPr>
          <a:xfrm>
            <a:off x="4887656" y="2790364"/>
            <a:ext cx="2416800" cy="1277200"/>
          </a:xfrm>
          <a:prstGeom prst="rect">
            <a:avLst/>
          </a:prstGeom>
          <a:noFill/>
          <a:ln>
            <a:noFill/>
          </a:ln>
        </p:spPr>
        <p:txBody>
          <a:bodyPr spcFirstLastPara="1" wrap="square" lIns="45700" tIns="22867" rIns="45700" bIns="22867"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 sz="8000" b="1">
                <a:solidFill>
                  <a:schemeClr val="lt1"/>
                </a:solidFill>
              </a:rPr>
              <a:t>Q&amp;A</a:t>
            </a:r>
            <a:endParaRPr sz="8000" b="1">
              <a:solidFill>
                <a:schemeClr val="lt1"/>
              </a:solidFill>
            </a:endParaRPr>
          </a:p>
        </p:txBody>
      </p:sp>
    </p:spTree>
    <p:extLst>
      <p:ext uri="{BB962C8B-B14F-4D97-AF65-F5344CB8AC3E}">
        <p14:creationId xmlns:p14="http://schemas.microsoft.com/office/powerpoint/2010/main" val="3468089523"/>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matchingName="98. Q&amp;A_3">
  <p:cSld name="98. Q&amp;A_3">
    <p:bg>
      <p:bgPr>
        <a:gradFill>
          <a:gsLst>
            <a:gs pos="0">
              <a:schemeClr val="accent2"/>
            </a:gs>
            <a:gs pos="51000">
              <a:schemeClr val="accent6"/>
            </a:gs>
            <a:gs pos="100000">
              <a:schemeClr val="accent3"/>
            </a:gs>
          </a:gsLst>
          <a:lin ang="18900044" scaled="0"/>
        </a:gradFill>
        <a:effectLst/>
      </p:bgPr>
    </p:bg>
    <p:spTree>
      <p:nvGrpSpPr>
        <p:cNvPr id="1" name="Shape 4967"/>
        <p:cNvGrpSpPr/>
        <p:nvPr/>
      </p:nvGrpSpPr>
      <p:grpSpPr>
        <a:xfrm>
          <a:off x="0" y="0"/>
          <a:ext cx="0" cy="0"/>
          <a:chOff x="0" y="0"/>
          <a:chExt cx="0" cy="0"/>
        </a:xfrm>
      </p:grpSpPr>
      <p:sp>
        <p:nvSpPr>
          <p:cNvPr id="4968" name="Google Shape;4968;p233"/>
          <p:cNvSpPr/>
          <p:nvPr/>
        </p:nvSpPr>
        <p:spPr>
          <a:xfrm>
            <a:off x="4887656" y="2790364"/>
            <a:ext cx="2416800" cy="1277200"/>
          </a:xfrm>
          <a:prstGeom prst="rect">
            <a:avLst/>
          </a:prstGeom>
          <a:noFill/>
          <a:ln>
            <a:noFill/>
          </a:ln>
        </p:spPr>
        <p:txBody>
          <a:bodyPr spcFirstLastPara="1" wrap="square" lIns="45700" tIns="22867" rIns="45700" bIns="22867"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 sz="8000" b="1">
                <a:solidFill>
                  <a:schemeClr val="lt1"/>
                </a:solidFill>
              </a:rPr>
              <a:t>Q&amp;A</a:t>
            </a:r>
            <a:endParaRPr sz="8000" b="1">
              <a:solidFill>
                <a:schemeClr val="lt1"/>
              </a:solidFill>
            </a:endParaRPr>
          </a:p>
        </p:txBody>
      </p:sp>
    </p:spTree>
    <p:extLst>
      <p:ext uri="{BB962C8B-B14F-4D97-AF65-F5344CB8AC3E}">
        <p14:creationId xmlns:p14="http://schemas.microsoft.com/office/powerpoint/2010/main" val="1301342836"/>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matchingName="99. Q&amp;A_4">
  <p:cSld name="99. Q&amp;A_4">
    <p:spTree>
      <p:nvGrpSpPr>
        <p:cNvPr id="1" name="Shape 4969"/>
        <p:cNvGrpSpPr/>
        <p:nvPr/>
      </p:nvGrpSpPr>
      <p:grpSpPr>
        <a:xfrm>
          <a:off x="0" y="0"/>
          <a:ext cx="0" cy="0"/>
          <a:chOff x="0" y="0"/>
          <a:chExt cx="0" cy="0"/>
        </a:xfrm>
      </p:grpSpPr>
      <p:pic>
        <p:nvPicPr>
          <p:cNvPr id="4970" name="Google Shape;4970;p234"/>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4971" name="Google Shape;4971;p234"/>
          <p:cNvSpPr/>
          <p:nvPr/>
        </p:nvSpPr>
        <p:spPr>
          <a:xfrm>
            <a:off x="4887656" y="2790364"/>
            <a:ext cx="2416800" cy="1277200"/>
          </a:xfrm>
          <a:prstGeom prst="rect">
            <a:avLst/>
          </a:prstGeom>
          <a:noFill/>
          <a:ln>
            <a:noFill/>
          </a:ln>
        </p:spPr>
        <p:txBody>
          <a:bodyPr spcFirstLastPara="1" wrap="square" lIns="45700" tIns="22867" rIns="45700" bIns="22867"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 sz="8000" b="1">
                <a:solidFill>
                  <a:schemeClr val="lt1"/>
                </a:solidFill>
              </a:rPr>
              <a:t>Q&amp;A</a:t>
            </a:r>
            <a:endParaRPr sz="8000" b="1">
              <a:solidFill>
                <a:schemeClr val="lt1"/>
              </a:solidFill>
            </a:endParaRPr>
          </a:p>
        </p:txBody>
      </p:sp>
    </p:spTree>
    <p:extLst>
      <p:ext uri="{BB962C8B-B14F-4D97-AF65-F5344CB8AC3E}">
        <p14:creationId xmlns:p14="http://schemas.microsoft.com/office/powerpoint/2010/main" val="1564455689"/>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matchingName="100. Q&amp;A _5">
  <p:cSld name="100. Q&amp;A _5">
    <p:spTree>
      <p:nvGrpSpPr>
        <p:cNvPr id="1" name="Shape 4972"/>
        <p:cNvGrpSpPr/>
        <p:nvPr/>
      </p:nvGrpSpPr>
      <p:grpSpPr>
        <a:xfrm>
          <a:off x="0" y="0"/>
          <a:ext cx="0" cy="0"/>
          <a:chOff x="0" y="0"/>
          <a:chExt cx="0" cy="0"/>
        </a:xfrm>
      </p:grpSpPr>
      <p:pic>
        <p:nvPicPr>
          <p:cNvPr id="4973" name="Google Shape;4973;p235"/>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4974" name="Google Shape;4974;p235"/>
          <p:cNvSpPr/>
          <p:nvPr/>
        </p:nvSpPr>
        <p:spPr>
          <a:xfrm>
            <a:off x="4887656" y="2790364"/>
            <a:ext cx="2416800" cy="1277200"/>
          </a:xfrm>
          <a:prstGeom prst="rect">
            <a:avLst/>
          </a:prstGeom>
          <a:noFill/>
          <a:ln>
            <a:noFill/>
          </a:ln>
        </p:spPr>
        <p:txBody>
          <a:bodyPr spcFirstLastPara="1" wrap="square" lIns="45700" tIns="22867" rIns="45700" bIns="22867"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 sz="8000" b="1">
                <a:solidFill>
                  <a:schemeClr val="lt1"/>
                </a:solidFill>
              </a:rPr>
              <a:t>Q&amp;A</a:t>
            </a:r>
            <a:endParaRPr sz="8000" b="1">
              <a:solidFill>
                <a:schemeClr val="lt1"/>
              </a:solidFill>
            </a:endParaRPr>
          </a:p>
        </p:txBody>
      </p:sp>
    </p:spTree>
    <p:extLst>
      <p:ext uri="{BB962C8B-B14F-4D97-AF65-F5344CB8AC3E}">
        <p14:creationId xmlns:p14="http://schemas.microsoft.com/office/powerpoint/2010/main" val="2543898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101. Thank you_1">
  <p:cSld name="101. Thank you_1">
    <p:bg>
      <p:bgPr>
        <a:gradFill>
          <a:gsLst>
            <a:gs pos="0">
              <a:schemeClr val="accent5"/>
            </a:gs>
            <a:gs pos="50000">
              <a:schemeClr val="accent1"/>
            </a:gs>
            <a:gs pos="100000">
              <a:schemeClr val="accent4"/>
            </a:gs>
          </a:gsLst>
          <a:lin ang="18900044" scaled="0"/>
        </a:gradFill>
        <a:effectLst/>
      </p:bgPr>
    </p:bg>
    <p:spTree>
      <p:nvGrpSpPr>
        <p:cNvPr id="1" name="Shape 4975"/>
        <p:cNvGrpSpPr/>
        <p:nvPr/>
      </p:nvGrpSpPr>
      <p:grpSpPr>
        <a:xfrm>
          <a:off x="0" y="0"/>
          <a:ext cx="0" cy="0"/>
          <a:chOff x="0" y="0"/>
          <a:chExt cx="0" cy="0"/>
        </a:xfrm>
      </p:grpSpPr>
      <p:sp>
        <p:nvSpPr>
          <p:cNvPr id="4976" name="Google Shape;4976;p236"/>
          <p:cNvSpPr/>
          <p:nvPr/>
        </p:nvSpPr>
        <p:spPr>
          <a:xfrm>
            <a:off x="3484228" y="2790364"/>
            <a:ext cx="5223600" cy="1277200"/>
          </a:xfrm>
          <a:prstGeom prst="rect">
            <a:avLst/>
          </a:prstGeom>
          <a:noFill/>
          <a:ln>
            <a:noFill/>
          </a:ln>
        </p:spPr>
        <p:txBody>
          <a:bodyPr spcFirstLastPara="1" wrap="square" lIns="45700" tIns="22867" rIns="45700" bIns="22867"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 sz="8000" b="1" i="0" u="none" strike="noStrike" cap="none">
                <a:solidFill>
                  <a:schemeClr val="lt1"/>
                </a:solidFill>
                <a:latin typeface="Arial"/>
                <a:ea typeface="Arial"/>
                <a:cs typeface="Arial"/>
                <a:sym typeface="Arial"/>
              </a:rPr>
              <a:t>Thank you</a:t>
            </a:r>
            <a:endParaRPr sz="8000" b="1"/>
          </a:p>
        </p:txBody>
      </p:sp>
    </p:spTree>
    <p:extLst>
      <p:ext uri="{BB962C8B-B14F-4D97-AF65-F5344CB8AC3E}">
        <p14:creationId xmlns:p14="http://schemas.microsoft.com/office/powerpoint/2010/main" val="348197863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102. Thank you_2">
  <p:cSld name="102. Thank you_2">
    <p:bg>
      <p:bgPr>
        <a:gradFill>
          <a:gsLst>
            <a:gs pos="0">
              <a:srgbClr val="A371F7"/>
            </a:gs>
            <a:gs pos="100000">
              <a:srgbClr val="388BFD"/>
            </a:gs>
          </a:gsLst>
          <a:lin ang="18900044" scaled="0"/>
        </a:gradFill>
        <a:effectLst/>
      </p:bgPr>
    </p:bg>
    <p:spTree>
      <p:nvGrpSpPr>
        <p:cNvPr id="1" name="Shape 4977"/>
        <p:cNvGrpSpPr/>
        <p:nvPr/>
      </p:nvGrpSpPr>
      <p:grpSpPr>
        <a:xfrm>
          <a:off x="0" y="0"/>
          <a:ext cx="0" cy="0"/>
          <a:chOff x="0" y="0"/>
          <a:chExt cx="0" cy="0"/>
        </a:xfrm>
      </p:grpSpPr>
      <p:sp>
        <p:nvSpPr>
          <p:cNvPr id="4978" name="Google Shape;4978;p237"/>
          <p:cNvSpPr/>
          <p:nvPr/>
        </p:nvSpPr>
        <p:spPr>
          <a:xfrm>
            <a:off x="3484228" y="2790364"/>
            <a:ext cx="5223600" cy="1277200"/>
          </a:xfrm>
          <a:prstGeom prst="rect">
            <a:avLst/>
          </a:prstGeom>
          <a:noFill/>
          <a:ln>
            <a:noFill/>
          </a:ln>
        </p:spPr>
        <p:txBody>
          <a:bodyPr spcFirstLastPara="1" wrap="square" lIns="45700" tIns="22867" rIns="45700" bIns="22867"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 sz="8000" b="1" i="0" u="none" strike="noStrike" cap="none">
                <a:solidFill>
                  <a:schemeClr val="lt1"/>
                </a:solidFill>
                <a:latin typeface="Arial"/>
                <a:ea typeface="Arial"/>
                <a:cs typeface="Arial"/>
                <a:sym typeface="Arial"/>
              </a:rPr>
              <a:t>Thank you</a:t>
            </a:r>
            <a:endParaRPr sz="8000" b="1"/>
          </a:p>
        </p:txBody>
      </p:sp>
    </p:spTree>
    <p:extLst>
      <p:ext uri="{BB962C8B-B14F-4D97-AF65-F5344CB8AC3E}">
        <p14:creationId xmlns:p14="http://schemas.microsoft.com/office/powerpoint/2010/main" val="1070448434"/>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103. Thank you_3">
  <p:cSld name="103. Thank you_3">
    <p:bg>
      <p:bgPr>
        <a:gradFill>
          <a:gsLst>
            <a:gs pos="0">
              <a:srgbClr val="56D364"/>
            </a:gs>
            <a:gs pos="100000">
              <a:srgbClr val="388BFD"/>
            </a:gs>
          </a:gsLst>
          <a:lin ang="18900044" scaled="0"/>
        </a:gradFill>
        <a:effectLst/>
      </p:bgPr>
    </p:bg>
    <p:spTree>
      <p:nvGrpSpPr>
        <p:cNvPr id="1" name="Shape 4979"/>
        <p:cNvGrpSpPr/>
        <p:nvPr/>
      </p:nvGrpSpPr>
      <p:grpSpPr>
        <a:xfrm>
          <a:off x="0" y="0"/>
          <a:ext cx="0" cy="0"/>
          <a:chOff x="0" y="0"/>
          <a:chExt cx="0" cy="0"/>
        </a:xfrm>
      </p:grpSpPr>
      <p:sp>
        <p:nvSpPr>
          <p:cNvPr id="4980" name="Google Shape;4980;p238"/>
          <p:cNvSpPr/>
          <p:nvPr/>
        </p:nvSpPr>
        <p:spPr>
          <a:xfrm>
            <a:off x="3484228" y="2790364"/>
            <a:ext cx="5223600" cy="1277200"/>
          </a:xfrm>
          <a:prstGeom prst="rect">
            <a:avLst/>
          </a:prstGeom>
          <a:noFill/>
          <a:ln>
            <a:noFill/>
          </a:ln>
        </p:spPr>
        <p:txBody>
          <a:bodyPr spcFirstLastPara="1" wrap="square" lIns="45700" tIns="22867" rIns="45700" bIns="22867"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 sz="8000" b="1" i="0" u="none" strike="noStrike" cap="none">
                <a:solidFill>
                  <a:schemeClr val="lt1"/>
                </a:solidFill>
                <a:latin typeface="Arial"/>
                <a:ea typeface="Arial"/>
                <a:cs typeface="Arial"/>
                <a:sym typeface="Arial"/>
              </a:rPr>
              <a:t>Thank you</a:t>
            </a:r>
            <a:endParaRPr sz="8000" b="1"/>
          </a:p>
        </p:txBody>
      </p:sp>
    </p:spTree>
    <p:extLst>
      <p:ext uri="{BB962C8B-B14F-4D97-AF65-F5344CB8AC3E}">
        <p14:creationId xmlns:p14="http://schemas.microsoft.com/office/powerpoint/2010/main" val="57081551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matchingName="104. Thank you_4">
  <p:cSld name="104. Thank you_4">
    <p:spTree>
      <p:nvGrpSpPr>
        <p:cNvPr id="1" name="Shape 4981"/>
        <p:cNvGrpSpPr/>
        <p:nvPr/>
      </p:nvGrpSpPr>
      <p:grpSpPr>
        <a:xfrm>
          <a:off x="0" y="0"/>
          <a:ext cx="0" cy="0"/>
          <a:chOff x="0" y="0"/>
          <a:chExt cx="0" cy="0"/>
        </a:xfrm>
      </p:grpSpPr>
      <p:pic>
        <p:nvPicPr>
          <p:cNvPr id="4982" name="Google Shape;4982;p239"/>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4983" name="Google Shape;4983;p239"/>
          <p:cNvSpPr/>
          <p:nvPr/>
        </p:nvSpPr>
        <p:spPr>
          <a:xfrm>
            <a:off x="3484228" y="2790364"/>
            <a:ext cx="5223600" cy="1277200"/>
          </a:xfrm>
          <a:prstGeom prst="rect">
            <a:avLst/>
          </a:prstGeom>
          <a:noFill/>
          <a:ln>
            <a:noFill/>
          </a:ln>
        </p:spPr>
        <p:txBody>
          <a:bodyPr spcFirstLastPara="1" wrap="square" lIns="45700" tIns="22867" rIns="45700" bIns="22867"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 sz="8000" b="1" i="0" u="none" strike="noStrike" cap="none">
                <a:solidFill>
                  <a:schemeClr val="lt1"/>
                </a:solidFill>
                <a:latin typeface="Arial"/>
                <a:ea typeface="Arial"/>
                <a:cs typeface="Arial"/>
                <a:sym typeface="Arial"/>
              </a:rPr>
              <a:t>Thank you</a:t>
            </a:r>
            <a:endParaRPr sz="8000" b="1"/>
          </a:p>
        </p:txBody>
      </p:sp>
    </p:spTree>
    <p:extLst>
      <p:ext uri="{BB962C8B-B14F-4D97-AF65-F5344CB8AC3E}">
        <p14:creationId xmlns:p14="http://schemas.microsoft.com/office/powerpoint/2010/main" val="352041394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matchingName="105. Thank you_5">
  <p:cSld name="105. Thank you_5">
    <p:spTree>
      <p:nvGrpSpPr>
        <p:cNvPr id="1" name="Shape 4984"/>
        <p:cNvGrpSpPr/>
        <p:nvPr/>
      </p:nvGrpSpPr>
      <p:grpSpPr>
        <a:xfrm>
          <a:off x="0" y="0"/>
          <a:ext cx="0" cy="0"/>
          <a:chOff x="0" y="0"/>
          <a:chExt cx="0" cy="0"/>
        </a:xfrm>
      </p:grpSpPr>
      <p:sp>
        <p:nvSpPr>
          <p:cNvPr id="4985" name="Google Shape;4985;p240"/>
          <p:cNvSpPr/>
          <p:nvPr/>
        </p:nvSpPr>
        <p:spPr>
          <a:xfrm>
            <a:off x="791795" y="2790397"/>
            <a:ext cx="5223600" cy="1277200"/>
          </a:xfrm>
          <a:prstGeom prst="rect">
            <a:avLst/>
          </a:prstGeom>
          <a:noFill/>
          <a:ln>
            <a:noFill/>
          </a:ln>
        </p:spPr>
        <p:txBody>
          <a:bodyPr spcFirstLastPara="1" wrap="square" lIns="45700" tIns="22867" rIns="45700" bIns="22867" anchor="t" anchorCtr="0">
            <a:noAutofit/>
          </a:bodyPr>
          <a:lstStyle/>
          <a:p>
            <a:pPr marL="0" marR="0" lvl="0" indent="0" algn="l" rtl="0">
              <a:lnSpc>
                <a:spcPct val="100000"/>
              </a:lnSpc>
              <a:spcBef>
                <a:spcPts val="0"/>
              </a:spcBef>
              <a:spcAft>
                <a:spcPts val="0"/>
              </a:spcAft>
              <a:buClr>
                <a:schemeClr val="lt1"/>
              </a:buClr>
              <a:buSzPts val="6000"/>
              <a:buFont typeface="Arial"/>
              <a:buNone/>
            </a:pPr>
            <a:r>
              <a:rPr lang="en" sz="8000" b="1" i="0" u="none" strike="noStrike" cap="none">
                <a:solidFill>
                  <a:schemeClr val="lt1"/>
                </a:solidFill>
                <a:latin typeface="Arial"/>
                <a:ea typeface="Arial"/>
                <a:cs typeface="Arial"/>
                <a:sym typeface="Arial"/>
              </a:rPr>
              <a:t>Thank you</a:t>
            </a:r>
            <a:endParaRPr sz="8000" b="1"/>
          </a:p>
        </p:txBody>
      </p:sp>
      <p:pic>
        <p:nvPicPr>
          <p:cNvPr id="4986" name="Google Shape;4986;p240" descr="A picture containing indoor, flower, plant, dark&#10;&#10;Description automatically generated"/>
          <p:cNvPicPr preferRelativeResize="0"/>
          <p:nvPr/>
        </p:nvPicPr>
        <p:blipFill rotWithShape="1">
          <a:blip r:embed="rId2">
            <a:alphaModFix/>
          </a:blip>
          <a:srcRect/>
          <a:stretch/>
        </p:blipFill>
        <p:spPr>
          <a:xfrm>
            <a:off x="6425676" y="424059"/>
            <a:ext cx="5116808" cy="6009883"/>
          </a:xfrm>
          <a:prstGeom prst="rect">
            <a:avLst/>
          </a:prstGeom>
          <a:noFill/>
          <a:ln>
            <a:noFill/>
          </a:ln>
        </p:spPr>
      </p:pic>
    </p:spTree>
    <p:extLst>
      <p:ext uri="{BB962C8B-B14F-4D97-AF65-F5344CB8AC3E}">
        <p14:creationId xmlns:p14="http://schemas.microsoft.com/office/powerpoint/2010/main" val="429418925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987"/>
        <p:cNvGrpSpPr/>
        <p:nvPr/>
      </p:nvGrpSpPr>
      <p:grpSpPr>
        <a:xfrm>
          <a:off x="0" y="0"/>
          <a:ext cx="0" cy="0"/>
          <a:chOff x="0" y="0"/>
          <a:chExt cx="0" cy="0"/>
        </a:xfrm>
      </p:grpSpPr>
      <p:sp>
        <p:nvSpPr>
          <p:cNvPr id="4988" name="Google Shape;4988;p24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889720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a:srcRect l="21845" r="11455"/>
          <a:stretch/>
        </p:blipFill>
        <p:spPr bwMode="ltGray">
          <a:xfrm>
            <a:off x="5334000" y="0"/>
            <a:ext cx="6858000" cy="6858000"/>
          </a:xfrm>
          <a:prstGeom prst="rect">
            <a:avLst/>
          </a:prstGeom>
        </p:spPr>
      </p:pic>
    </p:spTree>
    <p:extLst>
      <p:ext uri="{BB962C8B-B14F-4D97-AF65-F5344CB8AC3E}">
        <p14:creationId xmlns:p14="http://schemas.microsoft.com/office/powerpoint/2010/main" val="3468339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matchingName="Icons - 4">
  <p:cSld name="Icons - 4">
    <p:bg>
      <p:bgPr>
        <a:solidFill>
          <a:srgbClr val="000000"/>
        </a:solidFill>
        <a:effectLst/>
      </p:bgPr>
    </p:bg>
    <p:spTree>
      <p:nvGrpSpPr>
        <p:cNvPr id="1" name="Shape 4989"/>
        <p:cNvGrpSpPr/>
        <p:nvPr/>
      </p:nvGrpSpPr>
      <p:grpSpPr>
        <a:xfrm>
          <a:off x="0" y="0"/>
          <a:ext cx="0" cy="0"/>
          <a:chOff x="0" y="0"/>
          <a:chExt cx="0" cy="0"/>
        </a:xfrm>
      </p:grpSpPr>
      <p:sp>
        <p:nvSpPr>
          <p:cNvPr id="4990" name="Google Shape;4990;p242"/>
          <p:cNvSpPr txBox="1">
            <a:spLocks noGrp="1"/>
          </p:cNvSpPr>
          <p:nvPr>
            <p:ph type="body" idx="1"/>
          </p:nvPr>
        </p:nvSpPr>
        <p:spPr>
          <a:xfrm>
            <a:off x="6532052" y="4222553"/>
            <a:ext cx="1905200" cy="446800"/>
          </a:xfrm>
          <a:prstGeom prst="rect">
            <a:avLst/>
          </a:prstGeom>
          <a:noFill/>
          <a:ln>
            <a:noFill/>
          </a:ln>
        </p:spPr>
        <p:txBody>
          <a:bodyPr spcFirstLastPara="1" wrap="square" lIns="7150" tIns="7150" rIns="7150" bIns="7150" anchor="t" anchorCtr="0">
            <a:noAutofit/>
          </a:bodyPr>
          <a:lstStyle>
            <a:lvl1pPr marL="609585" lvl="0" indent="-304792" algn="ctr" rtl="0">
              <a:lnSpc>
                <a:spcPct val="100000"/>
              </a:lnSpc>
              <a:spcBef>
                <a:spcPts val="0"/>
              </a:spcBef>
              <a:spcAft>
                <a:spcPts val="0"/>
              </a:spcAft>
              <a:buClr>
                <a:srgbClr val="FFFFFF"/>
              </a:buClr>
              <a:buSzPts val="2100"/>
              <a:buFont typeface="Helvetica Neue"/>
              <a:buNone/>
              <a:defRPr sz="2800" b="1">
                <a:solidFill>
                  <a:srgbClr val="FFFFFF"/>
                </a:solidFill>
              </a:defRPr>
            </a:lvl1pPr>
            <a:lvl2pPr marL="1219170" lvl="1" indent="-507987" algn="l" rtl="0">
              <a:lnSpc>
                <a:spcPct val="100000"/>
              </a:lnSpc>
              <a:spcBef>
                <a:spcPts val="2000"/>
              </a:spcBef>
              <a:spcAft>
                <a:spcPts val="0"/>
              </a:spcAft>
              <a:buSzPts val="2400"/>
              <a:buChar char="-"/>
              <a:defRPr sz="1467"/>
            </a:lvl2pPr>
            <a:lvl3pPr marL="1828754" lvl="2" indent="-507987" algn="l" rtl="0">
              <a:lnSpc>
                <a:spcPct val="100000"/>
              </a:lnSpc>
              <a:spcBef>
                <a:spcPts val="2000"/>
              </a:spcBef>
              <a:spcAft>
                <a:spcPts val="0"/>
              </a:spcAft>
              <a:buSzPts val="2400"/>
              <a:buChar char="-"/>
              <a:defRPr sz="1467"/>
            </a:lvl3pPr>
            <a:lvl4pPr marL="2438339" lvl="3" indent="-507987" algn="l" rtl="0">
              <a:lnSpc>
                <a:spcPct val="100000"/>
              </a:lnSpc>
              <a:spcBef>
                <a:spcPts val="2000"/>
              </a:spcBef>
              <a:spcAft>
                <a:spcPts val="0"/>
              </a:spcAft>
              <a:buSzPts val="2400"/>
              <a:buChar char="-"/>
              <a:defRPr sz="1467"/>
            </a:lvl4pPr>
            <a:lvl5pPr marL="3047924" lvl="4" indent="-507987" algn="l" rtl="0">
              <a:lnSpc>
                <a:spcPct val="100000"/>
              </a:lnSpc>
              <a:spcBef>
                <a:spcPts val="2000"/>
              </a:spcBef>
              <a:spcAft>
                <a:spcPts val="0"/>
              </a:spcAft>
              <a:buSzPts val="2400"/>
              <a:buChar char="-"/>
              <a:defRPr sz="1467"/>
            </a:lvl5pPr>
            <a:lvl6pPr marL="3657509" lvl="5" indent="-507987" algn="l" rtl="0">
              <a:lnSpc>
                <a:spcPct val="100000"/>
              </a:lnSpc>
              <a:spcBef>
                <a:spcPts val="2000"/>
              </a:spcBef>
              <a:spcAft>
                <a:spcPts val="0"/>
              </a:spcAft>
              <a:buSzPts val="2400"/>
              <a:buChar char="-"/>
              <a:defRPr sz="1467"/>
            </a:lvl6pPr>
            <a:lvl7pPr marL="4267093" lvl="6" indent="-507987" algn="l" rtl="0">
              <a:lnSpc>
                <a:spcPct val="100000"/>
              </a:lnSpc>
              <a:spcBef>
                <a:spcPts val="2000"/>
              </a:spcBef>
              <a:spcAft>
                <a:spcPts val="0"/>
              </a:spcAft>
              <a:buSzPts val="2400"/>
              <a:buChar char="-"/>
              <a:defRPr sz="1467"/>
            </a:lvl7pPr>
            <a:lvl8pPr marL="4876678" lvl="7" indent="-507987" algn="l" rtl="0">
              <a:lnSpc>
                <a:spcPct val="100000"/>
              </a:lnSpc>
              <a:spcBef>
                <a:spcPts val="2000"/>
              </a:spcBef>
              <a:spcAft>
                <a:spcPts val="0"/>
              </a:spcAft>
              <a:buSzPts val="2400"/>
              <a:buChar char="-"/>
              <a:defRPr sz="1467"/>
            </a:lvl8pPr>
            <a:lvl9pPr marL="5486263" lvl="8" indent="-507987" algn="l" rtl="0">
              <a:lnSpc>
                <a:spcPct val="100000"/>
              </a:lnSpc>
              <a:spcBef>
                <a:spcPts val="2000"/>
              </a:spcBef>
              <a:spcAft>
                <a:spcPts val="0"/>
              </a:spcAft>
              <a:buSzPts val="2400"/>
              <a:buChar char="-"/>
              <a:defRPr sz="1467"/>
            </a:lvl9pPr>
          </a:lstStyle>
          <a:p>
            <a:endParaRPr/>
          </a:p>
        </p:txBody>
      </p:sp>
      <p:sp>
        <p:nvSpPr>
          <p:cNvPr id="4991" name="Google Shape;4991;p242"/>
          <p:cNvSpPr>
            <a:spLocks noGrp="1"/>
          </p:cNvSpPr>
          <p:nvPr>
            <p:ph type="pic" idx="2"/>
          </p:nvPr>
        </p:nvSpPr>
        <p:spPr>
          <a:xfrm>
            <a:off x="6532052" y="2120900"/>
            <a:ext cx="1905200" cy="1905200"/>
          </a:xfrm>
          <a:prstGeom prst="rect">
            <a:avLst/>
          </a:prstGeom>
          <a:noFill/>
          <a:ln>
            <a:noFill/>
          </a:ln>
        </p:spPr>
        <p:txBody>
          <a:bodyPr spcFirstLastPara="1" wrap="square" lIns="34275" tIns="17150" rIns="34275" bIns="17150" anchor="t" anchorCtr="0">
            <a:noAutofit/>
          </a:bodyPr>
          <a:lstStyle>
            <a:lvl1pPr marR="0" lvl="0"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1pPr>
            <a:lvl2pPr marR="0" lvl="1"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2pPr>
            <a:lvl3pPr marR="0" lvl="2"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3pPr>
            <a:lvl4pPr marR="0" lvl="3"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4pPr>
            <a:lvl5pPr marR="0" lvl="4"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5pPr>
            <a:lvl6pPr marR="0" lvl="5"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6pPr>
            <a:lvl7pPr marR="0" lvl="6"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7pPr>
            <a:lvl8pPr marR="0" lvl="7"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8pPr>
            <a:lvl9pPr marR="0" lvl="8"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9pPr>
          </a:lstStyle>
          <a:p>
            <a:endParaRPr/>
          </a:p>
        </p:txBody>
      </p:sp>
      <p:sp>
        <p:nvSpPr>
          <p:cNvPr id="4992" name="Google Shape;4992;p242"/>
          <p:cNvSpPr txBox="1">
            <a:spLocks noGrp="1"/>
          </p:cNvSpPr>
          <p:nvPr>
            <p:ph type="body" idx="3"/>
          </p:nvPr>
        </p:nvSpPr>
        <p:spPr>
          <a:xfrm>
            <a:off x="884376" y="4222553"/>
            <a:ext cx="1905200" cy="446800"/>
          </a:xfrm>
          <a:prstGeom prst="rect">
            <a:avLst/>
          </a:prstGeom>
          <a:noFill/>
          <a:ln>
            <a:noFill/>
          </a:ln>
        </p:spPr>
        <p:txBody>
          <a:bodyPr spcFirstLastPara="1" wrap="square" lIns="7150" tIns="7150" rIns="7150" bIns="7150" anchor="t" anchorCtr="0">
            <a:noAutofit/>
          </a:bodyPr>
          <a:lstStyle>
            <a:lvl1pPr marL="609585" lvl="0" indent="-304792" algn="ctr" rtl="0">
              <a:lnSpc>
                <a:spcPct val="100000"/>
              </a:lnSpc>
              <a:spcBef>
                <a:spcPts val="0"/>
              </a:spcBef>
              <a:spcAft>
                <a:spcPts val="0"/>
              </a:spcAft>
              <a:buClr>
                <a:srgbClr val="FFFFFF"/>
              </a:buClr>
              <a:buSzPts val="2100"/>
              <a:buFont typeface="Helvetica Neue"/>
              <a:buNone/>
              <a:defRPr sz="2800" b="1">
                <a:solidFill>
                  <a:srgbClr val="FFFFFF"/>
                </a:solidFill>
              </a:defRPr>
            </a:lvl1pPr>
            <a:lvl2pPr marL="1219170" lvl="1" indent="-507987" algn="l" rtl="0">
              <a:lnSpc>
                <a:spcPct val="100000"/>
              </a:lnSpc>
              <a:spcBef>
                <a:spcPts val="2000"/>
              </a:spcBef>
              <a:spcAft>
                <a:spcPts val="0"/>
              </a:spcAft>
              <a:buSzPts val="2400"/>
              <a:buChar char="-"/>
              <a:defRPr sz="1467"/>
            </a:lvl2pPr>
            <a:lvl3pPr marL="1828754" lvl="2" indent="-507987" algn="l" rtl="0">
              <a:lnSpc>
                <a:spcPct val="100000"/>
              </a:lnSpc>
              <a:spcBef>
                <a:spcPts val="2000"/>
              </a:spcBef>
              <a:spcAft>
                <a:spcPts val="0"/>
              </a:spcAft>
              <a:buSzPts val="2400"/>
              <a:buChar char="-"/>
              <a:defRPr sz="1467"/>
            </a:lvl3pPr>
            <a:lvl4pPr marL="2438339" lvl="3" indent="-507987" algn="l" rtl="0">
              <a:lnSpc>
                <a:spcPct val="100000"/>
              </a:lnSpc>
              <a:spcBef>
                <a:spcPts val="2000"/>
              </a:spcBef>
              <a:spcAft>
                <a:spcPts val="0"/>
              </a:spcAft>
              <a:buSzPts val="2400"/>
              <a:buChar char="-"/>
              <a:defRPr sz="1467"/>
            </a:lvl4pPr>
            <a:lvl5pPr marL="3047924" lvl="4" indent="-507987" algn="l" rtl="0">
              <a:lnSpc>
                <a:spcPct val="100000"/>
              </a:lnSpc>
              <a:spcBef>
                <a:spcPts val="2000"/>
              </a:spcBef>
              <a:spcAft>
                <a:spcPts val="0"/>
              </a:spcAft>
              <a:buSzPts val="2400"/>
              <a:buChar char="-"/>
              <a:defRPr sz="1467"/>
            </a:lvl5pPr>
            <a:lvl6pPr marL="3657509" lvl="5" indent="-507987" algn="l" rtl="0">
              <a:lnSpc>
                <a:spcPct val="100000"/>
              </a:lnSpc>
              <a:spcBef>
                <a:spcPts val="2000"/>
              </a:spcBef>
              <a:spcAft>
                <a:spcPts val="0"/>
              </a:spcAft>
              <a:buSzPts val="2400"/>
              <a:buChar char="-"/>
              <a:defRPr sz="1467"/>
            </a:lvl6pPr>
            <a:lvl7pPr marL="4267093" lvl="6" indent="-507987" algn="l" rtl="0">
              <a:lnSpc>
                <a:spcPct val="100000"/>
              </a:lnSpc>
              <a:spcBef>
                <a:spcPts val="2000"/>
              </a:spcBef>
              <a:spcAft>
                <a:spcPts val="0"/>
              </a:spcAft>
              <a:buSzPts val="2400"/>
              <a:buChar char="-"/>
              <a:defRPr sz="1467"/>
            </a:lvl7pPr>
            <a:lvl8pPr marL="4876678" lvl="7" indent="-507987" algn="l" rtl="0">
              <a:lnSpc>
                <a:spcPct val="100000"/>
              </a:lnSpc>
              <a:spcBef>
                <a:spcPts val="2000"/>
              </a:spcBef>
              <a:spcAft>
                <a:spcPts val="0"/>
              </a:spcAft>
              <a:buSzPts val="2400"/>
              <a:buChar char="-"/>
              <a:defRPr sz="1467"/>
            </a:lvl8pPr>
            <a:lvl9pPr marL="5486263" lvl="8" indent="-507987" algn="l" rtl="0">
              <a:lnSpc>
                <a:spcPct val="100000"/>
              </a:lnSpc>
              <a:spcBef>
                <a:spcPts val="2000"/>
              </a:spcBef>
              <a:spcAft>
                <a:spcPts val="0"/>
              </a:spcAft>
              <a:buSzPts val="2400"/>
              <a:buChar char="-"/>
              <a:defRPr sz="1467"/>
            </a:lvl9pPr>
          </a:lstStyle>
          <a:p>
            <a:endParaRPr/>
          </a:p>
        </p:txBody>
      </p:sp>
      <p:sp>
        <p:nvSpPr>
          <p:cNvPr id="4993" name="Google Shape;4993;p242"/>
          <p:cNvSpPr>
            <a:spLocks noGrp="1"/>
          </p:cNvSpPr>
          <p:nvPr>
            <p:ph type="pic" idx="4"/>
          </p:nvPr>
        </p:nvSpPr>
        <p:spPr>
          <a:xfrm>
            <a:off x="884376" y="2120900"/>
            <a:ext cx="1905200" cy="1905200"/>
          </a:xfrm>
          <a:prstGeom prst="rect">
            <a:avLst/>
          </a:prstGeom>
          <a:noFill/>
          <a:ln>
            <a:noFill/>
          </a:ln>
        </p:spPr>
        <p:txBody>
          <a:bodyPr spcFirstLastPara="1" wrap="square" lIns="34275" tIns="17150" rIns="34275" bIns="17150" anchor="t" anchorCtr="0">
            <a:noAutofit/>
          </a:bodyPr>
          <a:lstStyle>
            <a:lvl1pPr marR="0" lvl="0"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1pPr>
            <a:lvl2pPr marR="0" lvl="1"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2pPr>
            <a:lvl3pPr marR="0" lvl="2"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3pPr>
            <a:lvl4pPr marR="0" lvl="3"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4pPr>
            <a:lvl5pPr marR="0" lvl="4"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5pPr>
            <a:lvl6pPr marR="0" lvl="5"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6pPr>
            <a:lvl7pPr marR="0" lvl="6"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7pPr>
            <a:lvl8pPr marR="0" lvl="7"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8pPr>
            <a:lvl9pPr marR="0" lvl="8"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9pPr>
          </a:lstStyle>
          <a:p>
            <a:endParaRPr/>
          </a:p>
        </p:txBody>
      </p:sp>
      <p:sp>
        <p:nvSpPr>
          <p:cNvPr id="4994" name="Google Shape;4994;p242"/>
          <p:cNvSpPr txBox="1">
            <a:spLocks noGrp="1"/>
          </p:cNvSpPr>
          <p:nvPr>
            <p:ph type="body" idx="5"/>
          </p:nvPr>
        </p:nvSpPr>
        <p:spPr>
          <a:xfrm>
            <a:off x="3706672" y="4222553"/>
            <a:ext cx="1905200" cy="446800"/>
          </a:xfrm>
          <a:prstGeom prst="rect">
            <a:avLst/>
          </a:prstGeom>
          <a:noFill/>
          <a:ln>
            <a:noFill/>
          </a:ln>
        </p:spPr>
        <p:txBody>
          <a:bodyPr spcFirstLastPara="1" wrap="square" lIns="7150" tIns="7150" rIns="7150" bIns="7150" anchor="t" anchorCtr="0">
            <a:noAutofit/>
          </a:bodyPr>
          <a:lstStyle>
            <a:lvl1pPr marL="609585" lvl="0" indent="-304792" algn="ctr" rtl="0">
              <a:lnSpc>
                <a:spcPct val="100000"/>
              </a:lnSpc>
              <a:spcBef>
                <a:spcPts val="0"/>
              </a:spcBef>
              <a:spcAft>
                <a:spcPts val="0"/>
              </a:spcAft>
              <a:buClr>
                <a:srgbClr val="FFFFFF"/>
              </a:buClr>
              <a:buSzPts val="2100"/>
              <a:buFont typeface="Helvetica Neue"/>
              <a:buNone/>
              <a:defRPr sz="2800" b="1">
                <a:solidFill>
                  <a:srgbClr val="FFFFFF"/>
                </a:solidFill>
              </a:defRPr>
            </a:lvl1pPr>
            <a:lvl2pPr marL="1219170" lvl="1" indent="-507987" algn="l" rtl="0">
              <a:lnSpc>
                <a:spcPct val="100000"/>
              </a:lnSpc>
              <a:spcBef>
                <a:spcPts val="2000"/>
              </a:spcBef>
              <a:spcAft>
                <a:spcPts val="0"/>
              </a:spcAft>
              <a:buSzPts val="2400"/>
              <a:buChar char="-"/>
              <a:defRPr sz="1467"/>
            </a:lvl2pPr>
            <a:lvl3pPr marL="1828754" lvl="2" indent="-507987" algn="l" rtl="0">
              <a:lnSpc>
                <a:spcPct val="100000"/>
              </a:lnSpc>
              <a:spcBef>
                <a:spcPts val="2000"/>
              </a:spcBef>
              <a:spcAft>
                <a:spcPts val="0"/>
              </a:spcAft>
              <a:buSzPts val="2400"/>
              <a:buChar char="-"/>
              <a:defRPr sz="1467"/>
            </a:lvl3pPr>
            <a:lvl4pPr marL="2438339" lvl="3" indent="-507987" algn="l" rtl="0">
              <a:lnSpc>
                <a:spcPct val="100000"/>
              </a:lnSpc>
              <a:spcBef>
                <a:spcPts val="2000"/>
              </a:spcBef>
              <a:spcAft>
                <a:spcPts val="0"/>
              </a:spcAft>
              <a:buSzPts val="2400"/>
              <a:buChar char="-"/>
              <a:defRPr sz="1467"/>
            </a:lvl4pPr>
            <a:lvl5pPr marL="3047924" lvl="4" indent="-507987" algn="l" rtl="0">
              <a:lnSpc>
                <a:spcPct val="100000"/>
              </a:lnSpc>
              <a:spcBef>
                <a:spcPts val="2000"/>
              </a:spcBef>
              <a:spcAft>
                <a:spcPts val="0"/>
              </a:spcAft>
              <a:buSzPts val="2400"/>
              <a:buChar char="-"/>
              <a:defRPr sz="1467"/>
            </a:lvl5pPr>
            <a:lvl6pPr marL="3657509" lvl="5" indent="-507987" algn="l" rtl="0">
              <a:lnSpc>
                <a:spcPct val="100000"/>
              </a:lnSpc>
              <a:spcBef>
                <a:spcPts val="2000"/>
              </a:spcBef>
              <a:spcAft>
                <a:spcPts val="0"/>
              </a:spcAft>
              <a:buSzPts val="2400"/>
              <a:buChar char="-"/>
              <a:defRPr sz="1467"/>
            </a:lvl6pPr>
            <a:lvl7pPr marL="4267093" lvl="6" indent="-507987" algn="l" rtl="0">
              <a:lnSpc>
                <a:spcPct val="100000"/>
              </a:lnSpc>
              <a:spcBef>
                <a:spcPts val="2000"/>
              </a:spcBef>
              <a:spcAft>
                <a:spcPts val="0"/>
              </a:spcAft>
              <a:buSzPts val="2400"/>
              <a:buChar char="-"/>
              <a:defRPr sz="1467"/>
            </a:lvl7pPr>
            <a:lvl8pPr marL="4876678" lvl="7" indent="-507987" algn="l" rtl="0">
              <a:lnSpc>
                <a:spcPct val="100000"/>
              </a:lnSpc>
              <a:spcBef>
                <a:spcPts val="2000"/>
              </a:spcBef>
              <a:spcAft>
                <a:spcPts val="0"/>
              </a:spcAft>
              <a:buSzPts val="2400"/>
              <a:buChar char="-"/>
              <a:defRPr sz="1467"/>
            </a:lvl8pPr>
            <a:lvl9pPr marL="5486263" lvl="8" indent="-507987" algn="l" rtl="0">
              <a:lnSpc>
                <a:spcPct val="100000"/>
              </a:lnSpc>
              <a:spcBef>
                <a:spcPts val="2000"/>
              </a:spcBef>
              <a:spcAft>
                <a:spcPts val="0"/>
              </a:spcAft>
              <a:buSzPts val="2400"/>
              <a:buChar char="-"/>
              <a:defRPr sz="1467"/>
            </a:lvl9pPr>
          </a:lstStyle>
          <a:p>
            <a:endParaRPr/>
          </a:p>
        </p:txBody>
      </p:sp>
      <p:sp>
        <p:nvSpPr>
          <p:cNvPr id="4995" name="Google Shape;4995;p242"/>
          <p:cNvSpPr>
            <a:spLocks noGrp="1"/>
          </p:cNvSpPr>
          <p:nvPr>
            <p:ph type="pic" idx="6"/>
          </p:nvPr>
        </p:nvSpPr>
        <p:spPr>
          <a:xfrm>
            <a:off x="3706672" y="2120900"/>
            <a:ext cx="1905200" cy="1905200"/>
          </a:xfrm>
          <a:prstGeom prst="rect">
            <a:avLst/>
          </a:prstGeom>
          <a:noFill/>
          <a:ln>
            <a:noFill/>
          </a:ln>
        </p:spPr>
        <p:txBody>
          <a:bodyPr spcFirstLastPara="1" wrap="square" lIns="34275" tIns="17150" rIns="34275" bIns="17150" anchor="t" anchorCtr="0">
            <a:noAutofit/>
          </a:bodyPr>
          <a:lstStyle>
            <a:lvl1pPr marR="0" lvl="0"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1pPr>
            <a:lvl2pPr marR="0" lvl="1"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2pPr>
            <a:lvl3pPr marR="0" lvl="2"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3pPr>
            <a:lvl4pPr marR="0" lvl="3"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4pPr>
            <a:lvl5pPr marR="0" lvl="4"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5pPr>
            <a:lvl6pPr marR="0" lvl="5"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6pPr>
            <a:lvl7pPr marR="0" lvl="6"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7pPr>
            <a:lvl8pPr marR="0" lvl="7"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8pPr>
            <a:lvl9pPr marR="0" lvl="8"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9pPr>
          </a:lstStyle>
          <a:p>
            <a:endParaRPr/>
          </a:p>
        </p:txBody>
      </p:sp>
      <p:sp>
        <p:nvSpPr>
          <p:cNvPr id="4996" name="Google Shape;4996;p242"/>
          <p:cNvSpPr txBox="1">
            <a:spLocks noGrp="1"/>
          </p:cNvSpPr>
          <p:nvPr>
            <p:ph type="body" idx="7"/>
          </p:nvPr>
        </p:nvSpPr>
        <p:spPr>
          <a:xfrm>
            <a:off x="9378485" y="4222553"/>
            <a:ext cx="1905200" cy="446800"/>
          </a:xfrm>
          <a:prstGeom prst="rect">
            <a:avLst/>
          </a:prstGeom>
          <a:noFill/>
          <a:ln>
            <a:noFill/>
          </a:ln>
        </p:spPr>
        <p:txBody>
          <a:bodyPr spcFirstLastPara="1" wrap="square" lIns="7150" tIns="7150" rIns="7150" bIns="7150" anchor="t" anchorCtr="0">
            <a:noAutofit/>
          </a:bodyPr>
          <a:lstStyle>
            <a:lvl1pPr marL="609585" lvl="0" indent="-304792" algn="ctr" rtl="0">
              <a:lnSpc>
                <a:spcPct val="100000"/>
              </a:lnSpc>
              <a:spcBef>
                <a:spcPts val="0"/>
              </a:spcBef>
              <a:spcAft>
                <a:spcPts val="0"/>
              </a:spcAft>
              <a:buClr>
                <a:srgbClr val="FFFFFF"/>
              </a:buClr>
              <a:buSzPts val="2100"/>
              <a:buFont typeface="Helvetica Neue"/>
              <a:buNone/>
              <a:defRPr sz="2800" b="1">
                <a:solidFill>
                  <a:srgbClr val="FFFFFF"/>
                </a:solidFill>
              </a:defRPr>
            </a:lvl1pPr>
            <a:lvl2pPr marL="1219170" lvl="1" indent="-507987" algn="l" rtl="0">
              <a:lnSpc>
                <a:spcPct val="100000"/>
              </a:lnSpc>
              <a:spcBef>
                <a:spcPts val="2000"/>
              </a:spcBef>
              <a:spcAft>
                <a:spcPts val="0"/>
              </a:spcAft>
              <a:buSzPts val="2400"/>
              <a:buChar char="-"/>
              <a:defRPr sz="1467"/>
            </a:lvl2pPr>
            <a:lvl3pPr marL="1828754" lvl="2" indent="-507987" algn="l" rtl="0">
              <a:lnSpc>
                <a:spcPct val="100000"/>
              </a:lnSpc>
              <a:spcBef>
                <a:spcPts val="2000"/>
              </a:spcBef>
              <a:spcAft>
                <a:spcPts val="0"/>
              </a:spcAft>
              <a:buSzPts val="2400"/>
              <a:buChar char="-"/>
              <a:defRPr sz="1467"/>
            </a:lvl3pPr>
            <a:lvl4pPr marL="2438339" lvl="3" indent="-507987" algn="l" rtl="0">
              <a:lnSpc>
                <a:spcPct val="100000"/>
              </a:lnSpc>
              <a:spcBef>
                <a:spcPts val="2000"/>
              </a:spcBef>
              <a:spcAft>
                <a:spcPts val="0"/>
              </a:spcAft>
              <a:buSzPts val="2400"/>
              <a:buChar char="-"/>
              <a:defRPr sz="1467"/>
            </a:lvl4pPr>
            <a:lvl5pPr marL="3047924" lvl="4" indent="-507987" algn="l" rtl="0">
              <a:lnSpc>
                <a:spcPct val="100000"/>
              </a:lnSpc>
              <a:spcBef>
                <a:spcPts val="2000"/>
              </a:spcBef>
              <a:spcAft>
                <a:spcPts val="0"/>
              </a:spcAft>
              <a:buSzPts val="2400"/>
              <a:buChar char="-"/>
              <a:defRPr sz="1467"/>
            </a:lvl5pPr>
            <a:lvl6pPr marL="3657509" lvl="5" indent="-507987" algn="l" rtl="0">
              <a:lnSpc>
                <a:spcPct val="100000"/>
              </a:lnSpc>
              <a:spcBef>
                <a:spcPts val="2000"/>
              </a:spcBef>
              <a:spcAft>
                <a:spcPts val="0"/>
              </a:spcAft>
              <a:buSzPts val="2400"/>
              <a:buChar char="-"/>
              <a:defRPr sz="1467"/>
            </a:lvl6pPr>
            <a:lvl7pPr marL="4267093" lvl="6" indent="-507987" algn="l" rtl="0">
              <a:lnSpc>
                <a:spcPct val="100000"/>
              </a:lnSpc>
              <a:spcBef>
                <a:spcPts val="2000"/>
              </a:spcBef>
              <a:spcAft>
                <a:spcPts val="0"/>
              </a:spcAft>
              <a:buSzPts val="2400"/>
              <a:buChar char="-"/>
              <a:defRPr sz="1467"/>
            </a:lvl7pPr>
            <a:lvl8pPr marL="4876678" lvl="7" indent="-507987" algn="l" rtl="0">
              <a:lnSpc>
                <a:spcPct val="100000"/>
              </a:lnSpc>
              <a:spcBef>
                <a:spcPts val="2000"/>
              </a:spcBef>
              <a:spcAft>
                <a:spcPts val="0"/>
              </a:spcAft>
              <a:buSzPts val="2400"/>
              <a:buChar char="-"/>
              <a:defRPr sz="1467"/>
            </a:lvl8pPr>
            <a:lvl9pPr marL="5486263" lvl="8" indent="-507987" algn="l" rtl="0">
              <a:lnSpc>
                <a:spcPct val="100000"/>
              </a:lnSpc>
              <a:spcBef>
                <a:spcPts val="2000"/>
              </a:spcBef>
              <a:spcAft>
                <a:spcPts val="0"/>
              </a:spcAft>
              <a:buSzPts val="2400"/>
              <a:buChar char="-"/>
              <a:defRPr sz="1467"/>
            </a:lvl9pPr>
          </a:lstStyle>
          <a:p>
            <a:endParaRPr/>
          </a:p>
        </p:txBody>
      </p:sp>
      <p:sp>
        <p:nvSpPr>
          <p:cNvPr id="4997" name="Google Shape;4997;p242"/>
          <p:cNvSpPr>
            <a:spLocks noGrp="1"/>
          </p:cNvSpPr>
          <p:nvPr>
            <p:ph type="pic" idx="8"/>
          </p:nvPr>
        </p:nvSpPr>
        <p:spPr>
          <a:xfrm>
            <a:off x="9378485" y="2120900"/>
            <a:ext cx="1905200" cy="1905200"/>
          </a:xfrm>
          <a:prstGeom prst="rect">
            <a:avLst/>
          </a:prstGeom>
          <a:noFill/>
          <a:ln>
            <a:noFill/>
          </a:ln>
        </p:spPr>
        <p:txBody>
          <a:bodyPr spcFirstLastPara="1" wrap="square" lIns="34275" tIns="17150" rIns="34275" bIns="17150" anchor="t" anchorCtr="0">
            <a:noAutofit/>
          </a:bodyPr>
          <a:lstStyle>
            <a:lvl1pPr marR="0" lvl="0"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1pPr>
            <a:lvl2pPr marR="0" lvl="1"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2pPr>
            <a:lvl3pPr marR="0" lvl="2"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3pPr>
            <a:lvl4pPr marR="0" lvl="3"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4pPr>
            <a:lvl5pPr marR="0" lvl="4"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5pPr>
            <a:lvl6pPr marR="0" lvl="5"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6pPr>
            <a:lvl7pPr marR="0" lvl="6"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7pPr>
            <a:lvl8pPr marR="0" lvl="7"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8pPr>
            <a:lvl9pPr marR="0" lvl="8" algn="l" rtl="0">
              <a:lnSpc>
                <a:spcPct val="100000"/>
              </a:lnSpc>
              <a:spcBef>
                <a:spcPts val="2000"/>
              </a:spcBef>
              <a:spcAft>
                <a:spcPts val="0"/>
              </a:spcAft>
              <a:buClr>
                <a:srgbClr val="2F363D"/>
              </a:buClr>
              <a:buSzPts val="2400"/>
              <a:buFont typeface="Helvetica Neue"/>
              <a:buChar char="-"/>
              <a:defRPr sz="3200" b="0" i="0" u="none" strike="noStrike" cap="none">
                <a:solidFill>
                  <a:srgbClr val="2F363D"/>
                </a:solidFill>
                <a:latin typeface="Helvetica Neue"/>
                <a:ea typeface="Helvetica Neue"/>
                <a:cs typeface="Helvetica Neue"/>
                <a:sym typeface="Helvetica Neue"/>
              </a:defRPr>
            </a:lvl9pPr>
          </a:lstStyle>
          <a:p>
            <a:endParaRPr/>
          </a:p>
        </p:txBody>
      </p:sp>
      <p:pic>
        <p:nvPicPr>
          <p:cNvPr id="4998" name="Google Shape;4998;p242" descr="footer-mark-github.pdf"/>
          <p:cNvPicPr preferRelativeResize="0"/>
          <p:nvPr/>
        </p:nvPicPr>
        <p:blipFill rotWithShape="1">
          <a:blip r:embed="rId2">
            <a:alphaModFix/>
          </a:blip>
          <a:srcRect/>
          <a:stretch/>
        </p:blipFill>
        <p:spPr>
          <a:xfrm>
            <a:off x="11557000" y="6412705"/>
            <a:ext cx="254000" cy="254000"/>
          </a:xfrm>
          <a:prstGeom prst="rect">
            <a:avLst/>
          </a:prstGeom>
          <a:noFill/>
          <a:ln>
            <a:noFill/>
          </a:ln>
        </p:spPr>
      </p:pic>
      <p:sp>
        <p:nvSpPr>
          <p:cNvPr id="4999" name="Google Shape;4999;p242"/>
          <p:cNvSpPr txBox="1">
            <a:spLocks noGrp="1"/>
          </p:cNvSpPr>
          <p:nvPr>
            <p:ph type="title"/>
          </p:nvPr>
        </p:nvSpPr>
        <p:spPr>
          <a:xfrm>
            <a:off x="889000" y="508000"/>
            <a:ext cx="10414000" cy="825600"/>
          </a:xfrm>
          <a:prstGeom prst="rect">
            <a:avLst/>
          </a:prstGeom>
          <a:noFill/>
          <a:ln>
            <a:noFill/>
          </a:ln>
        </p:spPr>
        <p:txBody>
          <a:bodyPr spcFirstLastPara="1" wrap="square" lIns="19050" tIns="19050" rIns="19050" bIns="19050" anchor="ctr" anchorCtr="0">
            <a:noAutofit/>
          </a:bodyPr>
          <a:lstStyle>
            <a:lvl1pPr lvl="0" algn="ctr" rtl="0">
              <a:lnSpc>
                <a:spcPct val="100000"/>
              </a:lnSpc>
              <a:spcBef>
                <a:spcPts val="0"/>
              </a:spcBef>
              <a:spcAft>
                <a:spcPts val="0"/>
              </a:spcAft>
              <a:buClr>
                <a:srgbClr val="FFFFFF"/>
              </a:buClr>
              <a:buSzPts val="3800"/>
              <a:buFont typeface="Helvetica Neue"/>
              <a:buNone/>
              <a:defRPr sz="5067" b="1">
                <a:solidFill>
                  <a:srgbClr val="FFFFFF"/>
                </a:solidFill>
              </a:defRPr>
            </a:lvl1pPr>
            <a:lvl2pPr lvl="1" algn="l" rtl="0">
              <a:lnSpc>
                <a:spcPct val="100000"/>
              </a:lnSpc>
              <a:spcBef>
                <a:spcPts val="0"/>
              </a:spcBef>
              <a:spcAft>
                <a:spcPts val="0"/>
              </a:spcAft>
              <a:buClr>
                <a:srgbClr val="005CC5"/>
              </a:buClr>
              <a:buSzPts val="700"/>
              <a:buNone/>
              <a:defRPr sz="1467"/>
            </a:lvl2pPr>
            <a:lvl3pPr lvl="2" algn="l" rtl="0">
              <a:lnSpc>
                <a:spcPct val="100000"/>
              </a:lnSpc>
              <a:spcBef>
                <a:spcPts val="0"/>
              </a:spcBef>
              <a:spcAft>
                <a:spcPts val="0"/>
              </a:spcAft>
              <a:buClr>
                <a:srgbClr val="005CC5"/>
              </a:buClr>
              <a:buSzPts val="700"/>
              <a:buNone/>
              <a:defRPr sz="1467"/>
            </a:lvl3pPr>
            <a:lvl4pPr lvl="3" algn="l" rtl="0">
              <a:lnSpc>
                <a:spcPct val="100000"/>
              </a:lnSpc>
              <a:spcBef>
                <a:spcPts val="0"/>
              </a:spcBef>
              <a:spcAft>
                <a:spcPts val="0"/>
              </a:spcAft>
              <a:buClr>
                <a:srgbClr val="005CC5"/>
              </a:buClr>
              <a:buSzPts val="700"/>
              <a:buNone/>
              <a:defRPr sz="1467"/>
            </a:lvl4pPr>
            <a:lvl5pPr lvl="4" algn="l" rtl="0">
              <a:lnSpc>
                <a:spcPct val="100000"/>
              </a:lnSpc>
              <a:spcBef>
                <a:spcPts val="0"/>
              </a:spcBef>
              <a:spcAft>
                <a:spcPts val="0"/>
              </a:spcAft>
              <a:buClr>
                <a:srgbClr val="005CC5"/>
              </a:buClr>
              <a:buSzPts val="700"/>
              <a:buNone/>
              <a:defRPr sz="1467"/>
            </a:lvl5pPr>
            <a:lvl6pPr lvl="5" algn="l" rtl="0">
              <a:lnSpc>
                <a:spcPct val="100000"/>
              </a:lnSpc>
              <a:spcBef>
                <a:spcPts val="0"/>
              </a:spcBef>
              <a:spcAft>
                <a:spcPts val="0"/>
              </a:spcAft>
              <a:buClr>
                <a:srgbClr val="005CC5"/>
              </a:buClr>
              <a:buSzPts val="700"/>
              <a:buNone/>
              <a:defRPr sz="1467"/>
            </a:lvl6pPr>
            <a:lvl7pPr lvl="6" algn="l" rtl="0">
              <a:lnSpc>
                <a:spcPct val="100000"/>
              </a:lnSpc>
              <a:spcBef>
                <a:spcPts val="0"/>
              </a:spcBef>
              <a:spcAft>
                <a:spcPts val="0"/>
              </a:spcAft>
              <a:buClr>
                <a:srgbClr val="005CC5"/>
              </a:buClr>
              <a:buSzPts val="700"/>
              <a:buNone/>
              <a:defRPr sz="1467"/>
            </a:lvl7pPr>
            <a:lvl8pPr lvl="7" algn="l" rtl="0">
              <a:lnSpc>
                <a:spcPct val="100000"/>
              </a:lnSpc>
              <a:spcBef>
                <a:spcPts val="0"/>
              </a:spcBef>
              <a:spcAft>
                <a:spcPts val="0"/>
              </a:spcAft>
              <a:buClr>
                <a:srgbClr val="005CC5"/>
              </a:buClr>
              <a:buSzPts val="700"/>
              <a:buNone/>
              <a:defRPr sz="1467"/>
            </a:lvl8pPr>
            <a:lvl9pPr lvl="8" algn="l" rtl="0">
              <a:lnSpc>
                <a:spcPct val="100000"/>
              </a:lnSpc>
              <a:spcBef>
                <a:spcPts val="0"/>
              </a:spcBef>
              <a:spcAft>
                <a:spcPts val="0"/>
              </a:spcAft>
              <a:buClr>
                <a:srgbClr val="005CC5"/>
              </a:buClr>
              <a:buSzPts val="700"/>
              <a:buNone/>
              <a:defRPr sz="1467"/>
            </a:lvl9pPr>
          </a:lstStyle>
          <a:p>
            <a:endParaRPr/>
          </a:p>
        </p:txBody>
      </p:sp>
      <p:sp>
        <p:nvSpPr>
          <p:cNvPr id="5000" name="Google Shape;5000;p242"/>
          <p:cNvSpPr txBox="1">
            <a:spLocks noGrp="1"/>
          </p:cNvSpPr>
          <p:nvPr>
            <p:ph type="sldNum" idx="12"/>
          </p:nvPr>
        </p:nvSpPr>
        <p:spPr>
          <a:xfrm>
            <a:off x="5979516" y="6540500"/>
            <a:ext cx="226800" cy="230800"/>
          </a:xfrm>
          <a:prstGeom prst="rect">
            <a:avLst/>
          </a:prstGeom>
          <a:noFill/>
          <a:ln>
            <a:noFill/>
          </a:ln>
        </p:spPr>
        <p:txBody>
          <a:bodyPr spcFirstLastPara="1" wrap="square" lIns="19050" tIns="19050" rIns="19050" bIns="19050" anchor="t" anchorCtr="0">
            <a:noAutofit/>
          </a:bodyPr>
          <a:lstStyle>
            <a:lvl1pPr marL="0" marR="0" lvl="0" indent="0" algn="ctr" rtl="0">
              <a:lnSpc>
                <a:spcPct val="100000"/>
              </a:lnSpc>
              <a:spcBef>
                <a:spcPts val="0"/>
              </a:spcBef>
              <a:spcAft>
                <a:spcPts val="0"/>
              </a:spcAft>
              <a:buClr>
                <a:srgbClr val="24292F"/>
              </a:buClr>
              <a:buSzPts val="900"/>
              <a:buFont typeface="Helvetica Neue"/>
              <a:buNone/>
              <a:defRPr sz="1200" b="0" i="0" u="none" strike="noStrike" cap="none">
                <a:solidFill>
                  <a:srgbClr val="24292F"/>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24292F"/>
              </a:buClr>
              <a:buSzPts val="900"/>
              <a:buFont typeface="Helvetica Neue"/>
              <a:buNone/>
              <a:defRPr sz="1200" b="0" i="0" u="none" strike="noStrike" cap="none">
                <a:solidFill>
                  <a:srgbClr val="24292F"/>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24292F"/>
              </a:buClr>
              <a:buSzPts val="900"/>
              <a:buFont typeface="Helvetica Neue"/>
              <a:buNone/>
              <a:defRPr sz="1200" b="0" i="0" u="none" strike="noStrike" cap="none">
                <a:solidFill>
                  <a:srgbClr val="24292F"/>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24292F"/>
              </a:buClr>
              <a:buSzPts val="900"/>
              <a:buFont typeface="Helvetica Neue"/>
              <a:buNone/>
              <a:defRPr sz="1200" b="0" i="0" u="none" strike="noStrike" cap="none">
                <a:solidFill>
                  <a:srgbClr val="24292F"/>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24292F"/>
              </a:buClr>
              <a:buSzPts val="900"/>
              <a:buFont typeface="Helvetica Neue"/>
              <a:buNone/>
              <a:defRPr sz="1200" b="0" i="0" u="none" strike="noStrike" cap="none">
                <a:solidFill>
                  <a:srgbClr val="24292F"/>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24292F"/>
              </a:buClr>
              <a:buSzPts val="900"/>
              <a:buFont typeface="Helvetica Neue"/>
              <a:buNone/>
              <a:defRPr sz="1200" b="0" i="0" u="none" strike="noStrike" cap="none">
                <a:solidFill>
                  <a:srgbClr val="24292F"/>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24292F"/>
              </a:buClr>
              <a:buSzPts val="900"/>
              <a:buFont typeface="Helvetica Neue"/>
              <a:buNone/>
              <a:defRPr sz="1200" b="0" i="0" u="none" strike="noStrike" cap="none">
                <a:solidFill>
                  <a:srgbClr val="24292F"/>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24292F"/>
              </a:buClr>
              <a:buSzPts val="900"/>
              <a:buFont typeface="Helvetica Neue"/>
              <a:buNone/>
              <a:defRPr sz="1200" b="0" i="0" u="none" strike="noStrike" cap="none">
                <a:solidFill>
                  <a:srgbClr val="24292F"/>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24292F"/>
              </a:buClr>
              <a:buSzPts val="900"/>
              <a:buFont typeface="Helvetica Neue"/>
              <a:buNone/>
              <a:defRPr sz="1200" b="0" i="0" u="none" strike="noStrike" cap="none">
                <a:solidFill>
                  <a:srgbClr val="24292F"/>
                </a:solidFill>
                <a:latin typeface="Helvetica Neue"/>
                <a:ea typeface="Helvetica Neue"/>
                <a:cs typeface="Helvetica Neue"/>
                <a:sym typeface="Helvetica Neue"/>
              </a:defRPr>
            </a:lvl9pPr>
          </a:lstStyle>
          <a:p>
            <a:fld id="{00000000-1234-1234-1234-123412341234}" type="slidenum">
              <a:rPr lang="en" smtClean="0"/>
              <a:pPr/>
              <a:t>‹#›</a:t>
            </a:fld>
            <a:endParaRPr lang="en" sz="1600">
              <a:solidFill>
                <a:srgbClr val="000000"/>
              </a:solidFill>
              <a:latin typeface="Arial"/>
              <a:ea typeface="Arial"/>
              <a:cs typeface="Arial"/>
              <a:sym typeface="Arial"/>
            </a:endParaRPr>
          </a:p>
        </p:txBody>
      </p:sp>
    </p:spTree>
    <p:extLst>
      <p:ext uri="{BB962C8B-B14F-4D97-AF65-F5344CB8AC3E}">
        <p14:creationId xmlns:p14="http://schemas.microsoft.com/office/powerpoint/2010/main" val="115111177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matchingName="Split - All white">
  <p:cSld name="Split - All white">
    <p:bg>
      <p:bgPr>
        <a:solidFill>
          <a:srgbClr val="FFFFFF"/>
        </a:solidFill>
        <a:effectLst/>
      </p:bgPr>
    </p:bg>
    <p:spTree>
      <p:nvGrpSpPr>
        <p:cNvPr id="1" name="Shape 5001"/>
        <p:cNvGrpSpPr/>
        <p:nvPr/>
      </p:nvGrpSpPr>
      <p:grpSpPr>
        <a:xfrm>
          <a:off x="0" y="0"/>
          <a:ext cx="0" cy="0"/>
          <a:chOff x="0" y="0"/>
          <a:chExt cx="0" cy="0"/>
        </a:xfrm>
      </p:grpSpPr>
      <p:sp>
        <p:nvSpPr>
          <p:cNvPr id="5002" name="Google Shape;5002;p243"/>
          <p:cNvSpPr txBox="1">
            <a:spLocks noGrp="1"/>
          </p:cNvSpPr>
          <p:nvPr>
            <p:ph type="title"/>
          </p:nvPr>
        </p:nvSpPr>
        <p:spPr>
          <a:xfrm>
            <a:off x="609600" y="304800"/>
            <a:ext cx="5108400" cy="1795200"/>
          </a:xfrm>
          <a:prstGeom prst="rect">
            <a:avLst/>
          </a:prstGeom>
          <a:noFill/>
          <a:ln>
            <a:noFill/>
          </a:ln>
        </p:spPr>
        <p:txBody>
          <a:bodyPr spcFirstLastPara="1" wrap="square" lIns="19050" tIns="19050" rIns="19050" bIns="19050" anchor="ctr" anchorCtr="0">
            <a:noAutofit/>
          </a:bodyPr>
          <a:lstStyle>
            <a:lvl1pPr lvl="0" algn="l" rtl="0">
              <a:lnSpc>
                <a:spcPct val="100000"/>
              </a:lnSpc>
              <a:spcBef>
                <a:spcPts val="0"/>
              </a:spcBef>
              <a:spcAft>
                <a:spcPts val="0"/>
              </a:spcAft>
              <a:buClr>
                <a:srgbClr val="24292E"/>
              </a:buClr>
              <a:buSzPts val="3000"/>
              <a:buFont typeface="Helvetica Neue"/>
              <a:buChar char="●"/>
              <a:defRPr sz="4000">
                <a:solidFill>
                  <a:srgbClr val="24292E"/>
                </a:solidFill>
              </a:defRPr>
            </a:lvl1pPr>
            <a:lvl2pPr lvl="1" algn="l" rtl="0">
              <a:lnSpc>
                <a:spcPct val="100000"/>
              </a:lnSpc>
              <a:spcBef>
                <a:spcPts val="0"/>
              </a:spcBef>
              <a:spcAft>
                <a:spcPts val="0"/>
              </a:spcAft>
              <a:buClr>
                <a:srgbClr val="24292E"/>
              </a:buClr>
              <a:buSzPts val="3000"/>
              <a:buChar char="○"/>
              <a:defRPr sz="4000">
                <a:solidFill>
                  <a:srgbClr val="24292E"/>
                </a:solidFill>
              </a:defRPr>
            </a:lvl2pPr>
            <a:lvl3pPr lvl="2" algn="l" rtl="0">
              <a:lnSpc>
                <a:spcPct val="100000"/>
              </a:lnSpc>
              <a:spcBef>
                <a:spcPts val="0"/>
              </a:spcBef>
              <a:spcAft>
                <a:spcPts val="0"/>
              </a:spcAft>
              <a:buClr>
                <a:srgbClr val="24292E"/>
              </a:buClr>
              <a:buSzPts val="3000"/>
              <a:buChar char="■"/>
              <a:defRPr sz="4000">
                <a:solidFill>
                  <a:srgbClr val="24292E"/>
                </a:solidFill>
              </a:defRPr>
            </a:lvl3pPr>
            <a:lvl4pPr lvl="3" algn="l" rtl="0">
              <a:lnSpc>
                <a:spcPct val="100000"/>
              </a:lnSpc>
              <a:spcBef>
                <a:spcPts val="0"/>
              </a:spcBef>
              <a:spcAft>
                <a:spcPts val="0"/>
              </a:spcAft>
              <a:buClr>
                <a:srgbClr val="24292E"/>
              </a:buClr>
              <a:buSzPts val="3000"/>
              <a:buChar char="●"/>
              <a:defRPr sz="4000">
                <a:solidFill>
                  <a:srgbClr val="24292E"/>
                </a:solidFill>
              </a:defRPr>
            </a:lvl4pPr>
            <a:lvl5pPr lvl="4" algn="l" rtl="0">
              <a:lnSpc>
                <a:spcPct val="100000"/>
              </a:lnSpc>
              <a:spcBef>
                <a:spcPts val="0"/>
              </a:spcBef>
              <a:spcAft>
                <a:spcPts val="0"/>
              </a:spcAft>
              <a:buClr>
                <a:srgbClr val="24292E"/>
              </a:buClr>
              <a:buSzPts val="3000"/>
              <a:buChar char="○"/>
              <a:defRPr sz="4000">
                <a:solidFill>
                  <a:srgbClr val="24292E"/>
                </a:solidFill>
              </a:defRPr>
            </a:lvl5pPr>
            <a:lvl6pPr lvl="5" algn="l" rtl="0">
              <a:lnSpc>
                <a:spcPct val="100000"/>
              </a:lnSpc>
              <a:spcBef>
                <a:spcPts val="0"/>
              </a:spcBef>
              <a:spcAft>
                <a:spcPts val="0"/>
              </a:spcAft>
              <a:buClr>
                <a:srgbClr val="24292E"/>
              </a:buClr>
              <a:buSzPts val="3000"/>
              <a:buChar char="■"/>
              <a:defRPr sz="4000">
                <a:solidFill>
                  <a:srgbClr val="24292E"/>
                </a:solidFill>
              </a:defRPr>
            </a:lvl6pPr>
            <a:lvl7pPr lvl="6" algn="l" rtl="0">
              <a:lnSpc>
                <a:spcPct val="100000"/>
              </a:lnSpc>
              <a:spcBef>
                <a:spcPts val="0"/>
              </a:spcBef>
              <a:spcAft>
                <a:spcPts val="0"/>
              </a:spcAft>
              <a:buClr>
                <a:srgbClr val="24292E"/>
              </a:buClr>
              <a:buSzPts val="3000"/>
              <a:buChar char="●"/>
              <a:defRPr sz="4000">
                <a:solidFill>
                  <a:srgbClr val="24292E"/>
                </a:solidFill>
              </a:defRPr>
            </a:lvl7pPr>
            <a:lvl8pPr lvl="7" algn="l" rtl="0">
              <a:lnSpc>
                <a:spcPct val="100000"/>
              </a:lnSpc>
              <a:spcBef>
                <a:spcPts val="0"/>
              </a:spcBef>
              <a:spcAft>
                <a:spcPts val="0"/>
              </a:spcAft>
              <a:buClr>
                <a:srgbClr val="24292E"/>
              </a:buClr>
              <a:buSzPts val="3000"/>
              <a:buChar char="○"/>
              <a:defRPr sz="4000">
                <a:solidFill>
                  <a:srgbClr val="24292E"/>
                </a:solidFill>
              </a:defRPr>
            </a:lvl8pPr>
            <a:lvl9pPr lvl="8" algn="l" rtl="0">
              <a:lnSpc>
                <a:spcPct val="100000"/>
              </a:lnSpc>
              <a:spcBef>
                <a:spcPts val="0"/>
              </a:spcBef>
              <a:spcAft>
                <a:spcPts val="0"/>
              </a:spcAft>
              <a:buClr>
                <a:srgbClr val="24292E"/>
              </a:buClr>
              <a:buSzPts val="3000"/>
              <a:buChar char="■"/>
              <a:defRPr sz="4000">
                <a:solidFill>
                  <a:srgbClr val="24292E"/>
                </a:solidFill>
              </a:defRPr>
            </a:lvl9pPr>
          </a:lstStyle>
          <a:p>
            <a:endParaRPr/>
          </a:p>
        </p:txBody>
      </p:sp>
      <p:sp>
        <p:nvSpPr>
          <p:cNvPr id="5003" name="Google Shape;5003;p243"/>
          <p:cNvSpPr txBox="1">
            <a:spLocks noGrp="1"/>
          </p:cNvSpPr>
          <p:nvPr>
            <p:ph type="body" idx="1"/>
          </p:nvPr>
        </p:nvSpPr>
        <p:spPr>
          <a:xfrm>
            <a:off x="609600" y="2438400"/>
            <a:ext cx="5108400" cy="3718400"/>
          </a:xfrm>
          <a:prstGeom prst="rect">
            <a:avLst/>
          </a:prstGeom>
          <a:noFill/>
          <a:ln>
            <a:noFill/>
          </a:ln>
        </p:spPr>
        <p:txBody>
          <a:bodyPr spcFirstLastPara="1" wrap="square" lIns="91425" tIns="91425" rIns="91425" bIns="91425" anchor="t" anchorCtr="0">
            <a:noAutofit/>
          </a:bodyPr>
          <a:lstStyle>
            <a:lvl1pPr marL="609585" lvl="0" indent="-457189" rtl="0">
              <a:spcBef>
                <a:spcPts val="0"/>
              </a:spcBef>
              <a:spcAft>
                <a:spcPts val="0"/>
              </a:spcAft>
              <a:buClr>
                <a:srgbClr val="24292E"/>
              </a:buClr>
              <a:buSzPts val="1800"/>
              <a:buChar char="●"/>
              <a:defRPr sz="2400">
                <a:solidFill>
                  <a:srgbClr val="24292E"/>
                </a:solidFill>
              </a:defRPr>
            </a:lvl1pPr>
            <a:lvl2pPr marL="1219170" lvl="1" indent="-423323" rtl="0">
              <a:spcBef>
                <a:spcPts val="533"/>
              </a:spcBef>
              <a:spcAft>
                <a:spcPts val="0"/>
              </a:spcAft>
              <a:buClr>
                <a:srgbClr val="24292E"/>
              </a:buClr>
              <a:buSzPts val="1400"/>
              <a:buChar char="○"/>
              <a:defRPr sz="2400">
                <a:solidFill>
                  <a:srgbClr val="24292E"/>
                </a:solidFill>
              </a:defRPr>
            </a:lvl2pPr>
            <a:lvl3pPr marL="1828754" lvl="2" indent="-423323" rtl="0">
              <a:spcBef>
                <a:spcPts val="533"/>
              </a:spcBef>
              <a:spcAft>
                <a:spcPts val="0"/>
              </a:spcAft>
              <a:buClr>
                <a:srgbClr val="24292E"/>
              </a:buClr>
              <a:buSzPts val="1400"/>
              <a:buChar char="■"/>
              <a:defRPr sz="2400">
                <a:solidFill>
                  <a:srgbClr val="24292E"/>
                </a:solidFill>
              </a:defRPr>
            </a:lvl3pPr>
            <a:lvl4pPr marL="2438339" lvl="3" indent="-423323" rtl="0">
              <a:spcBef>
                <a:spcPts val="533"/>
              </a:spcBef>
              <a:spcAft>
                <a:spcPts val="0"/>
              </a:spcAft>
              <a:buClr>
                <a:srgbClr val="24292E"/>
              </a:buClr>
              <a:buSzPts val="1400"/>
              <a:buChar char="●"/>
              <a:defRPr sz="2400">
                <a:solidFill>
                  <a:srgbClr val="24292E"/>
                </a:solidFill>
              </a:defRPr>
            </a:lvl4pPr>
            <a:lvl5pPr marL="3047924" lvl="4" indent="-423323" rtl="0">
              <a:spcBef>
                <a:spcPts val="533"/>
              </a:spcBef>
              <a:spcAft>
                <a:spcPts val="0"/>
              </a:spcAft>
              <a:buClr>
                <a:srgbClr val="24292E"/>
              </a:buClr>
              <a:buSzPts val="1400"/>
              <a:buChar char="○"/>
              <a:defRPr sz="2400">
                <a:solidFill>
                  <a:srgbClr val="24292E"/>
                </a:solidFill>
              </a:defRPr>
            </a:lvl5pPr>
            <a:lvl6pPr marL="3657509" lvl="5" indent="-423323" rtl="0">
              <a:spcBef>
                <a:spcPts val="533"/>
              </a:spcBef>
              <a:spcAft>
                <a:spcPts val="0"/>
              </a:spcAft>
              <a:buClr>
                <a:srgbClr val="24292E"/>
              </a:buClr>
              <a:buSzPts val="1400"/>
              <a:buChar char="■"/>
              <a:defRPr sz="2400">
                <a:solidFill>
                  <a:srgbClr val="24292E"/>
                </a:solidFill>
              </a:defRPr>
            </a:lvl6pPr>
            <a:lvl7pPr marL="4267093" lvl="6" indent="-423323" rtl="0">
              <a:spcBef>
                <a:spcPts val="533"/>
              </a:spcBef>
              <a:spcAft>
                <a:spcPts val="0"/>
              </a:spcAft>
              <a:buClr>
                <a:srgbClr val="24292E"/>
              </a:buClr>
              <a:buSzPts val="1400"/>
              <a:buChar char="●"/>
              <a:defRPr sz="2400">
                <a:solidFill>
                  <a:srgbClr val="24292E"/>
                </a:solidFill>
              </a:defRPr>
            </a:lvl7pPr>
            <a:lvl8pPr marL="4876678" lvl="7" indent="-423323" rtl="0">
              <a:spcBef>
                <a:spcPts val="533"/>
              </a:spcBef>
              <a:spcAft>
                <a:spcPts val="0"/>
              </a:spcAft>
              <a:buClr>
                <a:srgbClr val="24292E"/>
              </a:buClr>
              <a:buSzPts val="1400"/>
              <a:buChar char="○"/>
              <a:defRPr sz="2400">
                <a:solidFill>
                  <a:srgbClr val="24292E"/>
                </a:solidFill>
              </a:defRPr>
            </a:lvl8pPr>
            <a:lvl9pPr marL="5486263" lvl="8" indent="-423323" rtl="0">
              <a:spcBef>
                <a:spcPts val="533"/>
              </a:spcBef>
              <a:spcAft>
                <a:spcPts val="533"/>
              </a:spcAft>
              <a:buClr>
                <a:srgbClr val="24292E"/>
              </a:buClr>
              <a:buSzPts val="1400"/>
              <a:buChar char="■"/>
              <a:defRPr sz="2400">
                <a:solidFill>
                  <a:srgbClr val="24292E"/>
                </a:solidFill>
              </a:defRPr>
            </a:lvl9pPr>
          </a:lstStyle>
          <a:p>
            <a:endParaRPr/>
          </a:p>
        </p:txBody>
      </p:sp>
    </p:spTree>
    <p:extLst>
      <p:ext uri="{BB962C8B-B14F-4D97-AF65-F5344CB8AC3E}">
        <p14:creationId xmlns:p14="http://schemas.microsoft.com/office/powerpoint/2010/main" val="137222109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matchingName="Title - Top">
  <p:cSld name="Title - Top">
    <p:bg>
      <p:bgPr>
        <a:solidFill>
          <a:srgbClr val="000000"/>
        </a:solidFill>
        <a:effectLst/>
      </p:bgPr>
    </p:bg>
    <p:spTree>
      <p:nvGrpSpPr>
        <p:cNvPr id="1" name="Shape 5004"/>
        <p:cNvGrpSpPr/>
        <p:nvPr/>
      </p:nvGrpSpPr>
      <p:grpSpPr>
        <a:xfrm>
          <a:off x="0" y="0"/>
          <a:ext cx="0" cy="0"/>
          <a:chOff x="0" y="0"/>
          <a:chExt cx="0" cy="0"/>
        </a:xfrm>
      </p:grpSpPr>
      <p:sp>
        <p:nvSpPr>
          <p:cNvPr id="5005" name="Google Shape;5005;p244"/>
          <p:cNvSpPr txBox="1">
            <a:spLocks noGrp="1"/>
          </p:cNvSpPr>
          <p:nvPr>
            <p:ph type="title"/>
          </p:nvPr>
        </p:nvSpPr>
        <p:spPr>
          <a:xfrm>
            <a:off x="508000" y="304800"/>
            <a:ext cx="11176000" cy="825600"/>
          </a:xfrm>
          <a:prstGeom prst="rect">
            <a:avLst/>
          </a:prstGeom>
          <a:noFill/>
          <a:ln>
            <a:noFill/>
          </a:ln>
        </p:spPr>
        <p:txBody>
          <a:bodyPr spcFirstLastPara="1" wrap="square" lIns="19050" tIns="19050" rIns="19050" bIns="19050" anchor="ctr" anchorCtr="0">
            <a:noAutofit/>
          </a:bodyPr>
          <a:lstStyle>
            <a:lvl1pPr lvl="0" algn="ctr" rtl="0">
              <a:lnSpc>
                <a:spcPct val="100000"/>
              </a:lnSpc>
              <a:spcBef>
                <a:spcPts val="0"/>
              </a:spcBef>
              <a:spcAft>
                <a:spcPts val="0"/>
              </a:spcAft>
              <a:buClr>
                <a:srgbClr val="FFFFFF"/>
              </a:buClr>
              <a:buSzPts val="3800"/>
              <a:buFont typeface="Helvetica Neue"/>
              <a:buChar char="●"/>
              <a:defRPr sz="5067" b="1">
                <a:solidFill>
                  <a:srgbClr val="FFFFFF"/>
                </a:solidFill>
              </a:defRPr>
            </a:lvl1pPr>
            <a:lvl2pPr lvl="1" algn="l" rtl="0">
              <a:lnSpc>
                <a:spcPct val="100000"/>
              </a:lnSpc>
              <a:spcBef>
                <a:spcPts val="0"/>
              </a:spcBef>
              <a:spcAft>
                <a:spcPts val="0"/>
              </a:spcAft>
              <a:buClr>
                <a:srgbClr val="005CC5"/>
              </a:buClr>
              <a:buSzPts val="700"/>
              <a:buChar char="○"/>
              <a:defRPr sz="1467"/>
            </a:lvl2pPr>
            <a:lvl3pPr lvl="2" algn="l" rtl="0">
              <a:lnSpc>
                <a:spcPct val="100000"/>
              </a:lnSpc>
              <a:spcBef>
                <a:spcPts val="0"/>
              </a:spcBef>
              <a:spcAft>
                <a:spcPts val="0"/>
              </a:spcAft>
              <a:buClr>
                <a:srgbClr val="005CC5"/>
              </a:buClr>
              <a:buSzPts val="700"/>
              <a:buChar char="■"/>
              <a:defRPr sz="1467"/>
            </a:lvl3pPr>
            <a:lvl4pPr lvl="3" algn="l" rtl="0">
              <a:lnSpc>
                <a:spcPct val="100000"/>
              </a:lnSpc>
              <a:spcBef>
                <a:spcPts val="0"/>
              </a:spcBef>
              <a:spcAft>
                <a:spcPts val="0"/>
              </a:spcAft>
              <a:buClr>
                <a:srgbClr val="005CC5"/>
              </a:buClr>
              <a:buSzPts val="700"/>
              <a:buChar char="●"/>
              <a:defRPr sz="1467"/>
            </a:lvl4pPr>
            <a:lvl5pPr lvl="4" algn="l" rtl="0">
              <a:lnSpc>
                <a:spcPct val="100000"/>
              </a:lnSpc>
              <a:spcBef>
                <a:spcPts val="0"/>
              </a:spcBef>
              <a:spcAft>
                <a:spcPts val="0"/>
              </a:spcAft>
              <a:buClr>
                <a:srgbClr val="005CC5"/>
              </a:buClr>
              <a:buSzPts val="700"/>
              <a:buChar char="○"/>
              <a:defRPr sz="1467"/>
            </a:lvl5pPr>
            <a:lvl6pPr lvl="5" algn="l" rtl="0">
              <a:lnSpc>
                <a:spcPct val="100000"/>
              </a:lnSpc>
              <a:spcBef>
                <a:spcPts val="0"/>
              </a:spcBef>
              <a:spcAft>
                <a:spcPts val="0"/>
              </a:spcAft>
              <a:buClr>
                <a:srgbClr val="005CC5"/>
              </a:buClr>
              <a:buSzPts val="700"/>
              <a:buChar char="■"/>
              <a:defRPr sz="1467"/>
            </a:lvl6pPr>
            <a:lvl7pPr lvl="6" algn="l" rtl="0">
              <a:lnSpc>
                <a:spcPct val="100000"/>
              </a:lnSpc>
              <a:spcBef>
                <a:spcPts val="0"/>
              </a:spcBef>
              <a:spcAft>
                <a:spcPts val="0"/>
              </a:spcAft>
              <a:buClr>
                <a:srgbClr val="005CC5"/>
              </a:buClr>
              <a:buSzPts val="700"/>
              <a:buChar char="●"/>
              <a:defRPr sz="1467"/>
            </a:lvl7pPr>
            <a:lvl8pPr lvl="7" algn="l" rtl="0">
              <a:lnSpc>
                <a:spcPct val="100000"/>
              </a:lnSpc>
              <a:spcBef>
                <a:spcPts val="0"/>
              </a:spcBef>
              <a:spcAft>
                <a:spcPts val="0"/>
              </a:spcAft>
              <a:buClr>
                <a:srgbClr val="005CC5"/>
              </a:buClr>
              <a:buSzPts val="700"/>
              <a:buChar char="○"/>
              <a:defRPr sz="1467"/>
            </a:lvl8pPr>
            <a:lvl9pPr lvl="8" algn="l" rtl="0">
              <a:lnSpc>
                <a:spcPct val="100000"/>
              </a:lnSpc>
              <a:spcBef>
                <a:spcPts val="0"/>
              </a:spcBef>
              <a:spcAft>
                <a:spcPts val="0"/>
              </a:spcAft>
              <a:buClr>
                <a:srgbClr val="005CC5"/>
              </a:buClr>
              <a:buSzPts val="700"/>
              <a:buChar char="■"/>
              <a:defRPr sz="1467"/>
            </a:lvl9pPr>
          </a:lstStyle>
          <a:p>
            <a:endParaRPr/>
          </a:p>
        </p:txBody>
      </p:sp>
      <p:pic>
        <p:nvPicPr>
          <p:cNvPr id="5006" name="Google Shape;5006;p244" descr="footer-mark-github.pdf"/>
          <p:cNvPicPr preferRelativeResize="0"/>
          <p:nvPr/>
        </p:nvPicPr>
        <p:blipFill rotWithShape="1">
          <a:blip r:embed="rId2">
            <a:alphaModFix/>
          </a:blip>
          <a:srcRect/>
          <a:stretch/>
        </p:blipFill>
        <p:spPr>
          <a:xfrm>
            <a:off x="11557000" y="6412705"/>
            <a:ext cx="254000" cy="254000"/>
          </a:xfrm>
          <a:prstGeom prst="rect">
            <a:avLst/>
          </a:prstGeom>
          <a:noFill/>
          <a:ln>
            <a:noFill/>
          </a:ln>
        </p:spPr>
      </p:pic>
      <p:sp>
        <p:nvSpPr>
          <p:cNvPr id="5007" name="Google Shape;5007;p244"/>
          <p:cNvSpPr txBox="1">
            <a:spLocks noGrp="1"/>
          </p:cNvSpPr>
          <p:nvPr>
            <p:ph type="sldNum" idx="12"/>
          </p:nvPr>
        </p:nvSpPr>
        <p:spPr>
          <a:xfrm>
            <a:off x="5979516" y="6540500"/>
            <a:ext cx="226800" cy="230400"/>
          </a:xfrm>
          <a:prstGeom prst="rect">
            <a:avLst/>
          </a:prstGeom>
          <a:noFill/>
          <a:ln>
            <a:noFill/>
          </a:ln>
        </p:spPr>
        <p:txBody>
          <a:bodyPr spcFirstLastPara="1" wrap="square" lIns="19050" tIns="19050" rIns="19050" bIns="19050" anchor="t" anchorCtr="0">
            <a:noAutofit/>
          </a:bodyPr>
          <a:lstStyle>
            <a:lvl1pPr marL="0" marR="0" lvl="0"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1pPr>
            <a:lvl2pPr marL="0" marR="0" lvl="1"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2pPr>
            <a:lvl3pPr marL="0" marR="0" lvl="2"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3pPr>
            <a:lvl4pPr marL="0" marR="0" lvl="3"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4pPr>
            <a:lvl5pPr marL="0" marR="0" lvl="4"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5pPr>
            <a:lvl6pPr marL="0" marR="0" lvl="5"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6pPr>
            <a:lvl7pPr marL="0" marR="0" lvl="6"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7pPr>
            <a:lvl8pPr marL="0" marR="0" lvl="7"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8pPr>
            <a:lvl9pPr marL="0" marR="0" lvl="8"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9pPr>
          </a:lstStyle>
          <a:p>
            <a:fld id="{00000000-1234-1234-1234-123412341234}" type="slidenum">
              <a:rPr lang="en" smtClean="0"/>
              <a:pPr/>
              <a:t>‹#›</a:t>
            </a:fld>
            <a:endParaRPr lang="en" sz="1867">
              <a:solidFill>
                <a:srgbClr val="000000"/>
              </a:solidFill>
              <a:latin typeface="Arial"/>
              <a:ea typeface="Arial"/>
              <a:cs typeface="Arial"/>
              <a:sym typeface="Arial"/>
            </a:endParaRPr>
          </a:p>
        </p:txBody>
      </p:sp>
    </p:spTree>
    <p:extLst>
      <p:ext uri="{BB962C8B-B14F-4D97-AF65-F5344CB8AC3E}">
        <p14:creationId xmlns:p14="http://schemas.microsoft.com/office/powerpoint/2010/main" val="3170188325"/>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matchingName="TITLE_AND_BODY">
  <p:cSld name="TITLE_AND_BODY">
    <p:bg>
      <p:bgPr>
        <a:solidFill>
          <a:srgbClr val="FFFFFF"/>
        </a:solidFill>
        <a:effectLst/>
      </p:bgPr>
    </p:bg>
    <p:spTree>
      <p:nvGrpSpPr>
        <p:cNvPr id="1" name="Shape 5008"/>
        <p:cNvGrpSpPr/>
        <p:nvPr/>
      </p:nvGrpSpPr>
      <p:grpSpPr>
        <a:xfrm>
          <a:off x="0" y="0"/>
          <a:ext cx="0" cy="0"/>
          <a:chOff x="0" y="0"/>
          <a:chExt cx="0" cy="0"/>
        </a:xfrm>
      </p:grpSpPr>
      <p:sp>
        <p:nvSpPr>
          <p:cNvPr id="5009" name="Google Shape;5009;p245"/>
          <p:cNvSpPr txBox="1">
            <a:spLocks noGrp="1"/>
          </p:cNvSpPr>
          <p:nvPr>
            <p:ph type="title"/>
          </p:nvPr>
        </p:nvSpPr>
        <p:spPr>
          <a:xfrm>
            <a:off x="415600" y="593367"/>
            <a:ext cx="11360800" cy="763600"/>
          </a:xfrm>
          <a:prstGeom prst="rect">
            <a:avLst/>
          </a:prstGeom>
          <a:noFill/>
          <a:ln>
            <a:noFill/>
          </a:ln>
        </p:spPr>
        <p:txBody>
          <a:bodyPr spcFirstLastPara="1" wrap="square" lIns="19050" tIns="19050" rIns="19050" bIns="19050" anchor="ctr" anchorCtr="0">
            <a:noAutofit/>
          </a:bodyPr>
          <a:lstStyle>
            <a:lvl1pPr lvl="0" algn="l" rtl="0">
              <a:lnSpc>
                <a:spcPct val="100000"/>
              </a:lnSpc>
              <a:spcBef>
                <a:spcPts val="0"/>
              </a:spcBef>
              <a:spcAft>
                <a:spcPts val="0"/>
              </a:spcAft>
              <a:buClr>
                <a:srgbClr val="005CC5"/>
              </a:buClr>
              <a:buSzPts val="700"/>
              <a:buNone/>
              <a:defRPr/>
            </a:lvl1pPr>
            <a:lvl2pPr lvl="1" algn="l" rtl="0">
              <a:lnSpc>
                <a:spcPct val="100000"/>
              </a:lnSpc>
              <a:spcBef>
                <a:spcPts val="0"/>
              </a:spcBef>
              <a:spcAft>
                <a:spcPts val="0"/>
              </a:spcAft>
              <a:buClr>
                <a:srgbClr val="005CC5"/>
              </a:buClr>
              <a:buSzPts val="700"/>
              <a:buNone/>
              <a:defRPr/>
            </a:lvl2pPr>
            <a:lvl3pPr lvl="2" algn="l" rtl="0">
              <a:lnSpc>
                <a:spcPct val="100000"/>
              </a:lnSpc>
              <a:spcBef>
                <a:spcPts val="0"/>
              </a:spcBef>
              <a:spcAft>
                <a:spcPts val="0"/>
              </a:spcAft>
              <a:buClr>
                <a:srgbClr val="005CC5"/>
              </a:buClr>
              <a:buSzPts val="700"/>
              <a:buNone/>
              <a:defRPr/>
            </a:lvl3pPr>
            <a:lvl4pPr lvl="3" algn="l" rtl="0">
              <a:lnSpc>
                <a:spcPct val="100000"/>
              </a:lnSpc>
              <a:spcBef>
                <a:spcPts val="0"/>
              </a:spcBef>
              <a:spcAft>
                <a:spcPts val="0"/>
              </a:spcAft>
              <a:buClr>
                <a:srgbClr val="005CC5"/>
              </a:buClr>
              <a:buSzPts val="700"/>
              <a:buNone/>
              <a:defRPr/>
            </a:lvl4pPr>
            <a:lvl5pPr lvl="4" algn="l" rtl="0">
              <a:lnSpc>
                <a:spcPct val="100000"/>
              </a:lnSpc>
              <a:spcBef>
                <a:spcPts val="0"/>
              </a:spcBef>
              <a:spcAft>
                <a:spcPts val="0"/>
              </a:spcAft>
              <a:buClr>
                <a:srgbClr val="005CC5"/>
              </a:buClr>
              <a:buSzPts val="700"/>
              <a:buNone/>
              <a:defRPr/>
            </a:lvl5pPr>
            <a:lvl6pPr lvl="5" algn="l" rtl="0">
              <a:lnSpc>
                <a:spcPct val="100000"/>
              </a:lnSpc>
              <a:spcBef>
                <a:spcPts val="0"/>
              </a:spcBef>
              <a:spcAft>
                <a:spcPts val="0"/>
              </a:spcAft>
              <a:buClr>
                <a:srgbClr val="005CC5"/>
              </a:buClr>
              <a:buSzPts val="700"/>
              <a:buNone/>
              <a:defRPr/>
            </a:lvl6pPr>
            <a:lvl7pPr lvl="6" algn="l" rtl="0">
              <a:lnSpc>
                <a:spcPct val="100000"/>
              </a:lnSpc>
              <a:spcBef>
                <a:spcPts val="0"/>
              </a:spcBef>
              <a:spcAft>
                <a:spcPts val="0"/>
              </a:spcAft>
              <a:buClr>
                <a:srgbClr val="005CC5"/>
              </a:buClr>
              <a:buSzPts val="700"/>
              <a:buNone/>
              <a:defRPr/>
            </a:lvl7pPr>
            <a:lvl8pPr lvl="7" algn="l" rtl="0">
              <a:lnSpc>
                <a:spcPct val="100000"/>
              </a:lnSpc>
              <a:spcBef>
                <a:spcPts val="0"/>
              </a:spcBef>
              <a:spcAft>
                <a:spcPts val="0"/>
              </a:spcAft>
              <a:buClr>
                <a:srgbClr val="005CC5"/>
              </a:buClr>
              <a:buSzPts val="700"/>
              <a:buNone/>
              <a:defRPr/>
            </a:lvl8pPr>
            <a:lvl9pPr lvl="8" algn="l" rtl="0">
              <a:lnSpc>
                <a:spcPct val="100000"/>
              </a:lnSpc>
              <a:spcBef>
                <a:spcPts val="0"/>
              </a:spcBef>
              <a:spcAft>
                <a:spcPts val="0"/>
              </a:spcAft>
              <a:buClr>
                <a:srgbClr val="005CC5"/>
              </a:buClr>
              <a:buSzPts val="700"/>
              <a:buNone/>
              <a:defRPr/>
            </a:lvl9pPr>
          </a:lstStyle>
          <a:p>
            <a:endParaRPr/>
          </a:p>
        </p:txBody>
      </p:sp>
      <p:sp>
        <p:nvSpPr>
          <p:cNvPr id="5010" name="Google Shape;5010;p245"/>
          <p:cNvSpPr txBox="1">
            <a:spLocks noGrp="1"/>
          </p:cNvSpPr>
          <p:nvPr>
            <p:ph type="body" idx="1"/>
          </p:nvPr>
        </p:nvSpPr>
        <p:spPr>
          <a:xfrm>
            <a:off x="415600" y="1536633"/>
            <a:ext cx="11360800" cy="4555200"/>
          </a:xfrm>
          <a:prstGeom prst="rect">
            <a:avLst/>
          </a:prstGeom>
          <a:noFill/>
          <a:ln>
            <a:noFill/>
          </a:ln>
        </p:spPr>
        <p:txBody>
          <a:bodyPr spcFirstLastPara="1" wrap="square" lIns="19050" tIns="19050" rIns="19050" bIns="19050" anchor="ctr" anchorCtr="0">
            <a:noAutofit/>
          </a:bodyPr>
          <a:lstStyle>
            <a:lvl1pPr marL="609585" lvl="0" indent="-507987" algn="l" rtl="0">
              <a:lnSpc>
                <a:spcPct val="100000"/>
              </a:lnSpc>
              <a:spcBef>
                <a:spcPts val="2000"/>
              </a:spcBef>
              <a:spcAft>
                <a:spcPts val="0"/>
              </a:spcAft>
              <a:buSzPts val="2400"/>
              <a:buChar char="•"/>
              <a:defRPr/>
            </a:lvl1pPr>
            <a:lvl2pPr marL="1219170" lvl="1" indent="-507987" algn="l" rtl="0">
              <a:lnSpc>
                <a:spcPct val="100000"/>
              </a:lnSpc>
              <a:spcBef>
                <a:spcPts val="2000"/>
              </a:spcBef>
              <a:spcAft>
                <a:spcPts val="0"/>
              </a:spcAft>
              <a:buSzPts val="2400"/>
              <a:buChar char="-"/>
              <a:defRPr/>
            </a:lvl2pPr>
            <a:lvl3pPr marL="1828754" lvl="2" indent="-507987" algn="l" rtl="0">
              <a:lnSpc>
                <a:spcPct val="100000"/>
              </a:lnSpc>
              <a:spcBef>
                <a:spcPts val="2000"/>
              </a:spcBef>
              <a:spcAft>
                <a:spcPts val="0"/>
              </a:spcAft>
              <a:buSzPts val="2400"/>
              <a:buChar char="-"/>
              <a:defRPr/>
            </a:lvl3pPr>
            <a:lvl4pPr marL="2438339" lvl="3" indent="-507987" algn="l" rtl="0">
              <a:lnSpc>
                <a:spcPct val="100000"/>
              </a:lnSpc>
              <a:spcBef>
                <a:spcPts val="2000"/>
              </a:spcBef>
              <a:spcAft>
                <a:spcPts val="0"/>
              </a:spcAft>
              <a:buSzPts val="2400"/>
              <a:buChar char="-"/>
              <a:defRPr/>
            </a:lvl4pPr>
            <a:lvl5pPr marL="3047924" lvl="4" indent="-507987" algn="l" rtl="0">
              <a:lnSpc>
                <a:spcPct val="100000"/>
              </a:lnSpc>
              <a:spcBef>
                <a:spcPts val="2000"/>
              </a:spcBef>
              <a:spcAft>
                <a:spcPts val="0"/>
              </a:spcAft>
              <a:buSzPts val="2400"/>
              <a:buChar char="-"/>
              <a:defRPr/>
            </a:lvl5pPr>
            <a:lvl6pPr marL="3657509" lvl="5" indent="-507987" algn="l" rtl="0">
              <a:lnSpc>
                <a:spcPct val="100000"/>
              </a:lnSpc>
              <a:spcBef>
                <a:spcPts val="2000"/>
              </a:spcBef>
              <a:spcAft>
                <a:spcPts val="0"/>
              </a:spcAft>
              <a:buSzPts val="2400"/>
              <a:buChar char="-"/>
              <a:defRPr/>
            </a:lvl6pPr>
            <a:lvl7pPr marL="4267093" lvl="6" indent="-507987" algn="l" rtl="0">
              <a:lnSpc>
                <a:spcPct val="100000"/>
              </a:lnSpc>
              <a:spcBef>
                <a:spcPts val="2000"/>
              </a:spcBef>
              <a:spcAft>
                <a:spcPts val="0"/>
              </a:spcAft>
              <a:buSzPts val="2400"/>
              <a:buChar char="-"/>
              <a:defRPr/>
            </a:lvl7pPr>
            <a:lvl8pPr marL="4876678" lvl="7" indent="-507987" algn="l" rtl="0">
              <a:lnSpc>
                <a:spcPct val="100000"/>
              </a:lnSpc>
              <a:spcBef>
                <a:spcPts val="2000"/>
              </a:spcBef>
              <a:spcAft>
                <a:spcPts val="0"/>
              </a:spcAft>
              <a:buSzPts val="2400"/>
              <a:buChar char="-"/>
              <a:defRPr/>
            </a:lvl8pPr>
            <a:lvl9pPr marL="5486263" lvl="8" indent="-507987" algn="l" rtl="0">
              <a:lnSpc>
                <a:spcPct val="100000"/>
              </a:lnSpc>
              <a:spcBef>
                <a:spcPts val="2000"/>
              </a:spcBef>
              <a:spcAft>
                <a:spcPts val="0"/>
              </a:spcAft>
              <a:buSzPts val="2400"/>
              <a:buChar char="-"/>
              <a:defRPr/>
            </a:lvl9pPr>
          </a:lstStyle>
          <a:p>
            <a:endParaRPr/>
          </a:p>
        </p:txBody>
      </p:sp>
      <p:pic>
        <p:nvPicPr>
          <p:cNvPr id="5011" name="Google Shape;5011;p245" descr="Google Shape;137;p40"/>
          <p:cNvPicPr preferRelativeResize="0"/>
          <p:nvPr/>
        </p:nvPicPr>
        <p:blipFill rotWithShape="1">
          <a:blip r:embed="rId2">
            <a:alphaModFix amt="14000"/>
          </a:blip>
          <a:srcRect/>
          <a:stretch/>
        </p:blipFill>
        <p:spPr>
          <a:xfrm>
            <a:off x="203200" y="6217634"/>
            <a:ext cx="448192" cy="437167"/>
          </a:xfrm>
          <a:prstGeom prst="rect">
            <a:avLst/>
          </a:prstGeom>
          <a:noFill/>
          <a:ln>
            <a:noFill/>
          </a:ln>
        </p:spPr>
      </p:pic>
      <p:sp>
        <p:nvSpPr>
          <p:cNvPr id="5012" name="Google Shape;5012;p245"/>
          <p:cNvSpPr txBox="1">
            <a:spLocks noGrp="1"/>
          </p:cNvSpPr>
          <p:nvPr>
            <p:ph type="sldNum" idx="12"/>
          </p:nvPr>
        </p:nvSpPr>
        <p:spPr>
          <a:xfrm>
            <a:off x="11296611" y="6228511"/>
            <a:ext cx="504400" cy="5032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chemeClr val="lt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chemeClr val="lt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chemeClr val="lt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chemeClr val="lt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chemeClr val="lt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chemeClr val="lt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chemeClr val="lt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chemeClr val="lt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chemeClr val="lt2"/>
                </a:solidFill>
                <a:latin typeface="Arial"/>
                <a:ea typeface="Arial"/>
                <a:cs typeface="Arial"/>
                <a:sym typeface="Arial"/>
              </a:defRPr>
            </a:lvl9pPr>
          </a:lstStyle>
          <a:p>
            <a:fld id="{00000000-1234-1234-1234-123412341234}" type="slidenum">
              <a:rPr lang="en" smtClean="0"/>
              <a:pPr/>
              <a:t>‹#›</a:t>
            </a:fld>
            <a:endParaRPr lang="en" sz="1600"/>
          </a:p>
        </p:txBody>
      </p:sp>
    </p:spTree>
    <p:extLst>
      <p:ext uri="{BB962C8B-B14F-4D97-AF65-F5344CB8AC3E}">
        <p14:creationId xmlns:p14="http://schemas.microsoft.com/office/powerpoint/2010/main" val="2528244526"/>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matchingName="Blank 2">
  <p:cSld name="Blank 2">
    <p:bg>
      <p:bgPr>
        <a:solidFill>
          <a:srgbClr val="000000"/>
        </a:solidFill>
        <a:effectLst/>
      </p:bgPr>
    </p:bg>
    <p:spTree>
      <p:nvGrpSpPr>
        <p:cNvPr id="1" name="Shape 5013"/>
        <p:cNvGrpSpPr/>
        <p:nvPr/>
      </p:nvGrpSpPr>
      <p:grpSpPr>
        <a:xfrm>
          <a:off x="0" y="0"/>
          <a:ext cx="0" cy="0"/>
          <a:chOff x="0" y="0"/>
          <a:chExt cx="0" cy="0"/>
        </a:xfrm>
      </p:grpSpPr>
      <p:sp>
        <p:nvSpPr>
          <p:cNvPr id="5014" name="Google Shape;5014;p246"/>
          <p:cNvSpPr txBox="1">
            <a:spLocks noGrp="1"/>
          </p:cNvSpPr>
          <p:nvPr>
            <p:ph type="sldNum" idx="12"/>
          </p:nvPr>
        </p:nvSpPr>
        <p:spPr>
          <a:xfrm>
            <a:off x="5892800" y="6138725"/>
            <a:ext cx="2844800" cy="4352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585858"/>
              </a:buClr>
              <a:buSzPts val="1000"/>
              <a:buFont typeface="Arial"/>
              <a:buNone/>
              <a:defRPr sz="1333" b="0" i="0" u="none" strike="noStrike" cap="none">
                <a:solidFill>
                  <a:srgbClr val="585858"/>
                </a:solidFill>
                <a:latin typeface="Arial"/>
                <a:ea typeface="Arial"/>
                <a:cs typeface="Arial"/>
                <a:sym typeface="Arial"/>
              </a:defRPr>
            </a:lvl1pPr>
            <a:lvl2pPr marL="0" marR="0" lvl="1" indent="0" algn="r" rtl="0">
              <a:lnSpc>
                <a:spcPct val="100000"/>
              </a:lnSpc>
              <a:spcBef>
                <a:spcPts val="0"/>
              </a:spcBef>
              <a:spcAft>
                <a:spcPts val="0"/>
              </a:spcAft>
              <a:buClr>
                <a:srgbClr val="585858"/>
              </a:buClr>
              <a:buSzPts val="1000"/>
              <a:buFont typeface="Arial"/>
              <a:buNone/>
              <a:defRPr sz="1333" b="0" i="0" u="none" strike="noStrike" cap="none">
                <a:solidFill>
                  <a:srgbClr val="585858"/>
                </a:solidFill>
                <a:latin typeface="Arial"/>
                <a:ea typeface="Arial"/>
                <a:cs typeface="Arial"/>
                <a:sym typeface="Arial"/>
              </a:defRPr>
            </a:lvl2pPr>
            <a:lvl3pPr marL="0" marR="0" lvl="2" indent="0" algn="r" rtl="0">
              <a:lnSpc>
                <a:spcPct val="100000"/>
              </a:lnSpc>
              <a:spcBef>
                <a:spcPts val="0"/>
              </a:spcBef>
              <a:spcAft>
                <a:spcPts val="0"/>
              </a:spcAft>
              <a:buClr>
                <a:srgbClr val="585858"/>
              </a:buClr>
              <a:buSzPts val="1000"/>
              <a:buFont typeface="Arial"/>
              <a:buNone/>
              <a:defRPr sz="1333" b="0" i="0" u="none" strike="noStrike" cap="none">
                <a:solidFill>
                  <a:srgbClr val="585858"/>
                </a:solidFill>
                <a:latin typeface="Arial"/>
                <a:ea typeface="Arial"/>
                <a:cs typeface="Arial"/>
                <a:sym typeface="Arial"/>
              </a:defRPr>
            </a:lvl3pPr>
            <a:lvl4pPr marL="0" marR="0" lvl="3" indent="0" algn="r" rtl="0">
              <a:lnSpc>
                <a:spcPct val="100000"/>
              </a:lnSpc>
              <a:spcBef>
                <a:spcPts val="0"/>
              </a:spcBef>
              <a:spcAft>
                <a:spcPts val="0"/>
              </a:spcAft>
              <a:buClr>
                <a:srgbClr val="585858"/>
              </a:buClr>
              <a:buSzPts val="1000"/>
              <a:buFont typeface="Arial"/>
              <a:buNone/>
              <a:defRPr sz="1333" b="0" i="0" u="none" strike="noStrike" cap="none">
                <a:solidFill>
                  <a:srgbClr val="585858"/>
                </a:solidFill>
                <a:latin typeface="Arial"/>
                <a:ea typeface="Arial"/>
                <a:cs typeface="Arial"/>
                <a:sym typeface="Arial"/>
              </a:defRPr>
            </a:lvl4pPr>
            <a:lvl5pPr marL="0" marR="0" lvl="4" indent="0" algn="r" rtl="0">
              <a:lnSpc>
                <a:spcPct val="100000"/>
              </a:lnSpc>
              <a:spcBef>
                <a:spcPts val="0"/>
              </a:spcBef>
              <a:spcAft>
                <a:spcPts val="0"/>
              </a:spcAft>
              <a:buClr>
                <a:srgbClr val="585858"/>
              </a:buClr>
              <a:buSzPts val="1000"/>
              <a:buFont typeface="Arial"/>
              <a:buNone/>
              <a:defRPr sz="1333" b="0" i="0" u="none" strike="noStrike" cap="none">
                <a:solidFill>
                  <a:srgbClr val="585858"/>
                </a:solidFill>
                <a:latin typeface="Arial"/>
                <a:ea typeface="Arial"/>
                <a:cs typeface="Arial"/>
                <a:sym typeface="Arial"/>
              </a:defRPr>
            </a:lvl5pPr>
            <a:lvl6pPr marL="0" marR="0" lvl="5" indent="0" algn="r" rtl="0">
              <a:lnSpc>
                <a:spcPct val="100000"/>
              </a:lnSpc>
              <a:spcBef>
                <a:spcPts val="0"/>
              </a:spcBef>
              <a:spcAft>
                <a:spcPts val="0"/>
              </a:spcAft>
              <a:buClr>
                <a:srgbClr val="585858"/>
              </a:buClr>
              <a:buSzPts val="1000"/>
              <a:buFont typeface="Arial"/>
              <a:buNone/>
              <a:defRPr sz="1333" b="0" i="0" u="none" strike="noStrike" cap="none">
                <a:solidFill>
                  <a:srgbClr val="585858"/>
                </a:solidFill>
                <a:latin typeface="Arial"/>
                <a:ea typeface="Arial"/>
                <a:cs typeface="Arial"/>
                <a:sym typeface="Arial"/>
              </a:defRPr>
            </a:lvl6pPr>
            <a:lvl7pPr marL="0" marR="0" lvl="6" indent="0" algn="r" rtl="0">
              <a:lnSpc>
                <a:spcPct val="100000"/>
              </a:lnSpc>
              <a:spcBef>
                <a:spcPts val="0"/>
              </a:spcBef>
              <a:spcAft>
                <a:spcPts val="0"/>
              </a:spcAft>
              <a:buClr>
                <a:srgbClr val="585858"/>
              </a:buClr>
              <a:buSzPts val="1000"/>
              <a:buFont typeface="Arial"/>
              <a:buNone/>
              <a:defRPr sz="1333" b="0" i="0" u="none" strike="noStrike" cap="none">
                <a:solidFill>
                  <a:srgbClr val="585858"/>
                </a:solidFill>
                <a:latin typeface="Arial"/>
                <a:ea typeface="Arial"/>
                <a:cs typeface="Arial"/>
                <a:sym typeface="Arial"/>
              </a:defRPr>
            </a:lvl7pPr>
            <a:lvl8pPr marL="0" marR="0" lvl="7" indent="0" algn="r" rtl="0">
              <a:lnSpc>
                <a:spcPct val="100000"/>
              </a:lnSpc>
              <a:spcBef>
                <a:spcPts val="0"/>
              </a:spcBef>
              <a:spcAft>
                <a:spcPts val="0"/>
              </a:spcAft>
              <a:buClr>
                <a:srgbClr val="585858"/>
              </a:buClr>
              <a:buSzPts val="1000"/>
              <a:buFont typeface="Arial"/>
              <a:buNone/>
              <a:defRPr sz="1333" b="0" i="0" u="none" strike="noStrike" cap="none">
                <a:solidFill>
                  <a:srgbClr val="585858"/>
                </a:solidFill>
                <a:latin typeface="Arial"/>
                <a:ea typeface="Arial"/>
                <a:cs typeface="Arial"/>
                <a:sym typeface="Arial"/>
              </a:defRPr>
            </a:lvl8pPr>
            <a:lvl9pPr marL="0" marR="0" lvl="8" indent="0" algn="r" rtl="0">
              <a:lnSpc>
                <a:spcPct val="100000"/>
              </a:lnSpc>
              <a:spcBef>
                <a:spcPts val="0"/>
              </a:spcBef>
              <a:spcAft>
                <a:spcPts val="0"/>
              </a:spcAft>
              <a:buClr>
                <a:srgbClr val="585858"/>
              </a:buClr>
              <a:buSzPts val="1000"/>
              <a:buFont typeface="Arial"/>
              <a:buNone/>
              <a:defRPr sz="1333" b="0" i="0" u="none" strike="noStrike" cap="none">
                <a:solidFill>
                  <a:srgbClr val="585858"/>
                </a:solidFill>
                <a:latin typeface="Arial"/>
                <a:ea typeface="Arial"/>
                <a:cs typeface="Arial"/>
                <a:sym typeface="Arial"/>
              </a:defRPr>
            </a:lvl9pPr>
          </a:lstStyle>
          <a:p>
            <a:fld id="{00000000-1234-1234-1234-123412341234}" type="slidenum">
              <a:rPr lang="en" smtClean="0"/>
              <a:pPr/>
              <a:t>‹#›</a:t>
            </a:fld>
            <a:endParaRPr lang="en" sz="1867">
              <a:solidFill>
                <a:srgbClr val="000000"/>
              </a:solidFill>
            </a:endParaRPr>
          </a:p>
        </p:txBody>
      </p:sp>
    </p:spTree>
    <p:extLst>
      <p:ext uri="{BB962C8B-B14F-4D97-AF65-F5344CB8AC3E}">
        <p14:creationId xmlns:p14="http://schemas.microsoft.com/office/powerpoint/2010/main" val="395888034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matchingName="Big Title - Dark">
  <p:cSld name="Big Title - Dark">
    <p:bg>
      <p:bgPr>
        <a:solidFill>
          <a:srgbClr val="000000"/>
        </a:solidFill>
        <a:effectLst/>
      </p:bgPr>
    </p:bg>
    <p:spTree>
      <p:nvGrpSpPr>
        <p:cNvPr id="1" name="Shape 5015"/>
        <p:cNvGrpSpPr/>
        <p:nvPr/>
      </p:nvGrpSpPr>
      <p:grpSpPr>
        <a:xfrm>
          <a:off x="0" y="0"/>
          <a:ext cx="0" cy="0"/>
          <a:chOff x="0" y="0"/>
          <a:chExt cx="0" cy="0"/>
        </a:xfrm>
      </p:grpSpPr>
      <p:sp>
        <p:nvSpPr>
          <p:cNvPr id="5016" name="Google Shape;5016;p247"/>
          <p:cNvSpPr txBox="1">
            <a:spLocks noGrp="1"/>
          </p:cNvSpPr>
          <p:nvPr>
            <p:ph type="title"/>
          </p:nvPr>
        </p:nvSpPr>
        <p:spPr>
          <a:xfrm>
            <a:off x="609600" y="685800"/>
            <a:ext cx="10972800" cy="5486400"/>
          </a:xfrm>
          <a:prstGeom prst="rect">
            <a:avLst/>
          </a:prstGeom>
          <a:noFill/>
          <a:ln>
            <a:noFill/>
          </a:ln>
        </p:spPr>
        <p:txBody>
          <a:bodyPr spcFirstLastPara="1" wrap="square" lIns="19050" tIns="19050" rIns="19050" bIns="19050" anchor="ctr" anchorCtr="0">
            <a:noAutofit/>
          </a:bodyPr>
          <a:lstStyle>
            <a:lvl1pPr lvl="0" algn="l" rtl="0">
              <a:lnSpc>
                <a:spcPct val="100000"/>
              </a:lnSpc>
              <a:spcBef>
                <a:spcPts val="0"/>
              </a:spcBef>
              <a:spcAft>
                <a:spcPts val="0"/>
              </a:spcAft>
              <a:buClr>
                <a:srgbClr val="FFFFFF"/>
              </a:buClr>
              <a:buSzPts val="4800"/>
              <a:buFont typeface="Helvetica Neue"/>
              <a:buNone/>
              <a:defRPr sz="6400" b="1">
                <a:solidFill>
                  <a:srgbClr val="FFFFFF"/>
                </a:solidFill>
              </a:defRPr>
            </a:lvl1pPr>
            <a:lvl2pPr lvl="1" algn="l" rtl="0">
              <a:lnSpc>
                <a:spcPct val="100000"/>
              </a:lnSpc>
              <a:spcBef>
                <a:spcPts val="0"/>
              </a:spcBef>
              <a:spcAft>
                <a:spcPts val="0"/>
              </a:spcAft>
              <a:buClr>
                <a:srgbClr val="005CC5"/>
              </a:buClr>
              <a:buSzPts val="700"/>
              <a:buNone/>
              <a:defRPr/>
            </a:lvl2pPr>
            <a:lvl3pPr lvl="2" algn="l" rtl="0">
              <a:lnSpc>
                <a:spcPct val="100000"/>
              </a:lnSpc>
              <a:spcBef>
                <a:spcPts val="0"/>
              </a:spcBef>
              <a:spcAft>
                <a:spcPts val="0"/>
              </a:spcAft>
              <a:buClr>
                <a:srgbClr val="005CC5"/>
              </a:buClr>
              <a:buSzPts val="700"/>
              <a:buNone/>
              <a:defRPr/>
            </a:lvl3pPr>
            <a:lvl4pPr lvl="3" algn="l" rtl="0">
              <a:lnSpc>
                <a:spcPct val="100000"/>
              </a:lnSpc>
              <a:spcBef>
                <a:spcPts val="0"/>
              </a:spcBef>
              <a:spcAft>
                <a:spcPts val="0"/>
              </a:spcAft>
              <a:buClr>
                <a:srgbClr val="005CC5"/>
              </a:buClr>
              <a:buSzPts val="700"/>
              <a:buNone/>
              <a:defRPr/>
            </a:lvl4pPr>
            <a:lvl5pPr lvl="4" algn="l" rtl="0">
              <a:lnSpc>
                <a:spcPct val="100000"/>
              </a:lnSpc>
              <a:spcBef>
                <a:spcPts val="0"/>
              </a:spcBef>
              <a:spcAft>
                <a:spcPts val="0"/>
              </a:spcAft>
              <a:buClr>
                <a:srgbClr val="005CC5"/>
              </a:buClr>
              <a:buSzPts val="700"/>
              <a:buNone/>
              <a:defRPr/>
            </a:lvl5pPr>
            <a:lvl6pPr lvl="5" algn="l" rtl="0">
              <a:lnSpc>
                <a:spcPct val="100000"/>
              </a:lnSpc>
              <a:spcBef>
                <a:spcPts val="0"/>
              </a:spcBef>
              <a:spcAft>
                <a:spcPts val="0"/>
              </a:spcAft>
              <a:buClr>
                <a:srgbClr val="005CC5"/>
              </a:buClr>
              <a:buSzPts val="700"/>
              <a:buNone/>
              <a:defRPr/>
            </a:lvl6pPr>
            <a:lvl7pPr lvl="6" algn="l" rtl="0">
              <a:lnSpc>
                <a:spcPct val="100000"/>
              </a:lnSpc>
              <a:spcBef>
                <a:spcPts val="0"/>
              </a:spcBef>
              <a:spcAft>
                <a:spcPts val="0"/>
              </a:spcAft>
              <a:buClr>
                <a:srgbClr val="005CC5"/>
              </a:buClr>
              <a:buSzPts val="700"/>
              <a:buNone/>
              <a:defRPr/>
            </a:lvl7pPr>
            <a:lvl8pPr lvl="7" algn="l" rtl="0">
              <a:lnSpc>
                <a:spcPct val="100000"/>
              </a:lnSpc>
              <a:spcBef>
                <a:spcPts val="0"/>
              </a:spcBef>
              <a:spcAft>
                <a:spcPts val="0"/>
              </a:spcAft>
              <a:buClr>
                <a:srgbClr val="005CC5"/>
              </a:buClr>
              <a:buSzPts val="700"/>
              <a:buNone/>
              <a:defRPr/>
            </a:lvl8pPr>
            <a:lvl9pPr lvl="8" algn="l" rtl="0">
              <a:lnSpc>
                <a:spcPct val="100000"/>
              </a:lnSpc>
              <a:spcBef>
                <a:spcPts val="0"/>
              </a:spcBef>
              <a:spcAft>
                <a:spcPts val="0"/>
              </a:spcAft>
              <a:buClr>
                <a:srgbClr val="005CC5"/>
              </a:buClr>
              <a:buSzPts val="700"/>
              <a:buNone/>
              <a:defRPr/>
            </a:lvl9pPr>
          </a:lstStyle>
          <a:p>
            <a:endParaRPr/>
          </a:p>
        </p:txBody>
      </p:sp>
      <p:sp>
        <p:nvSpPr>
          <p:cNvPr id="5017" name="Google Shape;5017;p247"/>
          <p:cNvSpPr txBox="1">
            <a:spLocks noGrp="1"/>
          </p:cNvSpPr>
          <p:nvPr>
            <p:ph type="sldNum" idx="12"/>
          </p:nvPr>
        </p:nvSpPr>
        <p:spPr>
          <a:xfrm>
            <a:off x="5892800" y="6172200"/>
            <a:ext cx="2844800" cy="368400"/>
          </a:xfrm>
          <a:prstGeom prst="rect">
            <a:avLst/>
          </a:prstGeom>
          <a:noFill/>
          <a:ln>
            <a:noFill/>
          </a:ln>
        </p:spPr>
        <p:txBody>
          <a:bodyPr spcFirstLastPara="1" wrap="square" lIns="45725" tIns="45725" rIns="45725" bIns="45725" anchor="ctr" anchorCtr="0">
            <a:noAutofit/>
          </a:bodyPr>
          <a:lstStyle>
            <a:lvl1pPr marL="0" marR="0" lvl="0" indent="0" algn="r" rtl="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6428248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matchingName="6. Presentation title">
  <p:cSld name="6. Presentation title">
    <p:spTree>
      <p:nvGrpSpPr>
        <p:cNvPr id="1" name="Shape 33"/>
        <p:cNvGrpSpPr/>
        <p:nvPr/>
      </p:nvGrpSpPr>
      <p:grpSpPr>
        <a:xfrm>
          <a:off x="0" y="0"/>
          <a:ext cx="0" cy="0"/>
          <a:chOff x="0" y="0"/>
          <a:chExt cx="0" cy="0"/>
        </a:xfrm>
      </p:grpSpPr>
      <p:pic>
        <p:nvPicPr>
          <p:cNvPr id="34" name="Google Shape;34;p2" descr="A picture containing night sky&#10;&#10;Description automatically generated"/>
          <p:cNvPicPr preferRelativeResize="0"/>
          <p:nvPr/>
        </p:nvPicPr>
        <p:blipFill rotWithShape="1">
          <a:blip r:embed="rId2">
            <a:alphaModFix/>
          </a:blip>
          <a:srcRect/>
          <a:stretch/>
        </p:blipFill>
        <p:spPr>
          <a:xfrm>
            <a:off x="0" y="1786"/>
            <a:ext cx="12191997" cy="6854430"/>
          </a:xfrm>
          <a:prstGeom prst="rect">
            <a:avLst/>
          </a:prstGeom>
          <a:noFill/>
          <a:ln>
            <a:noFill/>
          </a:ln>
        </p:spPr>
      </p:pic>
      <p:pic>
        <p:nvPicPr>
          <p:cNvPr id="35" name="Google Shape;35;p2"/>
          <p:cNvPicPr preferRelativeResize="0"/>
          <p:nvPr/>
        </p:nvPicPr>
        <p:blipFill rotWithShape="1">
          <a:blip r:embed="rId3">
            <a:alphaModFix/>
          </a:blip>
          <a:srcRect t="99" b="109"/>
          <a:stretch/>
        </p:blipFill>
        <p:spPr>
          <a:xfrm>
            <a:off x="649517" y="659704"/>
            <a:ext cx="703161" cy="685800"/>
          </a:xfrm>
          <a:prstGeom prst="rect">
            <a:avLst/>
          </a:prstGeom>
          <a:noFill/>
          <a:ln>
            <a:noFill/>
          </a:ln>
        </p:spPr>
      </p:pic>
      <p:sp>
        <p:nvSpPr>
          <p:cNvPr id="36" name="Google Shape;36;p2"/>
          <p:cNvSpPr txBox="1">
            <a:spLocks noGrp="1"/>
          </p:cNvSpPr>
          <p:nvPr>
            <p:ph type="title"/>
          </p:nvPr>
        </p:nvSpPr>
        <p:spPr>
          <a:xfrm>
            <a:off x="649515" y="2266950"/>
            <a:ext cx="9144000" cy="2324000"/>
          </a:xfrm>
          <a:prstGeom prst="rect">
            <a:avLst/>
          </a:prstGeom>
          <a:noFill/>
          <a:ln>
            <a:noFill/>
          </a:ln>
        </p:spPr>
        <p:txBody>
          <a:bodyPr spcFirstLastPara="1" wrap="square" lIns="34275" tIns="17150" rIns="34275" bIns="17150" anchor="ctr" anchorCtr="0">
            <a:noAutofit/>
          </a:bodyPr>
          <a:lstStyle>
            <a:lvl1pPr marR="0" lvl="0" algn="l">
              <a:lnSpc>
                <a:spcPct val="80000"/>
              </a:lnSpc>
              <a:spcBef>
                <a:spcPts val="0"/>
              </a:spcBef>
              <a:spcAft>
                <a:spcPts val="0"/>
              </a:spcAft>
              <a:buClr>
                <a:schemeClr val="dk1"/>
              </a:buClr>
              <a:buSzPts val="4400"/>
              <a:buFont typeface="Arial"/>
              <a:buNone/>
              <a:defRPr sz="5861"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9pPr>
          </a:lstStyle>
          <a:p>
            <a:endParaRPr/>
          </a:p>
        </p:txBody>
      </p:sp>
      <p:sp>
        <p:nvSpPr>
          <p:cNvPr id="37" name="Google Shape;37;p2"/>
          <p:cNvSpPr txBox="1">
            <a:spLocks noGrp="1"/>
          </p:cNvSpPr>
          <p:nvPr>
            <p:ph type="subTitle" idx="1"/>
          </p:nvPr>
        </p:nvSpPr>
        <p:spPr>
          <a:xfrm>
            <a:off x="646176" y="5583936"/>
            <a:ext cx="6827600" cy="792400"/>
          </a:xfrm>
          <a:prstGeom prst="rect">
            <a:avLst/>
          </a:prstGeom>
          <a:noFill/>
          <a:ln>
            <a:noFill/>
          </a:ln>
        </p:spPr>
        <p:txBody>
          <a:bodyPr spcFirstLastPara="1" wrap="square" lIns="91425" tIns="91425" rIns="91425" bIns="91425" anchor="t" anchorCtr="0">
            <a:noAutofit/>
          </a:bodyPr>
          <a:lstStyle>
            <a:lvl1pPr marR="0" lvl="0" algn="l">
              <a:lnSpc>
                <a:spcPct val="10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400"/>
              <a:buFont typeface="Arial"/>
              <a:buNone/>
              <a:defRPr>
                <a:solidFill>
                  <a:schemeClr val="dk1"/>
                </a:solidFill>
              </a:defRPr>
            </a:lvl2pPr>
            <a:lvl3pPr lvl="2" algn="l">
              <a:lnSpc>
                <a:spcPct val="90000"/>
              </a:lnSpc>
              <a:spcBef>
                <a:spcPts val="0"/>
              </a:spcBef>
              <a:spcAft>
                <a:spcPts val="0"/>
              </a:spcAft>
              <a:buClr>
                <a:schemeClr val="dk1"/>
              </a:buClr>
              <a:buSzPts val="1400"/>
              <a:buFont typeface="Arial"/>
              <a:buNone/>
              <a:defRPr>
                <a:solidFill>
                  <a:schemeClr val="dk1"/>
                </a:solidFill>
              </a:defRPr>
            </a:lvl3pPr>
            <a:lvl4pPr lvl="3" algn="l">
              <a:lnSpc>
                <a:spcPct val="90000"/>
              </a:lnSpc>
              <a:spcBef>
                <a:spcPts val="0"/>
              </a:spcBef>
              <a:spcAft>
                <a:spcPts val="0"/>
              </a:spcAft>
              <a:buClr>
                <a:schemeClr val="dk1"/>
              </a:buClr>
              <a:buSzPts val="1400"/>
              <a:buFont typeface="Arial"/>
              <a:buNone/>
              <a:defRPr>
                <a:solidFill>
                  <a:schemeClr val="dk1"/>
                </a:solidFill>
              </a:defRPr>
            </a:lvl4pPr>
            <a:lvl5pPr lvl="4" algn="l">
              <a:lnSpc>
                <a:spcPct val="90000"/>
              </a:lnSpc>
              <a:spcBef>
                <a:spcPts val="0"/>
              </a:spcBef>
              <a:spcAft>
                <a:spcPts val="0"/>
              </a:spcAft>
              <a:buClr>
                <a:schemeClr val="dk1"/>
              </a:buClr>
              <a:buSzPts val="1400"/>
              <a:buFont typeface="Arial"/>
              <a:buNone/>
              <a:defRPr>
                <a:solidFill>
                  <a:schemeClr val="dk1"/>
                </a:solidFill>
              </a:defRPr>
            </a:lvl5pPr>
            <a:lvl6pPr lvl="5" algn="l">
              <a:lnSpc>
                <a:spcPct val="90000"/>
              </a:lnSpc>
              <a:spcBef>
                <a:spcPts val="0"/>
              </a:spcBef>
              <a:spcAft>
                <a:spcPts val="0"/>
              </a:spcAft>
              <a:buClr>
                <a:schemeClr val="dk1"/>
              </a:buClr>
              <a:buSzPts val="1400"/>
              <a:buNone/>
              <a:defRPr>
                <a:solidFill>
                  <a:schemeClr val="dk1"/>
                </a:solidFill>
              </a:defRPr>
            </a:lvl6pPr>
            <a:lvl7pPr lvl="6" algn="l">
              <a:lnSpc>
                <a:spcPct val="90000"/>
              </a:lnSpc>
              <a:spcBef>
                <a:spcPts val="0"/>
              </a:spcBef>
              <a:spcAft>
                <a:spcPts val="0"/>
              </a:spcAft>
              <a:buClr>
                <a:schemeClr val="dk1"/>
              </a:buClr>
              <a:buSzPts val="1400"/>
              <a:buNone/>
              <a:defRPr>
                <a:solidFill>
                  <a:schemeClr val="dk1"/>
                </a:solidFill>
              </a:defRPr>
            </a:lvl7pPr>
            <a:lvl8pPr lvl="7" algn="l">
              <a:lnSpc>
                <a:spcPct val="90000"/>
              </a:lnSpc>
              <a:spcBef>
                <a:spcPts val="0"/>
              </a:spcBef>
              <a:spcAft>
                <a:spcPts val="0"/>
              </a:spcAft>
              <a:buClr>
                <a:schemeClr val="dk1"/>
              </a:buClr>
              <a:buSzPts val="1400"/>
              <a:buNone/>
              <a:defRPr>
                <a:solidFill>
                  <a:schemeClr val="dk1"/>
                </a:solidFill>
              </a:defRPr>
            </a:lvl8pPr>
            <a:lvl9pPr lvl="8" algn="l">
              <a:lnSpc>
                <a:spcPct val="90000"/>
              </a:lnSpc>
              <a:spcBef>
                <a:spcPts val="0"/>
              </a:spcBef>
              <a:spcAft>
                <a:spcPts val="0"/>
              </a:spcAft>
              <a:buClr>
                <a:schemeClr val="dk1"/>
              </a:buClr>
              <a:buSzPts val="1400"/>
              <a:buNone/>
              <a:defRPr>
                <a:solidFill>
                  <a:schemeClr val="dk1"/>
                </a:solidFill>
              </a:defRPr>
            </a:lvl9pPr>
          </a:lstStyle>
          <a:p>
            <a:endParaRPr/>
          </a:p>
        </p:txBody>
      </p:sp>
    </p:spTree>
    <p:extLst>
      <p:ext uri="{BB962C8B-B14F-4D97-AF65-F5344CB8AC3E}">
        <p14:creationId xmlns:p14="http://schemas.microsoft.com/office/powerpoint/2010/main" val="127936402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matchingName="03-Blank-Dark-Gradient 1">
  <p:cSld name="03-Blank-Dark-Gradient 1">
    <p:bg>
      <p:bgPr>
        <a:solidFill>
          <a:srgbClr val="040D22"/>
        </a:solidFill>
        <a:effectLst/>
      </p:bgPr>
    </p:bg>
    <p:spTree>
      <p:nvGrpSpPr>
        <p:cNvPr id="1" name="Shape 38"/>
        <p:cNvGrpSpPr/>
        <p:nvPr/>
      </p:nvGrpSpPr>
      <p:grpSpPr>
        <a:xfrm>
          <a:off x="0" y="0"/>
          <a:ext cx="0" cy="0"/>
          <a:chOff x="0" y="0"/>
          <a:chExt cx="0" cy="0"/>
        </a:xfrm>
      </p:grpSpPr>
      <p:pic>
        <p:nvPicPr>
          <p:cNvPr id="39" name="Google Shape;39;p3"/>
          <p:cNvPicPr preferRelativeResize="0"/>
          <p:nvPr/>
        </p:nvPicPr>
        <p:blipFill rotWithShape="1">
          <a:blip r:embed="rId2">
            <a:alphaModFix/>
          </a:blip>
          <a:srcRect t="159" b="159"/>
          <a:stretch/>
        </p:blipFill>
        <p:spPr>
          <a:xfrm>
            <a:off x="0" y="0"/>
            <a:ext cx="12191997" cy="6851657"/>
          </a:xfrm>
          <a:prstGeom prst="rect">
            <a:avLst/>
          </a:prstGeom>
          <a:noFill/>
          <a:ln>
            <a:noFill/>
          </a:ln>
        </p:spPr>
      </p:pic>
      <p:sp>
        <p:nvSpPr>
          <p:cNvPr id="40" name="Google Shape;40;p3"/>
          <p:cNvSpPr txBox="1"/>
          <p:nvPr/>
        </p:nvSpPr>
        <p:spPr>
          <a:xfrm>
            <a:off x="8989076" y="6252887"/>
            <a:ext cx="2402800" cy="365661"/>
          </a:xfrm>
          <a:prstGeom prst="rect">
            <a:avLst/>
          </a:prstGeom>
          <a:noFill/>
          <a:ln>
            <a:noFill/>
          </a:ln>
        </p:spPr>
        <p:txBody>
          <a:bodyPr spcFirstLastPara="1" wrap="square" lIns="25377" tIns="25377" rIns="25377" bIns="25377" anchor="ctr" anchorCtr="0">
            <a:noAutofit/>
          </a:bodyPr>
          <a:lstStyle/>
          <a:p>
            <a:pPr marL="0" marR="0" lvl="0" indent="0" algn="r" rtl="0">
              <a:lnSpc>
                <a:spcPct val="100000"/>
              </a:lnSpc>
              <a:spcBef>
                <a:spcPts val="0"/>
              </a:spcBef>
              <a:spcAft>
                <a:spcPts val="0"/>
              </a:spcAft>
              <a:buClr>
                <a:srgbClr val="8B939E"/>
              </a:buClr>
              <a:buSzPts val="700"/>
              <a:buFont typeface="Arial"/>
              <a:buNone/>
            </a:pPr>
            <a:endParaRPr sz="932">
              <a:latin typeface="Roboto Mono"/>
              <a:ea typeface="Roboto Mono"/>
              <a:cs typeface="Roboto Mono"/>
              <a:sym typeface="Roboto Mono"/>
            </a:endParaRPr>
          </a:p>
        </p:txBody>
      </p:sp>
      <p:sp>
        <p:nvSpPr>
          <p:cNvPr id="41" name="Google Shape;41;p3"/>
          <p:cNvSpPr txBox="1">
            <a:spLocks noGrp="1"/>
          </p:cNvSpPr>
          <p:nvPr>
            <p:ph type="subTitle" idx="1"/>
          </p:nvPr>
        </p:nvSpPr>
        <p:spPr>
          <a:xfrm>
            <a:off x="649500" y="5780149"/>
            <a:ext cx="7453200" cy="436017"/>
          </a:xfrm>
          <a:prstGeom prst="rect">
            <a:avLst/>
          </a:prstGeom>
        </p:spPr>
        <p:txBody>
          <a:bodyPr spcFirstLastPara="1" wrap="square" lIns="0" tIns="0" rIns="0" bIns="0" anchor="t" anchorCtr="0">
            <a:spAutoFit/>
          </a:bodyPr>
          <a:lstStyle>
            <a:lvl1pPr lvl="0" rtl="0">
              <a:lnSpc>
                <a:spcPct val="125000"/>
              </a:lnSpc>
              <a:spcBef>
                <a:spcPts val="999"/>
              </a:spcBef>
              <a:spcAft>
                <a:spcPts val="0"/>
              </a:spcAft>
              <a:buSzPts val="1600"/>
              <a:buFont typeface="Roboto Mono"/>
              <a:buNone/>
              <a:defRPr>
                <a:latin typeface="Roboto Mono"/>
                <a:ea typeface="Roboto Mono"/>
                <a:cs typeface="Roboto Mono"/>
                <a:sym typeface="Roboto Mono"/>
              </a:defRPr>
            </a:lvl1pPr>
            <a:lvl2pPr lvl="1" rtl="0">
              <a:spcBef>
                <a:spcPts val="500"/>
              </a:spcBef>
              <a:spcAft>
                <a:spcPts val="0"/>
              </a:spcAft>
              <a:buSzPts val="1400"/>
              <a:buNone/>
              <a:defRPr/>
            </a:lvl2pPr>
            <a:lvl3pPr lvl="2" rtl="0">
              <a:spcBef>
                <a:spcPts val="500"/>
              </a:spcBef>
              <a:spcAft>
                <a:spcPts val="0"/>
              </a:spcAft>
              <a:buSzPts val="1200"/>
              <a:buNone/>
              <a:defRPr/>
            </a:lvl3pPr>
            <a:lvl4pPr lvl="3" rtl="0">
              <a:spcBef>
                <a:spcPts val="500"/>
              </a:spcBef>
              <a:spcAft>
                <a:spcPts val="0"/>
              </a:spcAft>
              <a:buSzPts val="1000"/>
              <a:buNone/>
              <a:defRPr/>
            </a:lvl4pPr>
            <a:lvl5pPr lvl="4" rtl="0">
              <a:spcBef>
                <a:spcPts val="500"/>
              </a:spcBef>
              <a:spcAft>
                <a:spcPts val="0"/>
              </a:spcAft>
              <a:buSzPts val="1000"/>
              <a:buNone/>
              <a:defRPr/>
            </a:lvl5pPr>
            <a:lvl6pPr lvl="5" rtl="0">
              <a:spcBef>
                <a:spcPts val="500"/>
              </a:spcBef>
              <a:spcAft>
                <a:spcPts val="0"/>
              </a:spcAft>
              <a:buSzPts val="1350"/>
              <a:buNone/>
              <a:defRPr/>
            </a:lvl6pPr>
            <a:lvl7pPr lvl="6" rtl="0">
              <a:spcBef>
                <a:spcPts val="500"/>
              </a:spcBef>
              <a:spcAft>
                <a:spcPts val="0"/>
              </a:spcAft>
              <a:buSzPts val="1350"/>
              <a:buNone/>
              <a:defRPr/>
            </a:lvl7pPr>
            <a:lvl8pPr lvl="7" rtl="0">
              <a:spcBef>
                <a:spcPts val="500"/>
              </a:spcBef>
              <a:spcAft>
                <a:spcPts val="0"/>
              </a:spcAft>
              <a:buSzPts val="1350"/>
              <a:buNone/>
              <a:defRPr/>
            </a:lvl8pPr>
            <a:lvl9pPr lvl="8" rtl="0">
              <a:spcBef>
                <a:spcPts val="500"/>
              </a:spcBef>
              <a:spcAft>
                <a:spcPts val="0"/>
              </a:spcAft>
              <a:buSzPts val="1350"/>
              <a:buNone/>
              <a:defRPr/>
            </a:lvl9pPr>
          </a:lstStyle>
          <a:p>
            <a:endParaRPr/>
          </a:p>
        </p:txBody>
      </p:sp>
      <p:sp>
        <p:nvSpPr>
          <p:cNvPr id="42" name="Google Shape;42;p3"/>
          <p:cNvSpPr txBox="1">
            <a:spLocks noGrp="1"/>
          </p:cNvSpPr>
          <p:nvPr>
            <p:ph type="title"/>
          </p:nvPr>
        </p:nvSpPr>
        <p:spPr>
          <a:xfrm>
            <a:off x="649488" y="2840304"/>
            <a:ext cx="8999600" cy="983987"/>
          </a:xfrm>
          <a:prstGeom prst="rect">
            <a:avLst/>
          </a:prstGeom>
        </p:spPr>
        <p:txBody>
          <a:bodyPr spcFirstLastPara="1" wrap="square" lIns="0" tIns="0" rIns="0" bIns="0" anchor="t" anchorCtr="0">
            <a:spAutoFit/>
          </a:bodyPr>
          <a:lstStyle>
            <a:lvl1pPr lvl="0" rtl="0">
              <a:lnSpc>
                <a:spcPct val="80000"/>
              </a:lnSpc>
              <a:spcBef>
                <a:spcPts val="0"/>
              </a:spcBef>
              <a:spcAft>
                <a:spcPts val="0"/>
              </a:spcAft>
              <a:buSzPts val="6000"/>
              <a:buNone/>
              <a:defRPr sz="7993" b="1"/>
            </a:lvl1pPr>
            <a:lvl2pPr lvl="1" rtl="0">
              <a:lnSpc>
                <a:spcPct val="80000"/>
              </a:lnSpc>
              <a:spcBef>
                <a:spcPts val="0"/>
              </a:spcBef>
              <a:spcAft>
                <a:spcPts val="0"/>
              </a:spcAft>
              <a:buClr>
                <a:schemeClr val="lt1"/>
              </a:buClr>
              <a:buSzPts val="6000"/>
              <a:buNone/>
              <a:defRPr sz="7993" b="1">
                <a:solidFill>
                  <a:schemeClr val="lt1"/>
                </a:solidFill>
              </a:defRPr>
            </a:lvl2pPr>
            <a:lvl3pPr lvl="2" rtl="0">
              <a:lnSpc>
                <a:spcPct val="80000"/>
              </a:lnSpc>
              <a:spcBef>
                <a:spcPts val="0"/>
              </a:spcBef>
              <a:spcAft>
                <a:spcPts val="0"/>
              </a:spcAft>
              <a:buClr>
                <a:schemeClr val="lt1"/>
              </a:buClr>
              <a:buSzPts val="6000"/>
              <a:buNone/>
              <a:defRPr sz="7993" b="1">
                <a:solidFill>
                  <a:schemeClr val="lt1"/>
                </a:solidFill>
              </a:defRPr>
            </a:lvl3pPr>
            <a:lvl4pPr lvl="3" rtl="0">
              <a:lnSpc>
                <a:spcPct val="80000"/>
              </a:lnSpc>
              <a:spcBef>
                <a:spcPts val="0"/>
              </a:spcBef>
              <a:spcAft>
                <a:spcPts val="0"/>
              </a:spcAft>
              <a:buClr>
                <a:schemeClr val="lt1"/>
              </a:buClr>
              <a:buSzPts val="6000"/>
              <a:buNone/>
              <a:defRPr sz="7993" b="1">
                <a:solidFill>
                  <a:schemeClr val="lt1"/>
                </a:solidFill>
              </a:defRPr>
            </a:lvl4pPr>
            <a:lvl5pPr lvl="4" rtl="0">
              <a:lnSpc>
                <a:spcPct val="80000"/>
              </a:lnSpc>
              <a:spcBef>
                <a:spcPts val="0"/>
              </a:spcBef>
              <a:spcAft>
                <a:spcPts val="0"/>
              </a:spcAft>
              <a:buClr>
                <a:schemeClr val="lt1"/>
              </a:buClr>
              <a:buSzPts val="6000"/>
              <a:buNone/>
              <a:defRPr sz="7993" b="1">
                <a:solidFill>
                  <a:schemeClr val="lt1"/>
                </a:solidFill>
              </a:defRPr>
            </a:lvl5pPr>
            <a:lvl6pPr lvl="5" rtl="0">
              <a:lnSpc>
                <a:spcPct val="80000"/>
              </a:lnSpc>
              <a:spcBef>
                <a:spcPts val="0"/>
              </a:spcBef>
              <a:spcAft>
                <a:spcPts val="0"/>
              </a:spcAft>
              <a:buClr>
                <a:schemeClr val="lt1"/>
              </a:buClr>
              <a:buSzPts val="6000"/>
              <a:buNone/>
              <a:defRPr sz="7993" b="1">
                <a:solidFill>
                  <a:schemeClr val="lt1"/>
                </a:solidFill>
              </a:defRPr>
            </a:lvl6pPr>
            <a:lvl7pPr lvl="6" rtl="0">
              <a:lnSpc>
                <a:spcPct val="80000"/>
              </a:lnSpc>
              <a:spcBef>
                <a:spcPts val="0"/>
              </a:spcBef>
              <a:spcAft>
                <a:spcPts val="0"/>
              </a:spcAft>
              <a:buClr>
                <a:schemeClr val="lt1"/>
              </a:buClr>
              <a:buSzPts val="6000"/>
              <a:buNone/>
              <a:defRPr sz="7993" b="1">
                <a:solidFill>
                  <a:schemeClr val="lt1"/>
                </a:solidFill>
              </a:defRPr>
            </a:lvl7pPr>
            <a:lvl8pPr lvl="7" rtl="0">
              <a:lnSpc>
                <a:spcPct val="80000"/>
              </a:lnSpc>
              <a:spcBef>
                <a:spcPts val="0"/>
              </a:spcBef>
              <a:spcAft>
                <a:spcPts val="0"/>
              </a:spcAft>
              <a:buClr>
                <a:schemeClr val="lt1"/>
              </a:buClr>
              <a:buSzPts val="6000"/>
              <a:buNone/>
              <a:defRPr sz="7993" b="1">
                <a:solidFill>
                  <a:schemeClr val="lt1"/>
                </a:solidFill>
              </a:defRPr>
            </a:lvl8pPr>
            <a:lvl9pPr lvl="8" rtl="0">
              <a:lnSpc>
                <a:spcPct val="80000"/>
              </a:lnSpc>
              <a:spcBef>
                <a:spcPts val="0"/>
              </a:spcBef>
              <a:spcAft>
                <a:spcPts val="0"/>
              </a:spcAft>
              <a:buClr>
                <a:schemeClr val="lt1"/>
              </a:buClr>
              <a:buSzPts val="6000"/>
              <a:buNone/>
              <a:defRPr sz="7993" b="1">
                <a:solidFill>
                  <a:schemeClr val="lt1"/>
                </a:solidFill>
              </a:defRPr>
            </a:lvl9pPr>
          </a:lstStyle>
          <a:p>
            <a:endParaRPr/>
          </a:p>
        </p:txBody>
      </p:sp>
      <p:pic>
        <p:nvPicPr>
          <p:cNvPr id="43" name="Google Shape;43;p3" descr="Image"/>
          <p:cNvPicPr preferRelativeResize="0"/>
          <p:nvPr/>
        </p:nvPicPr>
        <p:blipFill rotWithShape="1">
          <a:blip r:embed="rId3">
            <a:alphaModFix/>
          </a:blip>
          <a:srcRect/>
          <a:stretch/>
        </p:blipFill>
        <p:spPr>
          <a:xfrm>
            <a:off x="649517" y="659704"/>
            <a:ext cx="703161" cy="685800"/>
          </a:xfrm>
          <a:prstGeom prst="rect">
            <a:avLst/>
          </a:prstGeom>
          <a:noFill/>
          <a:ln>
            <a:noFill/>
          </a:ln>
        </p:spPr>
      </p:pic>
    </p:spTree>
    <p:extLst>
      <p:ext uri="{BB962C8B-B14F-4D97-AF65-F5344CB8AC3E}">
        <p14:creationId xmlns:p14="http://schemas.microsoft.com/office/powerpoint/2010/main" val="3125542256"/>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matchingName="34. Three points">
  <p:cSld name="34. Three points">
    <p:spTree>
      <p:nvGrpSpPr>
        <p:cNvPr id="1" name="Shape 44"/>
        <p:cNvGrpSpPr/>
        <p:nvPr/>
      </p:nvGrpSpPr>
      <p:grpSpPr>
        <a:xfrm>
          <a:off x="0" y="0"/>
          <a:ext cx="0" cy="0"/>
          <a:chOff x="0" y="0"/>
          <a:chExt cx="0" cy="0"/>
        </a:xfrm>
      </p:grpSpPr>
      <p:sp>
        <p:nvSpPr>
          <p:cNvPr id="45" name="Google Shape;45;p4"/>
          <p:cNvSpPr/>
          <p:nvPr/>
        </p:nvSpPr>
        <p:spPr>
          <a:xfrm>
            <a:off x="6101715" y="2993858"/>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46" name="Google Shape;46;p4"/>
          <p:cNvSpPr/>
          <p:nvPr/>
        </p:nvSpPr>
        <p:spPr>
          <a:xfrm>
            <a:off x="6101715" y="1933065"/>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47" name="Google Shape;47;p4"/>
          <p:cNvSpPr txBox="1">
            <a:spLocks noGrp="1"/>
          </p:cNvSpPr>
          <p:nvPr>
            <p:ph type="subTitle" idx="1"/>
          </p:nvPr>
        </p:nvSpPr>
        <p:spPr>
          <a:xfrm>
            <a:off x="6969760" y="1856175"/>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8" name="Google Shape;48;p4"/>
          <p:cNvSpPr txBox="1">
            <a:spLocks noGrp="1"/>
          </p:cNvSpPr>
          <p:nvPr>
            <p:ph type="subTitle" idx="2"/>
          </p:nvPr>
        </p:nvSpPr>
        <p:spPr>
          <a:xfrm>
            <a:off x="6969760" y="2270702"/>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49" name="Google Shape;49;p4"/>
          <p:cNvSpPr txBox="1">
            <a:spLocks noGrp="1"/>
          </p:cNvSpPr>
          <p:nvPr>
            <p:ph type="subTitle" idx="3"/>
          </p:nvPr>
        </p:nvSpPr>
        <p:spPr>
          <a:xfrm>
            <a:off x="6969760" y="2929071"/>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0" name="Google Shape;50;p4"/>
          <p:cNvSpPr txBox="1">
            <a:spLocks noGrp="1"/>
          </p:cNvSpPr>
          <p:nvPr>
            <p:ph type="subTitle" idx="4"/>
          </p:nvPr>
        </p:nvSpPr>
        <p:spPr>
          <a:xfrm>
            <a:off x="6969760" y="3343598"/>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51" name="Google Shape;51;p4"/>
          <p:cNvSpPr/>
          <p:nvPr/>
        </p:nvSpPr>
        <p:spPr>
          <a:xfrm>
            <a:off x="6101715" y="4054651"/>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52" name="Google Shape;52;p4"/>
          <p:cNvSpPr txBox="1">
            <a:spLocks noGrp="1"/>
          </p:cNvSpPr>
          <p:nvPr>
            <p:ph type="subTitle" idx="5"/>
          </p:nvPr>
        </p:nvSpPr>
        <p:spPr>
          <a:xfrm>
            <a:off x="6969760" y="3970976"/>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3" name="Google Shape;53;p4"/>
          <p:cNvSpPr txBox="1">
            <a:spLocks noGrp="1"/>
          </p:cNvSpPr>
          <p:nvPr>
            <p:ph type="subTitle" idx="6"/>
          </p:nvPr>
        </p:nvSpPr>
        <p:spPr>
          <a:xfrm>
            <a:off x="6969760" y="4385503"/>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54" name="Google Shape;54;p4"/>
          <p:cNvSpPr txBox="1">
            <a:spLocks noGrp="1"/>
          </p:cNvSpPr>
          <p:nvPr>
            <p:ph type="title"/>
          </p:nvPr>
        </p:nvSpPr>
        <p:spPr>
          <a:xfrm>
            <a:off x="608395" y="2266950"/>
            <a:ext cx="4777600" cy="2324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9pPr>
          </a:lstStyle>
          <a:p>
            <a:endParaRPr/>
          </a:p>
        </p:txBody>
      </p:sp>
      <p:sp>
        <p:nvSpPr>
          <p:cNvPr id="55" name="Google Shape;55;p4"/>
          <p:cNvSpPr>
            <a:spLocks noGrp="1"/>
          </p:cNvSpPr>
          <p:nvPr>
            <p:ph type="pic" idx="7"/>
          </p:nvPr>
        </p:nvSpPr>
        <p:spPr>
          <a:xfrm>
            <a:off x="6254155" y="2083304"/>
            <a:ext cx="426720" cy="426720"/>
          </a:xfrm>
          <a:prstGeom prst="rect">
            <a:avLst/>
          </a:prstGeom>
          <a:noFill/>
          <a:ln>
            <a:noFill/>
          </a:ln>
        </p:spPr>
      </p:sp>
      <p:sp>
        <p:nvSpPr>
          <p:cNvPr id="56" name="Google Shape;56;p4"/>
          <p:cNvSpPr>
            <a:spLocks noGrp="1"/>
          </p:cNvSpPr>
          <p:nvPr>
            <p:ph type="pic" idx="8"/>
          </p:nvPr>
        </p:nvSpPr>
        <p:spPr>
          <a:xfrm>
            <a:off x="6246229" y="3144098"/>
            <a:ext cx="426720" cy="426720"/>
          </a:xfrm>
          <a:prstGeom prst="rect">
            <a:avLst/>
          </a:prstGeom>
          <a:noFill/>
          <a:ln>
            <a:noFill/>
          </a:ln>
        </p:spPr>
      </p:sp>
      <p:sp>
        <p:nvSpPr>
          <p:cNvPr id="57" name="Google Shape;57;p4"/>
          <p:cNvSpPr>
            <a:spLocks noGrp="1"/>
          </p:cNvSpPr>
          <p:nvPr>
            <p:ph type="pic" idx="9"/>
          </p:nvPr>
        </p:nvSpPr>
        <p:spPr>
          <a:xfrm>
            <a:off x="6261457" y="4204891"/>
            <a:ext cx="426720" cy="426720"/>
          </a:xfrm>
          <a:prstGeom prst="rect">
            <a:avLst/>
          </a:prstGeom>
          <a:noFill/>
          <a:ln>
            <a:noFill/>
          </a:ln>
        </p:spPr>
      </p:sp>
    </p:spTree>
    <p:extLst>
      <p:ext uri="{BB962C8B-B14F-4D97-AF65-F5344CB8AC3E}">
        <p14:creationId xmlns:p14="http://schemas.microsoft.com/office/powerpoint/2010/main" val="3562881536"/>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matchingName="2. Blank">
  <p:cSld name="2. Blank">
    <p:spTree>
      <p:nvGrpSpPr>
        <p:cNvPr id="1" name="Shape 58"/>
        <p:cNvGrpSpPr/>
        <p:nvPr/>
      </p:nvGrpSpPr>
      <p:grpSpPr>
        <a:xfrm>
          <a:off x="0" y="0"/>
          <a:ext cx="0" cy="0"/>
          <a:chOff x="0" y="0"/>
          <a:chExt cx="0" cy="0"/>
        </a:xfrm>
      </p:grpSpPr>
    </p:spTree>
    <p:extLst>
      <p:ext uri="{BB962C8B-B14F-4D97-AF65-F5344CB8AC3E}">
        <p14:creationId xmlns:p14="http://schemas.microsoft.com/office/powerpoint/2010/main" val="42404350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2"/>
          <a:srcRect l="21845" r="1145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2B831541-4B5B-4173-87A6-72B1E3CC884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16278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9"/>
        <p:cNvGrpSpPr/>
        <p:nvPr/>
      </p:nvGrpSpPr>
      <p:grpSpPr>
        <a:xfrm>
          <a:off x="0" y="0"/>
          <a:ext cx="0" cy="0"/>
          <a:chOff x="0" y="0"/>
          <a:chExt cx="0" cy="0"/>
        </a:xfrm>
      </p:grpSpPr>
      <p:sp>
        <p:nvSpPr>
          <p:cNvPr id="60" name="Google Shape;60;p6"/>
          <p:cNvSpPr txBox="1">
            <a:spLocks noGrp="1"/>
          </p:cNvSpPr>
          <p:nvPr>
            <p:ph type="title"/>
          </p:nvPr>
        </p:nvSpPr>
        <p:spPr>
          <a:xfrm>
            <a:off x="838200" y="365127"/>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528656813"/>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matchingName="45. Linear checklist (5 marks)">
  <p:cSld name="45. Linear checklist (5 marks)">
    <p:spTree>
      <p:nvGrpSpPr>
        <p:cNvPr id="1" name="Shape 61"/>
        <p:cNvGrpSpPr/>
        <p:nvPr/>
      </p:nvGrpSpPr>
      <p:grpSpPr>
        <a:xfrm>
          <a:off x="0" y="0"/>
          <a:ext cx="0" cy="0"/>
          <a:chOff x="0" y="0"/>
          <a:chExt cx="0" cy="0"/>
        </a:xfrm>
      </p:grpSpPr>
      <p:grpSp>
        <p:nvGrpSpPr>
          <p:cNvPr id="62" name="Google Shape;62;p7"/>
          <p:cNvGrpSpPr/>
          <p:nvPr/>
        </p:nvGrpSpPr>
        <p:grpSpPr>
          <a:xfrm>
            <a:off x="6003038" y="1695830"/>
            <a:ext cx="571500" cy="3474701"/>
            <a:chOff x="4502277" y="1271872"/>
            <a:chExt cx="428625" cy="2606026"/>
          </a:xfrm>
        </p:grpSpPr>
        <p:cxnSp>
          <p:nvCxnSpPr>
            <p:cNvPr id="63" name="Google Shape;63;p7"/>
            <p:cNvCxnSpPr>
              <a:endCxn id="64" idx="0"/>
            </p:cNvCxnSpPr>
            <p:nvPr/>
          </p:nvCxnSpPr>
          <p:spPr>
            <a:xfrm>
              <a:off x="4716590" y="1438673"/>
              <a:ext cx="0" cy="2010600"/>
            </a:xfrm>
            <a:prstGeom prst="straightConnector1">
              <a:avLst/>
            </a:prstGeom>
            <a:noFill/>
            <a:ln w="19050" cap="flat" cmpd="sng">
              <a:solidFill>
                <a:schemeClr val="accent3"/>
              </a:solidFill>
              <a:prstDash val="solid"/>
              <a:round/>
              <a:headEnd type="none" w="sm" len="sm"/>
              <a:tailEnd type="none" w="sm" len="sm"/>
            </a:ln>
          </p:spPr>
        </p:cxnSp>
        <p:sp>
          <p:nvSpPr>
            <p:cNvPr id="65" name="Google Shape;65;p7"/>
            <p:cNvSpPr/>
            <p:nvPr/>
          </p:nvSpPr>
          <p:spPr>
            <a:xfrm>
              <a:off x="4502277" y="2904923"/>
              <a:ext cx="428625" cy="428625"/>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5" b="1" i="0" u="none" strike="noStrike" cap="none">
                <a:solidFill>
                  <a:schemeClr val="dk1"/>
                </a:solidFill>
                <a:latin typeface="Arial"/>
                <a:ea typeface="Arial"/>
                <a:cs typeface="Arial"/>
                <a:sym typeface="Arial"/>
              </a:endParaRPr>
            </a:p>
          </p:txBody>
        </p:sp>
        <p:sp>
          <p:nvSpPr>
            <p:cNvPr id="66" name="Google Shape;66;p7"/>
            <p:cNvSpPr/>
            <p:nvPr/>
          </p:nvSpPr>
          <p:spPr>
            <a:xfrm>
              <a:off x="4502277" y="2360573"/>
              <a:ext cx="428625" cy="428625"/>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5" b="1" i="0" u="none" strike="noStrike" cap="none">
                <a:solidFill>
                  <a:schemeClr val="dk1"/>
                </a:solidFill>
                <a:latin typeface="Arial"/>
                <a:ea typeface="Arial"/>
                <a:cs typeface="Arial"/>
                <a:sym typeface="Arial"/>
              </a:endParaRPr>
            </a:p>
          </p:txBody>
        </p:sp>
        <p:sp>
          <p:nvSpPr>
            <p:cNvPr id="67" name="Google Shape;67;p7"/>
            <p:cNvSpPr/>
            <p:nvPr/>
          </p:nvSpPr>
          <p:spPr>
            <a:xfrm>
              <a:off x="4502277" y="1816222"/>
              <a:ext cx="428625" cy="428625"/>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5" b="1" i="0" u="none" strike="noStrike" cap="none">
                <a:solidFill>
                  <a:schemeClr val="dk1"/>
                </a:solidFill>
                <a:latin typeface="Arial"/>
                <a:ea typeface="Arial"/>
                <a:cs typeface="Arial"/>
                <a:sym typeface="Arial"/>
              </a:endParaRPr>
            </a:p>
          </p:txBody>
        </p:sp>
        <p:sp>
          <p:nvSpPr>
            <p:cNvPr id="68" name="Google Shape;68;p7"/>
            <p:cNvSpPr/>
            <p:nvPr/>
          </p:nvSpPr>
          <p:spPr>
            <a:xfrm>
              <a:off x="4502277" y="1271872"/>
              <a:ext cx="428625" cy="428625"/>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5" b="1" i="0" u="none" strike="noStrike" cap="none">
                <a:solidFill>
                  <a:schemeClr val="dk1"/>
                </a:solidFill>
                <a:latin typeface="Arial"/>
                <a:ea typeface="Arial"/>
                <a:cs typeface="Arial"/>
                <a:sym typeface="Arial"/>
              </a:endParaRPr>
            </a:p>
          </p:txBody>
        </p:sp>
        <p:sp>
          <p:nvSpPr>
            <p:cNvPr id="64" name="Google Shape;64;p7"/>
            <p:cNvSpPr/>
            <p:nvPr/>
          </p:nvSpPr>
          <p:spPr>
            <a:xfrm>
              <a:off x="4502277" y="3449273"/>
              <a:ext cx="428625" cy="428625"/>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5" b="1" i="0" u="none" strike="noStrike" cap="none">
                <a:solidFill>
                  <a:schemeClr val="dk1"/>
                </a:solidFill>
                <a:latin typeface="Arial"/>
                <a:ea typeface="Arial"/>
                <a:cs typeface="Arial"/>
                <a:sym typeface="Arial"/>
              </a:endParaRPr>
            </a:p>
          </p:txBody>
        </p:sp>
        <p:pic>
          <p:nvPicPr>
            <p:cNvPr id="69" name="Google Shape;69;p7"/>
            <p:cNvPicPr preferRelativeResize="0"/>
            <p:nvPr/>
          </p:nvPicPr>
          <p:blipFill rotWithShape="1">
            <a:blip r:embed="rId2">
              <a:alphaModFix/>
            </a:blip>
            <a:srcRect/>
            <a:stretch/>
          </p:blipFill>
          <p:spPr>
            <a:xfrm>
              <a:off x="4630865" y="1423619"/>
              <a:ext cx="171450" cy="125133"/>
            </a:xfrm>
            <a:prstGeom prst="rect">
              <a:avLst/>
            </a:prstGeom>
            <a:noFill/>
            <a:ln>
              <a:noFill/>
            </a:ln>
          </p:spPr>
        </p:pic>
        <p:pic>
          <p:nvPicPr>
            <p:cNvPr id="70" name="Google Shape;70;p7"/>
            <p:cNvPicPr preferRelativeResize="0"/>
            <p:nvPr/>
          </p:nvPicPr>
          <p:blipFill rotWithShape="1">
            <a:blip r:embed="rId2">
              <a:alphaModFix/>
            </a:blip>
            <a:srcRect/>
            <a:stretch/>
          </p:blipFill>
          <p:spPr>
            <a:xfrm>
              <a:off x="4630865" y="1967969"/>
              <a:ext cx="171450" cy="125133"/>
            </a:xfrm>
            <a:prstGeom prst="rect">
              <a:avLst/>
            </a:prstGeom>
            <a:noFill/>
            <a:ln>
              <a:noFill/>
            </a:ln>
          </p:spPr>
        </p:pic>
        <p:pic>
          <p:nvPicPr>
            <p:cNvPr id="71" name="Google Shape;71;p7"/>
            <p:cNvPicPr preferRelativeResize="0"/>
            <p:nvPr/>
          </p:nvPicPr>
          <p:blipFill rotWithShape="1">
            <a:blip r:embed="rId2">
              <a:alphaModFix/>
            </a:blip>
            <a:srcRect/>
            <a:stretch/>
          </p:blipFill>
          <p:spPr>
            <a:xfrm>
              <a:off x="4630865" y="2512319"/>
              <a:ext cx="171450" cy="125133"/>
            </a:xfrm>
            <a:prstGeom prst="rect">
              <a:avLst/>
            </a:prstGeom>
            <a:noFill/>
            <a:ln>
              <a:noFill/>
            </a:ln>
          </p:spPr>
        </p:pic>
        <p:pic>
          <p:nvPicPr>
            <p:cNvPr id="72" name="Google Shape;72;p7"/>
            <p:cNvPicPr preferRelativeResize="0"/>
            <p:nvPr/>
          </p:nvPicPr>
          <p:blipFill rotWithShape="1">
            <a:blip r:embed="rId2">
              <a:alphaModFix/>
            </a:blip>
            <a:srcRect/>
            <a:stretch/>
          </p:blipFill>
          <p:spPr>
            <a:xfrm>
              <a:off x="4630865" y="3056669"/>
              <a:ext cx="171450" cy="125133"/>
            </a:xfrm>
            <a:prstGeom prst="rect">
              <a:avLst/>
            </a:prstGeom>
            <a:noFill/>
            <a:ln>
              <a:noFill/>
            </a:ln>
          </p:spPr>
        </p:pic>
        <p:pic>
          <p:nvPicPr>
            <p:cNvPr id="73" name="Google Shape;73;p7"/>
            <p:cNvPicPr preferRelativeResize="0"/>
            <p:nvPr/>
          </p:nvPicPr>
          <p:blipFill rotWithShape="1">
            <a:blip r:embed="rId2">
              <a:alphaModFix/>
            </a:blip>
            <a:srcRect/>
            <a:stretch/>
          </p:blipFill>
          <p:spPr>
            <a:xfrm>
              <a:off x="4630865" y="3601018"/>
              <a:ext cx="171450" cy="125133"/>
            </a:xfrm>
            <a:prstGeom prst="rect">
              <a:avLst/>
            </a:prstGeom>
            <a:noFill/>
            <a:ln>
              <a:noFill/>
            </a:ln>
          </p:spPr>
        </p:pic>
      </p:grpSp>
      <p:sp>
        <p:nvSpPr>
          <p:cNvPr id="74" name="Google Shape;74;p7"/>
          <p:cNvSpPr txBox="1">
            <a:spLocks noGrp="1"/>
          </p:cNvSpPr>
          <p:nvPr>
            <p:ph type="title"/>
          </p:nvPr>
        </p:nvSpPr>
        <p:spPr>
          <a:xfrm>
            <a:off x="608395" y="2266950"/>
            <a:ext cx="4777600" cy="2324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75" name="Google Shape;75;p7"/>
          <p:cNvSpPr txBox="1">
            <a:spLocks noGrp="1"/>
          </p:cNvSpPr>
          <p:nvPr>
            <p:ph type="subTitle" idx="1"/>
          </p:nvPr>
        </p:nvSpPr>
        <p:spPr>
          <a:xfrm>
            <a:off x="6803136" y="1792225"/>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6" name="Google Shape;76;p7"/>
          <p:cNvSpPr txBox="1">
            <a:spLocks noGrp="1"/>
          </p:cNvSpPr>
          <p:nvPr>
            <p:ph type="subTitle" idx="2"/>
          </p:nvPr>
        </p:nvSpPr>
        <p:spPr>
          <a:xfrm>
            <a:off x="6803136" y="2520701"/>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7" name="Google Shape;77;p7"/>
          <p:cNvSpPr txBox="1">
            <a:spLocks noGrp="1"/>
          </p:cNvSpPr>
          <p:nvPr>
            <p:ph type="subTitle" idx="3"/>
          </p:nvPr>
        </p:nvSpPr>
        <p:spPr>
          <a:xfrm>
            <a:off x="6803136" y="3249176"/>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8" name="Google Shape;78;p7"/>
          <p:cNvSpPr txBox="1">
            <a:spLocks noGrp="1"/>
          </p:cNvSpPr>
          <p:nvPr>
            <p:ph type="subTitle" idx="4"/>
          </p:nvPr>
        </p:nvSpPr>
        <p:spPr>
          <a:xfrm>
            <a:off x="6803136" y="3977651"/>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9" name="Google Shape;79;p7"/>
          <p:cNvSpPr txBox="1">
            <a:spLocks noGrp="1"/>
          </p:cNvSpPr>
          <p:nvPr>
            <p:ph type="subTitle" idx="5"/>
          </p:nvPr>
        </p:nvSpPr>
        <p:spPr>
          <a:xfrm>
            <a:off x="6803136" y="4706125"/>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Tree>
    <p:extLst>
      <p:ext uri="{BB962C8B-B14F-4D97-AF65-F5344CB8AC3E}">
        <p14:creationId xmlns:p14="http://schemas.microsoft.com/office/powerpoint/2010/main" val="112646757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matchingName="21. Section title center">
  <p:cSld name="21. Section title center">
    <p:spTree>
      <p:nvGrpSpPr>
        <p:cNvPr id="1" name="Shape 80"/>
        <p:cNvGrpSpPr/>
        <p:nvPr/>
      </p:nvGrpSpPr>
      <p:grpSpPr>
        <a:xfrm>
          <a:off x="0" y="0"/>
          <a:ext cx="0" cy="0"/>
          <a:chOff x="0" y="0"/>
          <a:chExt cx="0" cy="0"/>
        </a:xfrm>
      </p:grpSpPr>
      <p:sp>
        <p:nvSpPr>
          <p:cNvPr id="81" name="Google Shape;81;p8"/>
          <p:cNvSpPr txBox="1">
            <a:spLocks noGrp="1"/>
          </p:cNvSpPr>
          <p:nvPr>
            <p:ph type="title"/>
          </p:nvPr>
        </p:nvSpPr>
        <p:spPr>
          <a:xfrm>
            <a:off x="889000" y="3714168"/>
            <a:ext cx="10414000" cy="793600"/>
          </a:xfrm>
          <a:prstGeom prst="rect">
            <a:avLst/>
          </a:prstGeom>
          <a:noFill/>
          <a:ln>
            <a:noFill/>
          </a:ln>
        </p:spPr>
        <p:txBody>
          <a:bodyPr spcFirstLastPara="1" wrap="square" lIns="34275" tIns="17150" rIns="34275" bIns="17150" anchor="ctr" anchorCtr="0">
            <a:noAutofit/>
          </a:bodyPr>
          <a:lstStyle>
            <a:lvl1pPr marR="0" lvl="0" algn="ctr">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82" name="Google Shape;82;p8"/>
          <p:cNvSpPr/>
          <p:nvPr/>
        </p:nvSpPr>
        <p:spPr>
          <a:xfrm>
            <a:off x="5127167" y="-2057567"/>
            <a:ext cx="1828800" cy="1828707"/>
          </a:xfrm>
          <a:prstGeom prst="ellipse">
            <a:avLst/>
          </a:prstGeom>
          <a:noFill/>
          <a:ln w="19050" cap="flat" cmpd="sng">
            <a:solidFill>
              <a:srgbClr val="A371F7"/>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83" name="Google Shape;83;p8"/>
          <p:cNvSpPr txBox="1">
            <a:spLocks noGrp="1"/>
          </p:cNvSpPr>
          <p:nvPr>
            <p:ph type="subTitle" idx="1"/>
          </p:nvPr>
        </p:nvSpPr>
        <p:spPr>
          <a:xfrm>
            <a:off x="890000" y="4529579"/>
            <a:ext cx="10412000" cy="7924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600"/>
              <a:buFont typeface="Roboto Mono"/>
              <a:buNone/>
              <a:defRPr sz="2131"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9pPr>
          </a:lstStyle>
          <a:p>
            <a:endParaRPr/>
          </a:p>
        </p:txBody>
      </p:sp>
      <p:sp>
        <p:nvSpPr>
          <p:cNvPr id="84" name="Google Shape;84;p8"/>
          <p:cNvSpPr>
            <a:spLocks noGrp="1"/>
          </p:cNvSpPr>
          <p:nvPr>
            <p:ph type="pic" idx="2"/>
          </p:nvPr>
        </p:nvSpPr>
        <p:spPr>
          <a:xfrm>
            <a:off x="5577840" y="1846059"/>
            <a:ext cx="1036320" cy="1036320"/>
          </a:xfrm>
          <a:prstGeom prst="rect">
            <a:avLst/>
          </a:prstGeom>
          <a:noFill/>
          <a:ln>
            <a:noFill/>
          </a:ln>
        </p:spPr>
      </p:sp>
    </p:spTree>
    <p:extLst>
      <p:ext uri="{BB962C8B-B14F-4D97-AF65-F5344CB8AC3E}">
        <p14:creationId xmlns:p14="http://schemas.microsoft.com/office/powerpoint/2010/main" val="1488216305"/>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85"/>
        <p:cNvGrpSpPr/>
        <p:nvPr/>
      </p:nvGrpSpPr>
      <p:grpSpPr>
        <a:xfrm>
          <a:off x="0" y="0"/>
          <a:ext cx="0" cy="0"/>
          <a:chOff x="0" y="0"/>
          <a:chExt cx="0" cy="0"/>
        </a:xfrm>
      </p:grpSpPr>
      <p:sp>
        <p:nvSpPr>
          <p:cNvPr id="86" name="Google Shape;86;p9"/>
          <p:cNvSpPr txBox="1">
            <a:spLocks noGrp="1"/>
          </p:cNvSpPr>
          <p:nvPr>
            <p:ph type="title"/>
          </p:nvPr>
        </p:nvSpPr>
        <p:spPr>
          <a:xfrm>
            <a:off x="838200" y="365127"/>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9"/>
          <p:cNvSpPr txBox="1">
            <a:spLocks noGrp="1"/>
          </p:cNvSpPr>
          <p:nvPr>
            <p:ph type="body" idx="1"/>
          </p:nvPr>
        </p:nvSpPr>
        <p:spPr>
          <a:xfrm>
            <a:off x="838200" y="1825624"/>
            <a:ext cx="5181600" cy="435133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800"/>
              <a:buNone/>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88" name="Google Shape;88;p9"/>
          <p:cNvSpPr txBox="1">
            <a:spLocks noGrp="1"/>
          </p:cNvSpPr>
          <p:nvPr>
            <p:ph type="body" idx="2"/>
          </p:nvPr>
        </p:nvSpPr>
        <p:spPr>
          <a:xfrm>
            <a:off x="6172200" y="1825624"/>
            <a:ext cx="5181600" cy="435133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800"/>
              <a:buNone/>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97087520"/>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matchingName="104. Q&amp;A">
  <p:cSld name="104. Q&amp;A">
    <p:spTree>
      <p:nvGrpSpPr>
        <p:cNvPr id="1" name="Shape 89"/>
        <p:cNvGrpSpPr/>
        <p:nvPr/>
      </p:nvGrpSpPr>
      <p:grpSpPr>
        <a:xfrm>
          <a:off x="0" y="0"/>
          <a:ext cx="0" cy="0"/>
          <a:chOff x="0" y="0"/>
          <a:chExt cx="0" cy="0"/>
        </a:xfrm>
      </p:grpSpPr>
      <p:pic>
        <p:nvPicPr>
          <p:cNvPr id="90" name="Google Shape;90;p10"/>
          <p:cNvPicPr preferRelativeResize="0"/>
          <p:nvPr/>
        </p:nvPicPr>
        <p:blipFill rotWithShape="1">
          <a:blip r:embed="rId2">
            <a:alphaModFix/>
          </a:blip>
          <a:srcRect/>
          <a:stretch/>
        </p:blipFill>
        <p:spPr>
          <a:xfrm>
            <a:off x="0" y="1"/>
            <a:ext cx="12192000" cy="6858000"/>
          </a:xfrm>
          <a:prstGeom prst="rect">
            <a:avLst/>
          </a:prstGeom>
          <a:noFill/>
          <a:ln>
            <a:noFill/>
          </a:ln>
        </p:spPr>
      </p:pic>
      <p:sp>
        <p:nvSpPr>
          <p:cNvPr id="91" name="Google Shape;91;p10"/>
          <p:cNvSpPr/>
          <p:nvPr/>
        </p:nvSpPr>
        <p:spPr>
          <a:xfrm>
            <a:off x="4887600" y="2790401"/>
            <a:ext cx="2416800" cy="1277200"/>
          </a:xfrm>
          <a:prstGeom prst="rect">
            <a:avLst/>
          </a:prstGeom>
          <a:noFill/>
          <a:ln>
            <a:noFill/>
          </a:ln>
        </p:spPr>
        <p:txBody>
          <a:bodyPr spcFirstLastPara="1" wrap="square" lIns="45658" tIns="22846" rIns="45658" bIns="22846" anchor="ctr" anchorCtr="0">
            <a:noAutofit/>
          </a:bodyPr>
          <a:lstStyle/>
          <a:p>
            <a:pPr marL="0" marR="0" lvl="0" indent="0" algn="ctr" rtl="0">
              <a:lnSpc>
                <a:spcPct val="100000"/>
              </a:lnSpc>
              <a:spcBef>
                <a:spcPts val="0"/>
              </a:spcBef>
              <a:spcAft>
                <a:spcPts val="0"/>
              </a:spcAft>
              <a:buClr>
                <a:schemeClr val="lt1"/>
              </a:buClr>
              <a:buSzPts val="6000"/>
              <a:buFont typeface="Arial"/>
              <a:buNone/>
            </a:pPr>
            <a:r>
              <a:rPr lang="en-US" sz="7993" b="1" i="0">
                <a:solidFill>
                  <a:schemeClr val="dk1"/>
                </a:solidFill>
              </a:rPr>
              <a:t>Q&amp;A</a:t>
            </a:r>
            <a:endParaRPr sz="7993" b="1" i="0">
              <a:solidFill>
                <a:schemeClr val="dk1"/>
              </a:solidFill>
            </a:endParaRPr>
          </a:p>
        </p:txBody>
      </p:sp>
    </p:spTree>
    <p:extLst>
      <p:ext uri="{BB962C8B-B14F-4D97-AF65-F5344CB8AC3E}">
        <p14:creationId xmlns:p14="http://schemas.microsoft.com/office/powerpoint/2010/main" val="1229411316"/>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matchingName="109. Thank you">
  <p:cSld name="109. Thank you">
    <p:spTree>
      <p:nvGrpSpPr>
        <p:cNvPr id="1" name="Shape 92"/>
        <p:cNvGrpSpPr/>
        <p:nvPr/>
      </p:nvGrpSpPr>
      <p:grpSpPr>
        <a:xfrm>
          <a:off x="0" y="0"/>
          <a:ext cx="0" cy="0"/>
          <a:chOff x="0" y="0"/>
          <a:chExt cx="0" cy="0"/>
        </a:xfrm>
      </p:grpSpPr>
      <p:pic>
        <p:nvPicPr>
          <p:cNvPr id="93" name="Google Shape;93;p11"/>
          <p:cNvPicPr preferRelativeResize="0"/>
          <p:nvPr/>
        </p:nvPicPr>
        <p:blipFill rotWithShape="1">
          <a:blip r:embed="rId2">
            <a:alphaModFix/>
          </a:blip>
          <a:srcRect/>
          <a:stretch/>
        </p:blipFill>
        <p:spPr>
          <a:xfrm>
            <a:off x="0" y="1"/>
            <a:ext cx="12192000" cy="6858000"/>
          </a:xfrm>
          <a:prstGeom prst="rect">
            <a:avLst/>
          </a:prstGeom>
          <a:noFill/>
          <a:ln>
            <a:noFill/>
          </a:ln>
        </p:spPr>
      </p:pic>
      <p:sp>
        <p:nvSpPr>
          <p:cNvPr id="94" name="Google Shape;94;p11"/>
          <p:cNvSpPr/>
          <p:nvPr/>
        </p:nvSpPr>
        <p:spPr>
          <a:xfrm>
            <a:off x="3484228" y="2790365"/>
            <a:ext cx="5223600" cy="1277200"/>
          </a:xfrm>
          <a:prstGeom prst="rect">
            <a:avLst/>
          </a:prstGeom>
          <a:noFill/>
          <a:ln>
            <a:noFill/>
          </a:ln>
        </p:spPr>
        <p:txBody>
          <a:bodyPr spcFirstLastPara="1" wrap="square" lIns="45658" tIns="22846" rIns="45658" bIns="22846"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US" sz="7993" b="1" i="0" u="none" strike="noStrike" cap="none">
                <a:solidFill>
                  <a:schemeClr val="dk1"/>
                </a:solidFill>
              </a:rPr>
              <a:t>Thank you</a:t>
            </a:r>
            <a:endParaRPr sz="7993" b="1" i="0">
              <a:solidFill>
                <a:schemeClr val="dk1"/>
              </a:solidFill>
            </a:endParaRPr>
          </a:p>
        </p:txBody>
      </p:sp>
    </p:spTree>
    <p:extLst>
      <p:ext uri="{BB962C8B-B14F-4D97-AF65-F5344CB8AC3E}">
        <p14:creationId xmlns:p14="http://schemas.microsoft.com/office/powerpoint/2010/main" val="362548957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matchingName="1. GitHub splash page" type="tx">
  <p:cSld name="1. GitHub splash page">
    <p:bg>
      <p:bgPr>
        <a:solidFill>
          <a:schemeClr val="lt1"/>
        </a:solidFill>
        <a:effectLst/>
      </p:bgPr>
    </p:bg>
    <p:spTree>
      <p:nvGrpSpPr>
        <p:cNvPr id="1" name="Shape 95"/>
        <p:cNvGrpSpPr/>
        <p:nvPr/>
      </p:nvGrpSpPr>
      <p:grpSpPr>
        <a:xfrm>
          <a:off x="0" y="0"/>
          <a:ext cx="0" cy="0"/>
          <a:chOff x="0" y="0"/>
          <a:chExt cx="0" cy="0"/>
        </a:xfrm>
      </p:grpSpPr>
      <p:pic>
        <p:nvPicPr>
          <p:cNvPr id="96" name="Google Shape;96;p12"/>
          <p:cNvPicPr preferRelativeResize="0"/>
          <p:nvPr/>
        </p:nvPicPr>
        <p:blipFill>
          <a:blip r:embed="rId2">
            <a:alphaModFix/>
          </a:blip>
          <a:stretch>
            <a:fillRect/>
          </a:stretch>
        </p:blipFill>
        <p:spPr>
          <a:xfrm>
            <a:off x="5237867" y="2505014"/>
            <a:ext cx="1849667" cy="1847955"/>
          </a:xfrm>
          <a:prstGeom prst="rect">
            <a:avLst/>
          </a:prstGeom>
          <a:noFill/>
          <a:ln>
            <a:noFill/>
          </a:ln>
        </p:spPr>
      </p:pic>
    </p:spTree>
    <p:extLst>
      <p:ext uri="{BB962C8B-B14F-4D97-AF65-F5344CB8AC3E}">
        <p14:creationId xmlns:p14="http://schemas.microsoft.com/office/powerpoint/2010/main" val="32107752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matchingName="7. Presentation title">
  <p:cSld name="7. Presentation title">
    <p:spTree>
      <p:nvGrpSpPr>
        <p:cNvPr id="1" name="Shape 97"/>
        <p:cNvGrpSpPr/>
        <p:nvPr/>
      </p:nvGrpSpPr>
      <p:grpSpPr>
        <a:xfrm>
          <a:off x="0" y="0"/>
          <a:ext cx="0" cy="0"/>
          <a:chOff x="0" y="0"/>
          <a:chExt cx="0" cy="0"/>
        </a:xfrm>
      </p:grpSpPr>
      <p:pic>
        <p:nvPicPr>
          <p:cNvPr id="98" name="Google Shape;98;p13"/>
          <p:cNvPicPr preferRelativeResize="0"/>
          <p:nvPr/>
        </p:nvPicPr>
        <p:blipFill rotWithShape="1">
          <a:blip r:embed="rId2">
            <a:alphaModFix/>
          </a:blip>
          <a:srcRect/>
          <a:stretch/>
        </p:blipFill>
        <p:spPr>
          <a:xfrm>
            <a:off x="0" y="1"/>
            <a:ext cx="12192000" cy="6858000"/>
          </a:xfrm>
          <a:prstGeom prst="rect">
            <a:avLst/>
          </a:prstGeom>
          <a:noFill/>
          <a:ln>
            <a:noFill/>
          </a:ln>
        </p:spPr>
      </p:pic>
      <p:pic>
        <p:nvPicPr>
          <p:cNvPr id="99" name="Google Shape;99;p13" descr="Image"/>
          <p:cNvPicPr preferRelativeResize="0"/>
          <p:nvPr/>
        </p:nvPicPr>
        <p:blipFill rotWithShape="1">
          <a:blip r:embed="rId3">
            <a:alphaModFix/>
          </a:blip>
          <a:srcRect/>
          <a:stretch/>
        </p:blipFill>
        <p:spPr>
          <a:xfrm>
            <a:off x="649517" y="659704"/>
            <a:ext cx="703161" cy="685800"/>
          </a:xfrm>
          <a:prstGeom prst="rect">
            <a:avLst/>
          </a:prstGeom>
          <a:noFill/>
          <a:ln>
            <a:noFill/>
          </a:ln>
        </p:spPr>
      </p:pic>
      <p:sp>
        <p:nvSpPr>
          <p:cNvPr id="100" name="Google Shape;100;p13"/>
          <p:cNvSpPr txBox="1">
            <a:spLocks noGrp="1"/>
          </p:cNvSpPr>
          <p:nvPr>
            <p:ph type="title"/>
          </p:nvPr>
        </p:nvSpPr>
        <p:spPr>
          <a:xfrm>
            <a:off x="649515" y="2266950"/>
            <a:ext cx="9144000" cy="2324000"/>
          </a:xfrm>
          <a:prstGeom prst="rect">
            <a:avLst/>
          </a:prstGeom>
          <a:noFill/>
          <a:ln>
            <a:noFill/>
          </a:ln>
        </p:spPr>
        <p:txBody>
          <a:bodyPr spcFirstLastPara="1" wrap="square" lIns="34275" tIns="17150" rIns="34275" bIns="17150" anchor="ctr" anchorCtr="0">
            <a:noAutofit/>
          </a:bodyPr>
          <a:lstStyle>
            <a:lvl1pPr marR="0" lvl="0" algn="l">
              <a:lnSpc>
                <a:spcPct val="80000"/>
              </a:lnSpc>
              <a:spcBef>
                <a:spcPts val="0"/>
              </a:spcBef>
              <a:spcAft>
                <a:spcPts val="0"/>
              </a:spcAft>
              <a:buClr>
                <a:schemeClr val="dk1"/>
              </a:buClr>
              <a:buSzPts val="4400"/>
              <a:buFont typeface="Arial"/>
              <a:buNone/>
              <a:defRPr sz="5861"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9pPr>
          </a:lstStyle>
          <a:p>
            <a:endParaRPr/>
          </a:p>
        </p:txBody>
      </p:sp>
      <p:sp>
        <p:nvSpPr>
          <p:cNvPr id="101" name="Google Shape;101;p13"/>
          <p:cNvSpPr txBox="1">
            <a:spLocks noGrp="1"/>
          </p:cNvSpPr>
          <p:nvPr>
            <p:ph type="subTitle" idx="1"/>
          </p:nvPr>
        </p:nvSpPr>
        <p:spPr>
          <a:xfrm>
            <a:off x="646176" y="5583936"/>
            <a:ext cx="6827600" cy="792400"/>
          </a:xfrm>
          <a:prstGeom prst="rect">
            <a:avLst/>
          </a:prstGeom>
          <a:noFill/>
          <a:ln>
            <a:noFill/>
          </a:ln>
        </p:spPr>
        <p:txBody>
          <a:bodyPr spcFirstLastPara="1" wrap="square" lIns="91425" tIns="91425" rIns="91425" bIns="91425" anchor="t" anchorCtr="0">
            <a:noAutofit/>
          </a:bodyPr>
          <a:lstStyle>
            <a:lvl1pPr marR="0" lvl="0" algn="l">
              <a:lnSpc>
                <a:spcPct val="10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400"/>
              <a:buFont typeface="Arial"/>
              <a:buNone/>
              <a:defRPr>
                <a:solidFill>
                  <a:schemeClr val="dk1"/>
                </a:solidFill>
              </a:defRPr>
            </a:lvl2pPr>
            <a:lvl3pPr lvl="2" algn="l">
              <a:lnSpc>
                <a:spcPct val="90000"/>
              </a:lnSpc>
              <a:spcBef>
                <a:spcPts val="0"/>
              </a:spcBef>
              <a:spcAft>
                <a:spcPts val="0"/>
              </a:spcAft>
              <a:buClr>
                <a:schemeClr val="dk1"/>
              </a:buClr>
              <a:buSzPts val="1400"/>
              <a:buFont typeface="Arial"/>
              <a:buNone/>
              <a:defRPr>
                <a:solidFill>
                  <a:schemeClr val="dk1"/>
                </a:solidFill>
              </a:defRPr>
            </a:lvl3pPr>
            <a:lvl4pPr lvl="3" algn="l">
              <a:lnSpc>
                <a:spcPct val="90000"/>
              </a:lnSpc>
              <a:spcBef>
                <a:spcPts val="0"/>
              </a:spcBef>
              <a:spcAft>
                <a:spcPts val="0"/>
              </a:spcAft>
              <a:buClr>
                <a:schemeClr val="dk1"/>
              </a:buClr>
              <a:buSzPts val="1400"/>
              <a:buFont typeface="Arial"/>
              <a:buNone/>
              <a:defRPr>
                <a:solidFill>
                  <a:schemeClr val="dk1"/>
                </a:solidFill>
              </a:defRPr>
            </a:lvl4pPr>
            <a:lvl5pPr lvl="4" algn="l">
              <a:lnSpc>
                <a:spcPct val="90000"/>
              </a:lnSpc>
              <a:spcBef>
                <a:spcPts val="0"/>
              </a:spcBef>
              <a:spcAft>
                <a:spcPts val="0"/>
              </a:spcAft>
              <a:buClr>
                <a:schemeClr val="dk1"/>
              </a:buClr>
              <a:buSzPts val="1400"/>
              <a:buFont typeface="Arial"/>
              <a:buNone/>
              <a:defRPr>
                <a:solidFill>
                  <a:schemeClr val="dk1"/>
                </a:solidFill>
              </a:defRPr>
            </a:lvl5pPr>
            <a:lvl6pPr lvl="5" algn="l">
              <a:lnSpc>
                <a:spcPct val="90000"/>
              </a:lnSpc>
              <a:spcBef>
                <a:spcPts val="0"/>
              </a:spcBef>
              <a:spcAft>
                <a:spcPts val="0"/>
              </a:spcAft>
              <a:buClr>
                <a:schemeClr val="dk1"/>
              </a:buClr>
              <a:buSzPts val="1400"/>
              <a:buNone/>
              <a:defRPr>
                <a:solidFill>
                  <a:schemeClr val="dk1"/>
                </a:solidFill>
              </a:defRPr>
            </a:lvl6pPr>
            <a:lvl7pPr lvl="6" algn="l">
              <a:lnSpc>
                <a:spcPct val="90000"/>
              </a:lnSpc>
              <a:spcBef>
                <a:spcPts val="0"/>
              </a:spcBef>
              <a:spcAft>
                <a:spcPts val="0"/>
              </a:spcAft>
              <a:buClr>
                <a:schemeClr val="dk1"/>
              </a:buClr>
              <a:buSzPts val="1400"/>
              <a:buNone/>
              <a:defRPr>
                <a:solidFill>
                  <a:schemeClr val="dk1"/>
                </a:solidFill>
              </a:defRPr>
            </a:lvl7pPr>
            <a:lvl8pPr lvl="7" algn="l">
              <a:lnSpc>
                <a:spcPct val="90000"/>
              </a:lnSpc>
              <a:spcBef>
                <a:spcPts val="0"/>
              </a:spcBef>
              <a:spcAft>
                <a:spcPts val="0"/>
              </a:spcAft>
              <a:buClr>
                <a:schemeClr val="dk1"/>
              </a:buClr>
              <a:buSzPts val="1400"/>
              <a:buNone/>
              <a:defRPr>
                <a:solidFill>
                  <a:schemeClr val="dk1"/>
                </a:solidFill>
              </a:defRPr>
            </a:lvl8pPr>
            <a:lvl9pPr lvl="8" algn="l">
              <a:lnSpc>
                <a:spcPct val="90000"/>
              </a:lnSpc>
              <a:spcBef>
                <a:spcPts val="0"/>
              </a:spcBef>
              <a:spcAft>
                <a:spcPts val="0"/>
              </a:spcAft>
              <a:buClr>
                <a:schemeClr val="dk1"/>
              </a:buClr>
              <a:buSzPts val="1400"/>
              <a:buNone/>
              <a:defRPr>
                <a:solidFill>
                  <a:schemeClr val="dk1"/>
                </a:solidFill>
              </a:defRPr>
            </a:lvl9pPr>
          </a:lstStyle>
          <a:p>
            <a:endParaRPr/>
          </a:p>
        </p:txBody>
      </p:sp>
    </p:spTree>
    <p:extLst>
      <p:ext uri="{BB962C8B-B14F-4D97-AF65-F5344CB8AC3E}">
        <p14:creationId xmlns:p14="http://schemas.microsoft.com/office/powerpoint/2010/main" val="1851516126"/>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matchingName="3. Presentation title">
  <p:cSld name="3. Presentation title">
    <p:bg>
      <p:bgPr>
        <a:gradFill>
          <a:gsLst>
            <a:gs pos="0">
              <a:schemeClr val="accent4"/>
            </a:gs>
            <a:gs pos="45000">
              <a:schemeClr val="accent1"/>
            </a:gs>
            <a:gs pos="100000">
              <a:schemeClr val="accent6"/>
            </a:gs>
          </a:gsLst>
          <a:lin ang="18900044" scaled="0"/>
        </a:gradFill>
        <a:effectLst/>
      </p:bgPr>
    </p:bg>
    <p:spTree>
      <p:nvGrpSpPr>
        <p:cNvPr id="1" name="Shape 102"/>
        <p:cNvGrpSpPr/>
        <p:nvPr/>
      </p:nvGrpSpPr>
      <p:grpSpPr>
        <a:xfrm>
          <a:off x="0" y="0"/>
          <a:ext cx="0" cy="0"/>
          <a:chOff x="0" y="0"/>
          <a:chExt cx="0" cy="0"/>
        </a:xfrm>
      </p:grpSpPr>
      <p:sp>
        <p:nvSpPr>
          <p:cNvPr id="103" name="Google Shape;103;p14"/>
          <p:cNvSpPr txBox="1">
            <a:spLocks noGrp="1"/>
          </p:cNvSpPr>
          <p:nvPr>
            <p:ph type="title"/>
          </p:nvPr>
        </p:nvSpPr>
        <p:spPr>
          <a:xfrm>
            <a:off x="649515" y="2266950"/>
            <a:ext cx="9144000" cy="2324000"/>
          </a:xfrm>
          <a:prstGeom prst="rect">
            <a:avLst/>
          </a:prstGeom>
          <a:noFill/>
          <a:ln>
            <a:noFill/>
          </a:ln>
        </p:spPr>
        <p:txBody>
          <a:bodyPr spcFirstLastPara="1" wrap="square" lIns="34275" tIns="17150" rIns="34275" bIns="17150" anchor="ctr" anchorCtr="0">
            <a:noAutofit/>
          </a:bodyPr>
          <a:lstStyle>
            <a:lvl1pPr marR="0" lvl="0" algn="l">
              <a:lnSpc>
                <a:spcPct val="80000"/>
              </a:lnSpc>
              <a:spcBef>
                <a:spcPts val="0"/>
              </a:spcBef>
              <a:spcAft>
                <a:spcPts val="0"/>
              </a:spcAft>
              <a:buClr>
                <a:schemeClr val="dk1"/>
              </a:buClr>
              <a:buSzPts val="4400"/>
              <a:buFont typeface="Arial"/>
              <a:buNone/>
              <a:defRPr sz="5861"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9pPr>
          </a:lstStyle>
          <a:p>
            <a:endParaRPr/>
          </a:p>
        </p:txBody>
      </p:sp>
      <p:pic>
        <p:nvPicPr>
          <p:cNvPr id="104" name="Google Shape;104;p14" descr="Image"/>
          <p:cNvPicPr preferRelativeResize="0"/>
          <p:nvPr/>
        </p:nvPicPr>
        <p:blipFill rotWithShape="1">
          <a:blip r:embed="rId2">
            <a:alphaModFix/>
          </a:blip>
          <a:srcRect/>
          <a:stretch/>
        </p:blipFill>
        <p:spPr>
          <a:xfrm>
            <a:off x="649517" y="659704"/>
            <a:ext cx="703161" cy="685800"/>
          </a:xfrm>
          <a:prstGeom prst="rect">
            <a:avLst/>
          </a:prstGeom>
          <a:noFill/>
          <a:ln>
            <a:noFill/>
          </a:ln>
        </p:spPr>
      </p:pic>
      <p:sp>
        <p:nvSpPr>
          <p:cNvPr id="105" name="Google Shape;105;p14"/>
          <p:cNvSpPr txBox="1">
            <a:spLocks noGrp="1"/>
          </p:cNvSpPr>
          <p:nvPr>
            <p:ph type="subTitle" idx="1"/>
          </p:nvPr>
        </p:nvSpPr>
        <p:spPr>
          <a:xfrm>
            <a:off x="646176" y="5583936"/>
            <a:ext cx="6827600" cy="792400"/>
          </a:xfrm>
          <a:prstGeom prst="rect">
            <a:avLst/>
          </a:prstGeom>
          <a:noFill/>
          <a:ln>
            <a:noFill/>
          </a:ln>
        </p:spPr>
        <p:txBody>
          <a:bodyPr spcFirstLastPara="1" wrap="square" lIns="91425" tIns="91425" rIns="91425" bIns="91425" anchor="t" anchorCtr="0">
            <a:noAutofit/>
          </a:bodyPr>
          <a:lstStyle>
            <a:lvl1pPr marR="0" lvl="0" algn="l">
              <a:lnSpc>
                <a:spcPct val="10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400"/>
              <a:buFont typeface="Arial"/>
              <a:buNone/>
              <a:defRPr>
                <a:solidFill>
                  <a:schemeClr val="dk1"/>
                </a:solidFill>
              </a:defRPr>
            </a:lvl2pPr>
            <a:lvl3pPr lvl="2" algn="l">
              <a:lnSpc>
                <a:spcPct val="90000"/>
              </a:lnSpc>
              <a:spcBef>
                <a:spcPts val="0"/>
              </a:spcBef>
              <a:spcAft>
                <a:spcPts val="0"/>
              </a:spcAft>
              <a:buClr>
                <a:schemeClr val="dk1"/>
              </a:buClr>
              <a:buSzPts val="1400"/>
              <a:buFont typeface="Arial"/>
              <a:buNone/>
              <a:defRPr>
                <a:solidFill>
                  <a:schemeClr val="dk1"/>
                </a:solidFill>
              </a:defRPr>
            </a:lvl3pPr>
            <a:lvl4pPr lvl="3" algn="l">
              <a:lnSpc>
                <a:spcPct val="90000"/>
              </a:lnSpc>
              <a:spcBef>
                <a:spcPts val="0"/>
              </a:spcBef>
              <a:spcAft>
                <a:spcPts val="0"/>
              </a:spcAft>
              <a:buClr>
                <a:schemeClr val="dk1"/>
              </a:buClr>
              <a:buSzPts val="1400"/>
              <a:buFont typeface="Arial"/>
              <a:buNone/>
              <a:defRPr>
                <a:solidFill>
                  <a:schemeClr val="dk1"/>
                </a:solidFill>
              </a:defRPr>
            </a:lvl4pPr>
            <a:lvl5pPr lvl="4" algn="l">
              <a:lnSpc>
                <a:spcPct val="90000"/>
              </a:lnSpc>
              <a:spcBef>
                <a:spcPts val="0"/>
              </a:spcBef>
              <a:spcAft>
                <a:spcPts val="0"/>
              </a:spcAft>
              <a:buClr>
                <a:schemeClr val="dk1"/>
              </a:buClr>
              <a:buSzPts val="1400"/>
              <a:buFont typeface="Arial"/>
              <a:buNone/>
              <a:defRPr>
                <a:solidFill>
                  <a:schemeClr val="dk1"/>
                </a:solidFill>
              </a:defRPr>
            </a:lvl5pPr>
            <a:lvl6pPr lvl="5" algn="l">
              <a:lnSpc>
                <a:spcPct val="90000"/>
              </a:lnSpc>
              <a:spcBef>
                <a:spcPts val="0"/>
              </a:spcBef>
              <a:spcAft>
                <a:spcPts val="0"/>
              </a:spcAft>
              <a:buClr>
                <a:schemeClr val="dk1"/>
              </a:buClr>
              <a:buSzPts val="1400"/>
              <a:buNone/>
              <a:defRPr>
                <a:solidFill>
                  <a:schemeClr val="dk1"/>
                </a:solidFill>
              </a:defRPr>
            </a:lvl6pPr>
            <a:lvl7pPr lvl="6" algn="l">
              <a:lnSpc>
                <a:spcPct val="90000"/>
              </a:lnSpc>
              <a:spcBef>
                <a:spcPts val="0"/>
              </a:spcBef>
              <a:spcAft>
                <a:spcPts val="0"/>
              </a:spcAft>
              <a:buClr>
                <a:schemeClr val="dk1"/>
              </a:buClr>
              <a:buSzPts val="1400"/>
              <a:buNone/>
              <a:defRPr>
                <a:solidFill>
                  <a:schemeClr val="dk1"/>
                </a:solidFill>
              </a:defRPr>
            </a:lvl7pPr>
            <a:lvl8pPr lvl="7" algn="l">
              <a:lnSpc>
                <a:spcPct val="90000"/>
              </a:lnSpc>
              <a:spcBef>
                <a:spcPts val="0"/>
              </a:spcBef>
              <a:spcAft>
                <a:spcPts val="0"/>
              </a:spcAft>
              <a:buClr>
                <a:schemeClr val="dk1"/>
              </a:buClr>
              <a:buSzPts val="1400"/>
              <a:buNone/>
              <a:defRPr>
                <a:solidFill>
                  <a:schemeClr val="dk1"/>
                </a:solidFill>
              </a:defRPr>
            </a:lvl8pPr>
            <a:lvl9pPr lvl="8" algn="l">
              <a:lnSpc>
                <a:spcPct val="90000"/>
              </a:lnSpc>
              <a:spcBef>
                <a:spcPts val="0"/>
              </a:spcBef>
              <a:spcAft>
                <a:spcPts val="0"/>
              </a:spcAft>
              <a:buClr>
                <a:schemeClr val="dk1"/>
              </a:buClr>
              <a:buSzPts val="1400"/>
              <a:buNone/>
              <a:defRPr>
                <a:solidFill>
                  <a:schemeClr val="dk1"/>
                </a:solidFill>
              </a:defRPr>
            </a:lvl9pPr>
          </a:lstStyle>
          <a:p>
            <a:endParaRPr/>
          </a:p>
        </p:txBody>
      </p:sp>
    </p:spTree>
    <p:extLst>
      <p:ext uri="{BB962C8B-B14F-4D97-AF65-F5344CB8AC3E}">
        <p14:creationId xmlns:p14="http://schemas.microsoft.com/office/powerpoint/2010/main" val="30037862"/>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matchingName="4. Presentation title">
  <p:cSld name="4. Presentation title">
    <p:bg>
      <p:bgPr>
        <a:gradFill>
          <a:gsLst>
            <a:gs pos="0">
              <a:schemeClr val="accent2"/>
            </a:gs>
            <a:gs pos="56000">
              <a:schemeClr val="accent4"/>
            </a:gs>
            <a:gs pos="100000">
              <a:schemeClr val="accent1"/>
            </a:gs>
          </a:gsLst>
          <a:lin ang="18900044" scaled="0"/>
        </a:gradFill>
        <a:effectLst/>
      </p:bgPr>
    </p:bg>
    <p:spTree>
      <p:nvGrpSpPr>
        <p:cNvPr id="1" name="Shape 106"/>
        <p:cNvGrpSpPr/>
        <p:nvPr/>
      </p:nvGrpSpPr>
      <p:grpSpPr>
        <a:xfrm>
          <a:off x="0" y="0"/>
          <a:ext cx="0" cy="0"/>
          <a:chOff x="0" y="0"/>
          <a:chExt cx="0" cy="0"/>
        </a:xfrm>
      </p:grpSpPr>
      <p:pic>
        <p:nvPicPr>
          <p:cNvPr id="107" name="Google Shape;107;p15" descr="Image"/>
          <p:cNvPicPr preferRelativeResize="0"/>
          <p:nvPr/>
        </p:nvPicPr>
        <p:blipFill rotWithShape="1">
          <a:blip r:embed="rId2">
            <a:alphaModFix/>
          </a:blip>
          <a:srcRect/>
          <a:stretch/>
        </p:blipFill>
        <p:spPr>
          <a:xfrm>
            <a:off x="649517" y="659704"/>
            <a:ext cx="703161" cy="685800"/>
          </a:xfrm>
          <a:prstGeom prst="rect">
            <a:avLst/>
          </a:prstGeom>
          <a:noFill/>
          <a:ln>
            <a:noFill/>
          </a:ln>
        </p:spPr>
      </p:pic>
      <p:sp>
        <p:nvSpPr>
          <p:cNvPr id="108" name="Google Shape;108;p15"/>
          <p:cNvSpPr txBox="1">
            <a:spLocks noGrp="1"/>
          </p:cNvSpPr>
          <p:nvPr>
            <p:ph type="title"/>
          </p:nvPr>
        </p:nvSpPr>
        <p:spPr>
          <a:xfrm>
            <a:off x="649515" y="2266950"/>
            <a:ext cx="9144000" cy="2324000"/>
          </a:xfrm>
          <a:prstGeom prst="rect">
            <a:avLst/>
          </a:prstGeom>
          <a:noFill/>
          <a:ln>
            <a:noFill/>
          </a:ln>
        </p:spPr>
        <p:txBody>
          <a:bodyPr spcFirstLastPara="1" wrap="square" lIns="34275" tIns="17150" rIns="34275" bIns="17150" anchor="ctr" anchorCtr="0">
            <a:noAutofit/>
          </a:bodyPr>
          <a:lstStyle>
            <a:lvl1pPr marR="0" lvl="0" algn="l">
              <a:lnSpc>
                <a:spcPct val="80000"/>
              </a:lnSpc>
              <a:spcBef>
                <a:spcPts val="0"/>
              </a:spcBef>
              <a:spcAft>
                <a:spcPts val="0"/>
              </a:spcAft>
              <a:buClr>
                <a:schemeClr val="dk1"/>
              </a:buClr>
              <a:buSzPts val="4400"/>
              <a:buFont typeface="Arial"/>
              <a:buNone/>
              <a:defRPr sz="5861"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9pPr>
          </a:lstStyle>
          <a:p>
            <a:endParaRPr/>
          </a:p>
        </p:txBody>
      </p:sp>
      <p:sp>
        <p:nvSpPr>
          <p:cNvPr id="109" name="Google Shape;109;p15"/>
          <p:cNvSpPr txBox="1">
            <a:spLocks noGrp="1"/>
          </p:cNvSpPr>
          <p:nvPr>
            <p:ph type="subTitle" idx="1"/>
          </p:nvPr>
        </p:nvSpPr>
        <p:spPr>
          <a:xfrm>
            <a:off x="646176" y="5583936"/>
            <a:ext cx="6827600" cy="792400"/>
          </a:xfrm>
          <a:prstGeom prst="rect">
            <a:avLst/>
          </a:prstGeom>
          <a:noFill/>
          <a:ln>
            <a:noFill/>
          </a:ln>
        </p:spPr>
        <p:txBody>
          <a:bodyPr spcFirstLastPara="1" wrap="square" lIns="91425" tIns="91425" rIns="91425" bIns="91425" anchor="t" anchorCtr="0">
            <a:noAutofit/>
          </a:bodyPr>
          <a:lstStyle>
            <a:lvl1pPr marR="0" lvl="0" algn="l">
              <a:lnSpc>
                <a:spcPct val="10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400"/>
              <a:buFont typeface="Arial"/>
              <a:buNone/>
              <a:defRPr>
                <a:solidFill>
                  <a:schemeClr val="dk1"/>
                </a:solidFill>
              </a:defRPr>
            </a:lvl2pPr>
            <a:lvl3pPr lvl="2" algn="l">
              <a:lnSpc>
                <a:spcPct val="90000"/>
              </a:lnSpc>
              <a:spcBef>
                <a:spcPts val="0"/>
              </a:spcBef>
              <a:spcAft>
                <a:spcPts val="0"/>
              </a:spcAft>
              <a:buClr>
                <a:schemeClr val="dk1"/>
              </a:buClr>
              <a:buSzPts val="1400"/>
              <a:buFont typeface="Arial"/>
              <a:buNone/>
              <a:defRPr>
                <a:solidFill>
                  <a:schemeClr val="dk1"/>
                </a:solidFill>
              </a:defRPr>
            </a:lvl3pPr>
            <a:lvl4pPr lvl="3" algn="l">
              <a:lnSpc>
                <a:spcPct val="90000"/>
              </a:lnSpc>
              <a:spcBef>
                <a:spcPts val="0"/>
              </a:spcBef>
              <a:spcAft>
                <a:spcPts val="0"/>
              </a:spcAft>
              <a:buClr>
                <a:schemeClr val="dk1"/>
              </a:buClr>
              <a:buSzPts val="1400"/>
              <a:buFont typeface="Arial"/>
              <a:buNone/>
              <a:defRPr>
                <a:solidFill>
                  <a:schemeClr val="dk1"/>
                </a:solidFill>
              </a:defRPr>
            </a:lvl4pPr>
            <a:lvl5pPr lvl="4" algn="l">
              <a:lnSpc>
                <a:spcPct val="90000"/>
              </a:lnSpc>
              <a:spcBef>
                <a:spcPts val="0"/>
              </a:spcBef>
              <a:spcAft>
                <a:spcPts val="0"/>
              </a:spcAft>
              <a:buClr>
                <a:schemeClr val="dk1"/>
              </a:buClr>
              <a:buSzPts val="1400"/>
              <a:buFont typeface="Arial"/>
              <a:buNone/>
              <a:defRPr>
                <a:solidFill>
                  <a:schemeClr val="dk1"/>
                </a:solidFill>
              </a:defRPr>
            </a:lvl5pPr>
            <a:lvl6pPr lvl="5" algn="l">
              <a:lnSpc>
                <a:spcPct val="90000"/>
              </a:lnSpc>
              <a:spcBef>
                <a:spcPts val="0"/>
              </a:spcBef>
              <a:spcAft>
                <a:spcPts val="0"/>
              </a:spcAft>
              <a:buClr>
                <a:schemeClr val="dk1"/>
              </a:buClr>
              <a:buSzPts val="1400"/>
              <a:buNone/>
              <a:defRPr>
                <a:solidFill>
                  <a:schemeClr val="dk1"/>
                </a:solidFill>
              </a:defRPr>
            </a:lvl6pPr>
            <a:lvl7pPr lvl="6" algn="l">
              <a:lnSpc>
                <a:spcPct val="90000"/>
              </a:lnSpc>
              <a:spcBef>
                <a:spcPts val="0"/>
              </a:spcBef>
              <a:spcAft>
                <a:spcPts val="0"/>
              </a:spcAft>
              <a:buClr>
                <a:schemeClr val="dk1"/>
              </a:buClr>
              <a:buSzPts val="1400"/>
              <a:buNone/>
              <a:defRPr>
                <a:solidFill>
                  <a:schemeClr val="dk1"/>
                </a:solidFill>
              </a:defRPr>
            </a:lvl7pPr>
            <a:lvl8pPr lvl="7" algn="l">
              <a:lnSpc>
                <a:spcPct val="90000"/>
              </a:lnSpc>
              <a:spcBef>
                <a:spcPts val="0"/>
              </a:spcBef>
              <a:spcAft>
                <a:spcPts val="0"/>
              </a:spcAft>
              <a:buClr>
                <a:schemeClr val="dk1"/>
              </a:buClr>
              <a:buSzPts val="1400"/>
              <a:buNone/>
              <a:defRPr>
                <a:solidFill>
                  <a:schemeClr val="dk1"/>
                </a:solidFill>
              </a:defRPr>
            </a:lvl8pPr>
            <a:lvl9pPr lvl="8" algn="l">
              <a:lnSpc>
                <a:spcPct val="90000"/>
              </a:lnSpc>
              <a:spcBef>
                <a:spcPts val="0"/>
              </a:spcBef>
              <a:spcAft>
                <a:spcPts val="0"/>
              </a:spcAft>
              <a:buClr>
                <a:schemeClr val="dk1"/>
              </a:buClr>
              <a:buSzPts val="1400"/>
              <a:buNone/>
              <a:defRPr>
                <a:solidFill>
                  <a:schemeClr val="dk1"/>
                </a:solidFill>
              </a:defRPr>
            </a:lvl9pPr>
          </a:lstStyle>
          <a:p>
            <a:endParaRPr/>
          </a:p>
        </p:txBody>
      </p:sp>
    </p:spTree>
    <p:extLst>
      <p:ext uri="{BB962C8B-B14F-4D97-AF65-F5344CB8AC3E}">
        <p14:creationId xmlns:p14="http://schemas.microsoft.com/office/powerpoint/2010/main" val="27746077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798440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matchingName="5. Presentation title">
  <p:cSld name="5. Presentation title">
    <p:bg>
      <p:bgPr>
        <a:gradFill>
          <a:gsLst>
            <a:gs pos="0">
              <a:schemeClr val="accent5"/>
            </a:gs>
            <a:gs pos="2000">
              <a:schemeClr val="accent5"/>
            </a:gs>
            <a:gs pos="100000">
              <a:schemeClr val="accent2"/>
            </a:gs>
          </a:gsLst>
          <a:lin ang="8100019" scaled="0"/>
        </a:gradFill>
        <a:effectLst/>
      </p:bgPr>
    </p:bg>
    <p:spTree>
      <p:nvGrpSpPr>
        <p:cNvPr id="1" name="Shape 110"/>
        <p:cNvGrpSpPr/>
        <p:nvPr/>
      </p:nvGrpSpPr>
      <p:grpSpPr>
        <a:xfrm>
          <a:off x="0" y="0"/>
          <a:ext cx="0" cy="0"/>
          <a:chOff x="0" y="0"/>
          <a:chExt cx="0" cy="0"/>
        </a:xfrm>
      </p:grpSpPr>
      <p:pic>
        <p:nvPicPr>
          <p:cNvPr id="111" name="Google Shape;111;p16" descr="Image"/>
          <p:cNvPicPr preferRelativeResize="0"/>
          <p:nvPr/>
        </p:nvPicPr>
        <p:blipFill rotWithShape="1">
          <a:blip r:embed="rId2">
            <a:alphaModFix/>
          </a:blip>
          <a:srcRect/>
          <a:stretch/>
        </p:blipFill>
        <p:spPr>
          <a:xfrm>
            <a:off x="649517" y="659704"/>
            <a:ext cx="703161" cy="685800"/>
          </a:xfrm>
          <a:prstGeom prst="rect">
            <a:avLst/>
          </a:prstGeom>
          <a:noFill/>
          <a:ln>
            <a:noFill/>
          </a:ln>
        </p:spPr>
      </p:pic>
      <p:sp>
        <p:nvSpPr>
          <p:cNvPr id="112" name="Google Shape;112;p16"/>
          <p:cNvSpPr txBox="1">
            <a:spLocks noGrp="1"/>
          </p:cNvSpPr>
          <p:nvPr>
            <p:ph type="title"/>
          </p:nvPr>
        </p:nvSpPr>
        <p:spPr>
          <a:xfrm>
            <a:off x="649515" y="2266950"/>
            <a:ext cx="9144000" cy="2324000"/>
          </a:xfrm>
          <a:prstGeom prst="rect">
            <a:avLst/>
          </a:prstGeom>
          <a:noFill/>
          <a:ln>
            <a:noFill/>
          </a:ln>
        </p:spPr>
        <p:txBody>
          <a:bodyPr spcFirstLastPara="1" wrap="square" lIns="34275" tIns="17150" rIns="34275" bIns="17150" anchor="ctr" anchorCtr="0">
            <a:noAutofit/>
          </a:bodyPr>
          <a:lstStyle>
            <a:lvl1pPr marR="0" lvl="0" algn="l">
              <a:lnSpc>
                <a:spcPct val="80000"/>
              </a:lnSpc>
              <a:spcBef>
                <a:spcPts val="0"/>
              </a:spcBef>
              <a:spcAft>
                <a:spcPts val="0"/>
              </a:spcAft>
              <a:buClr>
                <a:schemeClr val="dk1"/>
              </a:buClr>
              <a:buSzPts val="4400"/>
              <a:buFont typeface="Arial"/>
              <a:buNone/>
              <a:defRPr sz="5861"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9pPr>
          </a:lstStyle>
          <a:p>
            <a:endParaRPr/>
          </a:p>
        </p:txBody>
      </p:sp>
      <p:sp>
        <p:nvSpPr>
          <p:cNvPr id="113" name="Google Shape;113;p16"/>
          <p:cNvSpPr txBox="1">
            <a:spLocks noGrp="1"/>
          </p:cNvSpPr>
          <p:nvPr>
            <p:ph type="subTitle" idx="1"/>
          </p:nvPr>
        </p:nvSpPr>
        <p:spPr>
          <a:xfrm>
            <a:off x="646176" y="5583936"/>
            <a:ext cx="6827600" cy="792400"/>
          </a:xfrm>
          <a:prstGeom prst="rect">
            <a:avLst/>
          </a:prstGeom>
          <a:noFill/>
          <a:ln>
            <a:noFill/>
          </a:ln>
        </p:spPr>
        <p:txBody>
          <a:bodyPr spcFirstLastPara="1" wrap="square" lIns="91425" tIns="91425" rIns="91425" bIns="91425" anchor="t" anchorCtr="0">
            <a:noAutofit/>
          </a:bodyPr>
          <a:lstStyle>
            <a:lvl1pPr marR="0" lvl="0" algn="l">
              <a:lnSpc>
                <a:spcPct val="10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400"/>
              <a:buFont typeface="Arial"/>
              <a:buNone/>
              <a:defRPr>
                <a:solidFill>
                  <a:schemeClr val="dk1"/>
                </a:solidFill>
              </a:defRPr>
            </a:lvl2pPr>
            <a:lvl3pPr lvl="2" algn="l">
              <a:lnSpc>
                <a:spcPct val="90000"/>
              </a:lnSpc>
              <a:spcBef>
                <a:spcPts val="0"/>
              </a:spcBef>
              <a:spcAft>
                <a:spcPts val="0"/>
              </a:spcAft>
              <a:buClr>
                <a:schemeClr val="dk1"/>
              </a:buClr>
              <a:buSzPts val="1400"/>
              <a:buFont typeface="Arial"/>
              <a:buNone/>
              <a:defRPr>
                <a:solidFill>
                  <a:schemeClr val="dk1"/>
                </a:solidFill>
              </a:defRPr>
            </a:lvl3pPr>
            <a:lvl4pPr lvl="3" algn="l">
              <a:lnSpc>
                <a:spcPct val="90000"/>
              </a:lnSpc>
              <a:spcBef>
                <a:spcPts val="0"/>
              </a:spcBef>
              <a:spcAft>
                <a:spcPts val="0"/>
              </a:spcAft>
              <a:buClr>
                <a:schemeClr val="dk1"/>
              </a:buClr>
              <a:buSzPts val="1400"/>
              <a:buFont typeface="Arial"/>
              <a:buNone/>
              <a:defRPr>
                <a:solidFill>
                  <a:schemeClr val="dk1"/>
                </a:solidFill>
              </a:defRPr>
            </a:lvl4pPr>
            <a:lvl5pPr lvl="4" algn="l">
              <a:lnSpc>
                <a:spcPct val="90000"/>
              </a:lnSpc>
              <a:spcBef>
                <a:spcPts val="0"/>
              </a:spcBef>
              <a:spcAft>
                <a:spcPts val="0"/>
              </a:spcAft>
              <a:buClr>
                <a:schemeClr val="dk1"/>
              </a:buClr>
              <a:buSzPts val="1400"/>
              <a:buFont typeface="Arial"/>
              <a:buNone/>
              <a:defRPr>
                <a:solidFill>
                  <a:schemeClr val="dk1"/>
                </a:solidFill>
              </a:defRPr>
            </a:lvl5pPr>
            <a:lvl6pPr lvl="5" algn="l">
              <a:lnSpc>
                <a:spcPct val="90000"/>
              </a:lnSpc>
              <a:spcBef>
                <a:spcPts val="0"/>
              </a:spcBef>
              <a:spcAft>
                <a:spcPts val="0"/>
              </a:spcAft>
              <a:buClr>
                <a:schemeClr val="dk1"/>
              </a:buClr>
              <a:buSzPts val="1400"/>
              <a:buNone/>
              <a:defRPr>
                <a:solidFill>
                  <a:schemeClr val="dk1"/>
                </a:solidFill>
              </a:defRPr>
            </a:lvl6pPr>
            <a:lvl7pPr lvl="6" algn="l">
              <a:lnSpc>
                <a:spcPct val="90000"/>
              </a:lnSpc>
              <a:spcBef>
                <a:spcPts val="0"/>
              </a:spcBef>
              <a:spcAft>
                <a:spcPts val="0"/>
              </a:spcAft>
              <a:buClr>
                <a:schemeClr val="dk1"/>
              </a:buClr>
              <a:buSzPts val="1400"/>
              <a:buNone/>
              <a:defRPr>
                <a:solidFill>
                  <a:schemeClr val="dk1"/>
                </a:solidFill>
              </a:defRPr>
            </a:lvl7pPr>
            <a:lvl8pPr lvl="7" algn="l">
              <a:lnSpc>
                <a:spcPct val="90000"/>
              </a:lnSpc>
              <a:spcBef>
                <a:spcPts val="0"/>
              </a:spcBef>
              <a:spcAft>
                <a:spcPts val="0"/>
              </a:spcAft>
              <a:buClr>
                <a:schemeClr val="dk1"/>
              </a:buClr>
              <a:buSzPts val="1400"/>
              <a:buNone/>
              <a:defRPr>
                <a:solidFill>
                  <a:schemeClr val="dk1"/>
                </a:solidFill>
              </a:defRPr>
            </a:lvl8pPr>
            <a:lvl9pPr lvl="8" algn="l">
              <a:lnSpc>
                <a:spcPct val="90000"/>
              </a:lnSpc>
              <a:spcBef>
                <a:spcPts val="0"/>
              </a:spcBef>
              <a:spcAft>
                <a:spcPts val="0"/>
              </a:spcAft>
              <a:buClr>
                <a:schemeClr val="dk1"/>
              </a:buClr>
              <a:buSzPts val="1400"/>
              <a:buNone/>
              <a:defRPr>
                <a:solidFill>
                  <a:schemeClr val="dk1"/>
                </a:solidFill>
              </a:defRPr>
            </a:lvl9pPr>
          </a:lstStyle>
          <a:p>
            <a:endParaRPr/>
          </a:p>
        </p:txBody>
      </p:sp>
    </p:spTree>
    <p:extLst>
      <p:ext uri="{BB962C8B-B14F-4D97-AF65-F5344CB8AC3E}">
        <p14:creationId xmlns:p14="http://schemas.microsoft.com/office/powerpoint/2010/main" val="125264447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matchingName="9. Speaker card (1 person)">
  <p:cSld name="9. Speaker card (1 person)">
    <p:spTree>
      <p:nvGrpSpPr>
        <p:cNvPr id="1" name="Shape 114"/>
        <p:cNvGrpSpPr/>
        <p:nvPr/>
      </p:nvGrpSpPr>
      <p:grpSpPr>
        <a:xfrm>
          <a:off x="0" y="0"/>
          <a:ext cx="0" cy="0"/>
          <a:chOff x="0" y="0"/>
          <a:chExt cx="0" cy="0"/>
        </a:xfrm>
      </p:grpSpPr>
      <p:pic>
        <p:nvPicPr>
          <p:cNvPr id="115" name="Google Shape;115;p17"/>
          <p:cNvPicPr preferRelativeResize="0"/>
          <p:nvPr/>
        </p:nvPicPr>
        <p:blipFill rotWithShape="1">
          <a:blip r:embed="rId2">
            <a:alphaModFix/>
          </a:blip>
          <a:srcRect/>
          <a:stretch/>
        </p:blipFill>
        <p:spPr>
          <a:xfrm>
            <a:off x="0" y="1"/>
            <a:ext cx="12192000" cy="6858000"/>
          </a:xfrm>
          <a:prstGeom prst="rect">
            <a:avLst/>
          </a:prstGeom>
          <a:noFill/>
          <a:ln>
            <a:noFill/>
          </a:ln>
        </p:spPr>
      </p:pic>
      <p:sp>
        <p:nvSpPr>
          <p:cNvPr id="116" name="Google Shape;116;p17"/>
          <p:cNvSpPr>
            <a:spLocks noGrp="1"/>
          </p:cNvSpPr>
          <p:nvPr>
            <p:ph type="pic" idx="2"/>
          </p:nvPr>
        </p:nvSpPr>
        <p:spPr>
          <a:xfrm>
            <a:off x="1837437" y="2286001"/>
            <a:ext cx="2286000" cy="2286000"/>
          </a:xfrm>
          <a:prstGeom prst="ellipse">
            <a:avLst/>
          </a:prstGeom>
          <a:noFill/>
          <a:ln w="19050" cap="flat" cmpd="sng">
            <a:solidFill>
              <a:schemeClr val="accent1"/>
            </a:solidFill>
            <a:prstDash val="solid"/>
            <a:round/>
            <a:headEnd type="none" w="sm" len="sm"/>
            <a:tailEnd type="none" w="sm" len="sm"/>
          </a:ln>
          <a:effectLst>
            <a:reflection stA="20000" endPos="15000" dist="19050" dir="5400000" sy="-100000" algn="bl" rotWithShape="0"/>
          </a:effectLst>
        </p:spPr>
      </p:sp>
      <p:sp>
        <p:nvSpPr>
          <p:cNvPr id="117" name="Google Shape;117;p17"/>
          <p:cNvSpPr txBox="1">
            <a:spLocks noGrp="1"/>
          </p:cNvSpPr>
          <p:nvPr>
            <p:ph type="title"/>
          </p:nvPr>
        </p:nvSpPr>
        <p:spPr>
          <a:xfrm>
            <a:off x="4446017" y="2552191"/>
            <a:ext cx="6306167" cy="987600"/>
          </a:xfrm>
          <a:prstGeom prst="rect">
            <a:avLst/>
          </a:prstGeom>
          <a:noFill/>
          <a:ln>
            <a:noFill/>
          </a:ln>
        </p:spPr>
        <p:txBody>
          <a:bodyPr spcFirstLastPara="1" wrap="square" lIns="91425" tIns="91425" rIns="91425" bIns="91425" anchor="b" anchorCtr="0">
            <a:noAutofit/>
          </a:bodyPr>
          <a:lstStyle>
            <a:lvl1pPr marR="0" lvl="0" algn="l">
              <a:lnSpc>
                <a:spcPct val="100000"/>
              </a:lnSpc>
              <a:spcBef>
                <a:spcPts val="0"/>
              </a:spcBef>
              <a:spcAft>
                <a:spcPts val="0"/>
              </a:spcAft>
              <a:buClr>
                <a:schemeClr val="dk1"/>
              </a:buClr>
              <a:buSzPts val="3600"/>
              <a:buFont typeface="Arial"/>
              <a:buNone/>
              <a:defRPr sz="4796" b="1" i="0">
                <a:solidFill>
                  <a:schemeClr val="dk1"/>
                </a:solidFill>
                <a:latin typeface="Arial"/>
                <a:ea typeface="Arial"/>
                <a:cs typeface="Arial"/>
                <a:sym typeface="Aria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
        <p:nvSpPr>
          <p:cNvPr id="118" name="Google Shape;118;p17"/>
          <p:cNvSpPr txBox="1">
            <a:spLocks noGrp="1"/>
          </p:cNvSpPr>
          <p:nvPr>
            <p:ph type="subTitle" idx="1"/>
          </p:nvPr>
        </p:nvSpPr>
        <p:spPr>
          <a:xfrm>
            <a:off x="4446017" y="3344673"/>
            <a:ext cx="6306167" cy="451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400"/>
              <a:buFont typeface="Roboto Mono"/>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400"/>
              <a:buFont typeface="Arial"/>
              <a:buNone/>
              <a:defRPr>
                <a:solidFill>
                  <a:schemeClr val="dk1"/>
                </a:solidFill>
              </a:defRPr>
            </a:lvl2pPr>
            <a:lvl3pPr lvl="2" algn="l">
              <a:lnSpc>
                <a:spcPct val="90000"/>
              </a:lnSpc>
              <a:spcBef>
                <a:spcPts val="0"/>
              </a:spcBef>
              <a:spcAft>
                <a:spcPts val="0"/>
              </a:spcAft>
              <a:buClr>
                <a:schemeClr val="dk1"/>
              </a:buClr>
              <a:buSzPts val="1400"/>
              <a:buFont typeface="Arial"/>
              <a:buNone/>
              <a:defRPr>
                <a:solidFill>
                  <a:schemeClr val="dk1"/>
                </a:solidFill>
              </a:defRPr>
            </a:lvl3pPr>
            <a:lvl4pPr lvl="3" algn="l">
              <a:lnSpc>
                <a:spcPct val="90000"/>
              </a:lnSpc>
              <a:spcBef>
                <a:spcPts val="0"/>
              </a:spcBef>
              <a:spcAft>
                <a:spcPts val="0"/>
              </a:spcAft>
              <a:buClr>
                <a:schemeClr val="dk1"/>
              </a:buClr>
              <a:buSzPts val="1400"/>
              <a:buFont typeface="Arial"/>
              <a:buNone/>
              <a:defRPr>
                <a:solidFill>
                  <a:schemeClr val="dk1"/>
                </a:solidFill>
              </a:defRPr>
            </a:lvl4pPr>
            <a:lvl5pPr lvl="4" algn="l">
              <a:lnSpc>
                <a:spcPct val="90000"/>
              </a:lnSpc>
              <a:spcBef>
                <a:spcPts val="0"/>
              </a:spcBef>
              <a:spcAft>
                <a:spcPts val="0"/>
              </a:spcAft>
              <a:buClr>
                <a:schemeClr val="dk1"/>
              </a:buClr>
              <a:buSzPts val="1400"/>
              <a:buFont typeface="Arial"/>
              <a:buNone/>
              <a:defRPr>
                <a:solidFill>
                  <a:schemeClr val="dk1"/>
                </a:solidFill>
              </a:defRPr>
            </a:lvl5pPr>
            <a:lvl6pPr lvl="5" algn="l">
              <a:lnSpc>
                <a:spcPct val="90000"/>
              </a:lnSpc>
              <a:spcBef>
                <a:spcPts val="0"/>
              </a:spcBef>
              <a:spcAft>
                <a:spcPts val="0"/>
              </a:spcAft>
              <a:buClr>
                <a:schemeClr val="dk1"/>
              </a:buClr>
              <a:buSzPts val="1400"/>
              <a:buNone/>
              <a:defRPr>
                <a:solidFill>
                  <a:schemeClr val="dk1"/>
                </a:solidFill>
              </a:defRPr>
            </a:lvl6pPr>
            <a:lvl7pPr lvl="6" algn="l">
              <a:lnSpc>
                <a:spcPct val="90000"/>
              </a:lnSpc>
              <a:spcBef>
                <a:spcPts val="0"/>
              </a:spcBef>
              <a:spcAft>
                <a:spcPts val="0"/>
              </a:spcAft>
              <a:buClr>
                <a:schemeClr val="dk1"/>
              </a:buClr>
              <a:buSzPts val="1400"/>
              <a:buNone/>
              <a:defRPr>
                <a:solidFill>
                  <a:schemeClr val="dk1"/>
                </a:solidFill>
              </a:defRPr>
            </a:lvl7pPr>
            <a:lvl8pPr lvl="7" algn="l">
              <a:lnSpc>
                <a:spcPct val="90000"/>
              </a:lnSpc>
              <a:spcBef>
                <a:spcPts val="0"/>
              </a:spcBef>
              <a:spcAft>
                <a:spcPts val="0"/>
              </a:spcAft>
              <a:buClr>
                <a:schemeClr val="dk1"/>
              </a:buClr>
              <a:buSzPts val="1400"/>
              <a:buNone/>
              <a:defRPr>
                <a:solidFill>
                  <a:schemeClr val="dk1"/>
                </a:solidFill>
              </a:defRPr>
            </a:lvl8pPr>
            <a:lvl9pPr lvl="8" algn="l">
              <a:lnSpc>
                <a:spcPct val="90000"/>
              </a:lnSpc>
              <a:spcBef>
                <a:spcPts val="0"/>
              </a:spcBef>
              <a:spcAft>
                <a:spcPts val="0"/>
              </a:spcAft>
              <a:buClr>
                <a:schemeClr val="dk1"/>
              </a:buClr>
              <a:buSzPts val="1400"/>
              <a:buNone/>
              <a:defRPr>
                <a:solidFill>
                  <a:schemeClr val="dk1"/>
                </a:solidFill>
              </a:defRPr>
            </a:lvl9pPr>
          </a:lstStyle>
          <a:p>
            <a:endParaRPr/>
          </a:p>
        </p:txBody>
      </p:sp>
      <p:sp>
        <p:nvSpPr>
          <p:cNvPr id="119" name="Google Shape;119;p17"/>
          <p:cNvSpPr txBox="1">
            <a:spLocks noGrp="1"/>
          </p:cNvSpPr>
          <p:nvPr>
            <p:ph type="body" idx="3"/>
          </p:nvPr>
        </p:nvSpPr>
        <p:spPr>
          <a:xfrm>
            <a:off x="4446017" y="3795873"/>
            <a:ext cx="6306167" cy="407465"/>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200"/>
              <a:buFont typeface="Arial"/>
              <a:buNone/>
              <a:defRPr sz="1599">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400"/>
              <a:buFont typeface="Arial"/>
              <a:buNone/>
              <a:defRPr>
                <a:solidFill>
                  <a:schemeClr val="dk1"/>
                </a:solidFill>
              </a:defRPr>
            </a:lvl2pPr>
            <a:lvl3pPr marL="1827108" lvl="2" indent="-304518" algn="l">
              <a:lnSpc>
                <a:spcPct val="90000"/>
              </a:lnSpc>
              <a:spcBef>
                <a:spcPts val="500"/>
              </a:spcBef>
              <a:spcAft>
                <a:spcPts val="0"/>
              </a:spcAft>
              <a:buClr>
                <a:schemeClr val="dk1"/>
              </a:buClr>
              <a:buSzPts val="1200"/>
              <a:buFont typeface="Arial"/>
              <a:buNone/>
              <a:defRPr>
                <a:solidFill>
                  <a:schemeClr val="dk1"/>
                </a:solidFill>
              </a:defRPr>
            </a:lvl3pPr>
            <a:lvl4pPr marL="2436144" lvl="3" indent="-304518" algn="l">
              <a:lnSpc>
                <a:spcPct val="90000"/>
              </a:lnSpc>
              <a:spcBef>
                <a:spcPts val="500"/>
              </a:spcBef>
              <a:spcAft>
                <a:spcPts val="0"/>
              </a:spcAft>
              <a:buClr>
                <a:schemeClr val="dk1"/>
              </a:buClr>
              <a:buSzPts val="1000"/>
              <a:buFont typeface="Arial"/>
              <a:buNone/>
              <a:defRPr>
                <a:solidFill>
                  <a:schemeClr val="dk1"/>
                </a:solidFill>
              </a:defRPr>
            </a:lvl4pPr>
            <a:lvl5pPr marL="3045181" lvl="4" indent="-304518" algn="l">
              <a:lnSpc>
                <a:spcPct val="90000"/>
              </a:lnSpc>
              <a:spcBef>
                <a:spcPts val="500"/>
              </a:spcBef>
              <a:spcAft>
                <a:spcPts val="0"/>
              </a:spcAft>
              <a:buClr>
                <a:schemeClr val="dk1"/>
              </a:buClr>
              <a:buSzPts val="1000"/>
              <a:buFont typeface="Arial"/>
              <a:buNone/>
              <a:defRPr>
                <a:solidFill>
                  <a:schemeClr val="dk1"/>
                </a:solidFill>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7701305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matchingName="9. Speaker card (1 person)">
  <p:cSld name="1_9. Speaker card (1 person)">
    <p:spTree>
      <p:nvGrpSpPr>
        <p:cNvPr id="1" name="Shape 120"/>
        <p:cNvGrpSpPr/>
        <p:nvPr/>
      </p:nvGrpSpPr>
      <p:grpSpPr>
        <a:xfrm>
          <a:off x="0" y="0"/>
          <a:ext cx="0" cy="0"/>
          <a:chOff x="0" y="0"/>
          <a:chExt cx="0" cy="0"/>
        </a:xfrm>
      </p:grpSpPr>
      <p:pic>
        <p:nvPicPr>
          <p:cNvPr id="121" name="Google Shape;121;p1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22" name="Google Shape;122;p18"/>
          <p:cNvSpPr>
            <a:spLocks noGrp="1"/>
          </p:cNvSpPr>
          <p:nvPr>
            <p:ph type="pic" idx="2"/>
          </p:nvPr>
        </p:nvSpPr>
        <p:spPr>
          <a:xfrm>
            <a:off x="1837437" y="2286001"/>
            <a:ext cx="2286000" cy="2286000"/>
          </a:xfrm>
          <a:prstGeom prst="ellipse">
            <a:avLst/>
          </a:prstGeom>
          <a:noFill/>
          <a:ln w="19050" cap="flat" cmpd="sng">
            <a:solidFill>
              <a:schemeClr val="accent1"/>
            </a:solidFill>
            <a:prstDash val="solid"/>
            <a:round/>
            <a:headEnd type="none" w="sm" len="sm"/>
            <a:tailEnd type="none" w="sm" len="sm"/>
          </a:ln>
          <a:effectLst>
            <a:reflection stA="20000" endPos="15000" dist="19050" dir="5400000" sy="-100000" algn="bl" rotWithShape="0"/>
          </a:effectLst>
        </p:spPr>
      </p:sp>
      <p:sp>
        <p:nvSpPr>
          <p:cNvPr id="123" name="Google Shape;123;p18"/>
          <p:cNvSpPr txBox="1">
            <a:spLocks noGrp="1"/>
          </p:cNvSpPr>
          <p:nvPr>
            <p:ph type="title"/>
          </p:nvPr>
        </p:nvSpPr>
        <p:spPr>
          <a:xfrm>
            <a:off x="4446017" y="2552191"/>
            <a:ext cx="6306167" cy="987600"/>
          </a:xfrm>
          <a:prstGeom prst="rect">
            <a:avLst/>
          </a:prstGeom>
          <a:noFill/>
          <a:ln>
            <a:noFill/>
          </a:ln>
        </p:spPr>
        <p:txBody>
          <a:bodyPr spcFirstLastPara="1" wrap="square" lIns="91425" tIns="91425" rIns="91425" bIns="91425" anchor="b" anchorCtr="0">
            <a:noAutofit/>
          </a:bodyPr>
          <a:lstStyle>
            <a:lvl1pPr marR="0" lvl="0" algn="l">
              <a:lnSpc>
                <a:spcPct val="100000"/>
              </a:lnSpc>
              <a:spcBef>
                <a:spcPts val="0"/>
              </a:spcBef>
              <a:spcAft>
                <a:spcPts val="0"/>
              </a:spcAft>
              <a:buClr>
                <a:schemeClr val="dk1"/>
              </a:buClr>
              <a:buSzPts val="3600"/>
              <a:buFont typeface="Arial"/>
              <a:buNone/>
              <a:defRPr sz="4796" b="1" i="0">
                <a:solidFill>
                  <a:schemeClr val="dk1"/>
                </a:solidFill>
                <a:latin typeface="Arial"/>
                <a:ea typeface="Arial"/>
                <a:cs typeface="Arial"/>
                <a:sym typeface="Aria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
        <p:nvSpPr>
          <p:cNvPr id="124" name="Google Shape;124;p18"/>
          <p:cNvSpPr txBox="1">
            <a:spLocks noGrp="1"/>
          </p:cNvSpPr>
          <p:nvPr>
            <p:ph type="subTitle" idx="1"/>
          </p:nvPr>
        </p:nvSpPr>
        <p:spPr>
          <a:xfrm>
            <a:off x="4446017" y="3344673"/>
            <a:ext cx="6306167" cy="451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400"/>
              <a:buFont typeface="Roboto Mono"/>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400"/>
              <a:buFont typeface="Arial"/>
              <a:buNone/>
              <a:defRPr>
                <a:solidFill>
                  <a:schemeClr val="dk1"/>
                </a:solidFill>
              </a:defRPr>
            </a:lvl2pPr>
            <a:lvl3pPr lvl="2" algn="l">
              <a:lnSpc>
                <a:spcPct val="90000"/>
              </a:lnSpc>
              <a:spcBef>
                <a:spcPts val="0"/>
              </a:spcBef>
              <a:spcAft>
                <a:spcPts val="0"/>
              </a:spcAft>
              <a:buClr>
                <a:schemeClr val="dk1"/>
              </a:buClr>
              <a:buSzPts val="1400"/>
              <a:buFont typeface="Arial"/>
              <a:buNone/>
              <a:defRPr>
                <a:solidFill>
                  <a:schemeClr val="dk1"/>
                </a:solidFill>
              </a:defRPr>
            </a:lvl3pPr>
            <a:lvl4pPr lvl="3" algn="l">
              <a:lnSpc>
                <a:spcPct val="90000"/>
              </a:lnSpc>
              <a:spcBef>
                <a:spcPts val="0"/>
              </a:spcBef>
              <a:spcAft>
                <a:spcPts val="0"/>
              </a:spcAft>
              <a:buClr>
                <a:schemeClr val="dk1"/>
              </a:buClr>
              <a:buSzPts val="1400"/>
              <a:buFont typeface="Arial"/>
              <a:buNone/>
              <a:defRPr>
                <a:solidFill>
                  <a:schemeClr val="dk1"/>
                </a:solidFill>
              </a:defRPr>
            </a:lvl4pPr>
            <a:lvl5pPr lvl="4" algn="l">
              <a:lnSpc>
                <a:spcPct val="90000"/>
              </a:lnSpc>
              <a:spcBef>
                <a:spcPts val="0"/>
              </a:spcBef>
              <a:spcAft>
                <a:spcPts val="0"/>
              </a:spcAft>
              <a:buClr>
                <a:schemeClr val="dk1"/>
              </a:buClr>
              <a:buSzPts val="1400"/>
              <a:buFont typeface="Arial"/>
              <a:buNone/>
              <a:defRPr>
                <a:solidFill>
                  <a:schemeClr val="dk1"/>
                </a:solidFill>
              </a:defRPr>
            </a:lvl5pPr>
            <a:lvl6pPr lvl="5" algn="l">
              <a:lnSpc>
                <a:spcPct val="90000"/>
              </a:lnSpc>
              <a:spcBef>
                <a:spcPts val="0"/>
              </a:spcBef>
              <a:spcAft>
                <a:spcPts val="0"/>
              </a:spcAft>
              <a:buClr>
                <a:schemeClr val="dk1"/>
              </a:buClr>
              <a:buSzPts val="1400"/>
              <a:buNone/>
              <a:defRPr>
                <a:solidFill>
                  <a:schemeClr val="dk1"/>
                </a:solidFill>
              </a:defRPr>
            </a:lvl6pPr>
            <a:lvl7pPr lvl="6" algn="l">
              <a:lnSpc>
                <a:spcPct val="90000"/>
              </a:lnSpc>
              <a:spcBef>
                <a:spcPts val="0"/>
              </a:spcBef>
              <a:spcAft>
                <a:spcPts val="0"/>
              </a:spcAft>
              <a:buClr>
                <a:schemeClr val="dk1"/>
              </a:buClr>
              <a:buSzPts val="1400"/>
              <a:buNone/>
              <a:defRPr>
                <a:solidFill>
                  <a:schemeClr val="dk1"/>
                </a:solidFill>
              </a:defRPr>
            </a:lvl7pPr>
            <a:lvl8pPr lvl="7" algn="l">
              <a:lnSpc>
                <a:spcPct val="90000"/>
              </a:lnSpc>
              <a:spcBef>
                <a:spcPts val="0"/>
              </a:spcBef>
              <a:spcAft>
                <a:spcPts val="0"/>
              </a:spcAft>
              <a:buClr>
                <a:schemeClr val="dk1"/>
              </a:buClr>
              <a:buSzPts val="1400"/>
              <a:buNone/>
              <a:defRPr>
                <a:solidFill>
                  <a:schemeClr val="dk1"/>
                </a:solidFill>
              </a:defRPr>
            </a:lvl8pPr>
            <a:lvl9pPr lvl="8" algn="l">
              <a:lnSpc>
                <a:spcPct val="90000"/>
              </a:lnSpc>
              <a:spcBef>
                <a:spcPts val="0"/>
              </a:spcBef>
              <a:spcAft>
                <a:spcPts val="0"/>
              </a:spcAft>
              <a:buClr>
                <a:schemeClr val="dk1"/>
              </a:buClr>
              <a:buSzPts val="1400"/>
              <a:buNone/>
              <a:defRPr>
                <a:solidFill>
                  <a:schemeClr val="dk1"/>
                </a:solidFill>
              </a:defRPr>
            </a:lvl9pPr>
          </a:lstStyle>
          <a:p>
            <a:endParaRPr/>
          </a:p>
        </p:txBody>
      </p:sp>
      <p:sp>
        <p:nvSpPr>
          <p:cNvPr id="125" name="Google Shape;125;p18"/>
          <p:cNvSpPr txBox="1">
            <a:spLocks noGrp="1"/>
          </p:cNvSpPr>
          <p:nvPr>
            <p:ph type="body" idx="3"/>
          </p:nvPr>
        </p:nvSpPr>
        <p:spPr>
          <a:xfrm>
            <a:off x="4446017" y="3795873"/>
            <a:ext cx="6306167" cy="407465"/>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200"/>
              <a:buFont typeface="Arial"/>
              <a:buNone/>
              <a:defRPr sz="1599">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400"/>
              <a:buFont typeface="Arial"/>
              <a:buNone/>
              <a:defRPr>
                <a:solidFill>
                  <a:schemeClr val="dk1"/>
                </a:solidFill>
              </a:defRPr>
            </a:lvl2pPr>
            <a:lvl3pPr marL="1827108" lvl="2" indent="-304518" algn="l">
              <a:lnSpc>
                <a:spcPct val="90000"/>
              </a:lnSpc>
              <a:spcBef>
                <a:spcPts val="500"/>
              </a:spcBef>
              <a:spcAft>
                <a:spcPts val="0"/>
              </a:spcAft>
              <a:buClr>
                <a:schemeClr val="dk1"/>
              </a:buClr>
              <a:buSzPts val="1200"/>
              <a:buFont typeface="Arial"/>
              <a:buNone/>
              <a:defRPr>
                <a:solidFill>
                  <a:schemeClr val="dk1"/>
                </a:solidFill>
              </a:defRPr>
            </a:lvl3pPr>
            <a:lvl4pPr marL="2436144" lvl="3" indent="-304518" algn="l">
              <a:lnSpc>
                <a:spcPct val="90000"/>
              </a:lnSpc>
              <a:spcBef>
                <a:spcPts val="500"/>
              </a:spcBef>
              <a:spcAft>
                <a:spcPts val="0"/>
              </a:spcAft>
              <a:buClr>
                <a:schemeClr val="dk1"/>
              </a:buClr>
              <a:buSzPts val="1000"/>
              <a:buFont typeface="Arial"/>
              <a:buNone/>
              <a:defRPr>
                <a:solidFill>
                  <a:schemeClr val="dk1"/>
                </a:solidFill>
              </a:defRPr>
            </a:lvl4pPr>
            <a:lvl5pPr marL="3045181" lvl="4" indent="-304518" algn="l">
              <a:lnSpc>
                <a:spcPct val="90000"/>
              </a:lnSpc>
              <a:spcBef>
                <a:spcPts val="500"/>
              </a:spcBef>
              <a:spcAft>
                <a:spcPts val="0"/>
              </a:spcAft>
              <a:buClr>
                <a:schemeClr val="dk1"/>
              </a:buClr>
              <a:buSzPts val="1000"/>
              <a:buFont typeface="Arial"/>
              <a:buNone/>
              <a:defRPr>
                <a:solidFill>
                  <a:schemeClr val="dk1"/>
                </a:solidFill>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55812000"/>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matchingName="11. Speaker card  (1 person)">
  <p:cSld name="11. Speaker card  (1 person)">
    <p:bg>
      <p:bgPr>
        <a:gradFill>
          <a:gsLst>
            <a:gs pos="0">
              <a:schemeClr val="accent1"/>
            </a:gs>
            <a:gs pos="32000">
              <a:schemeClr val="accent1"/>
            </a:gs>
            <a:gs pos="100000">
              <a:schemeClr val="accent6"/>
            </a:gs>
          </a:gsLst>
          <a:lin ang="18900044" scaled="0"/>
        </a:gradFill>
        <a:effectLst/>
      </p:bgPr>
    </p:bg>
    <p:spTree>
      <p:nvGrpSpPr>
        <p:cNvPr id="1" name="Shape 126"/>
        <p:cNvGrpSpPr/>
        <p:nvPr/>
      </p:nvGrpSpPr>
      <p:grpSpPr>
        <a:xfrm>
          <a:off x="0" y="0"/>
          <a:ext cx="0" cy="0"/>
          <a:chOff x="0" y="0"/>
          <a:chExt cx="0" cy="0"/>
        </a:xfrm>
      </p:grpSpPr>
      <p:sp>
        <p:nvSpPr>
          <p:cNvPr id="127" name="Google Shape;127;p19"/>
          <p:cNvSpPr>
            <a:spLocks noGrp="1"/>
          </p:cNvSpPr>
          <p:nvPr>
            <p:ph type="pic" idx="2"/>
          </p:nvPr>
        </p:nvSpPr>
        <p:spPr>
          <a:xfrm>
            <a:off x="1837437" y="2286001"/>
            <a:ext cx="2286000" cy="2286000"/>
          </a:xfrm>
          <a:prstGeom prst="ellipse">
            <a:avLst/>
          </a:prstGeom>
          <a:noFill/>
          <a:ln w="19050" cap="flat" cmpd="sng">
            <a:solidFill>
              <a:schemeClr val="accent4"/>
            </a:solidFill>
            <a:prstDash val="solid"/>
            <a:round/>
            <a:headEnd type="none" w="sm" len="sm"/>
            <a:tailEnd type="none" w="sm" len="sm"/>
          </a:ln>
          <a:effectLst>
            <a:reflection stA="20000" endPos="15000" dist="19050" dir="5400000" sy="-100000" algn="bl" rotWithShape="0"/>
          </a:effectLst>
        </p:spPr>
      </p:sp>
      <p:sp>
        <p:nvSpPr>
          <p:cNvPr id="128" name="Google Shape;128;p19"/>
          <p:cNvSpPr txBox="1">
            <a:spLocks noGrp="1"/>
          </p:cNvSpPr>
          <p:nvPr>
            <p:ph type="title"/>
          </p:nvPr>
        </p:nvSpPr>
        <p:spPr>
          <a:xfrm>
            <a:off x="4446017" y="2552191"/>
            <a:ext cx="6306167" cy="987600"/>
          </a:xfrm>
          <a:prstGeom prst="rect">
            <a:avLst/>
          </a:prstGeom>
          <a:noFill/>
          <a:ln>
            <a:noFill/>
          </a:ln>
        </p:spPr>
        <p:txBody>
          <a:bodyPr spcFirstLastPara="1" wrap="square" lIns="91425" tIns="91425" rIns="91425" bIns="91425" anchor="b" anchorCtr="0">
            <a:noAutofit/>
          </a:bodyPr>
          <a:lstStyle>
            <a:lvl1pPr marR="0" lvl="0" algn="l">
              <a:lnSpc>
                <a:spcPct val="100000"/>
              </a:lnSpc>
              <a:spcBef>
                <a:spcPts val="0"/>
              </a:spcBef>
              <a:spcAft>
                <a:spcPts val="0"/>
              </a:spcAft>
              <a:buClr>
                <a:schemeClr val="dk1"/>
              </a:buClr>
              <a:buSzPts val="3600"/>
              <a:buFont typeface="Arial"/>
              <a:buNone/>
              <a:defRPr sz="4796" b="1" i="0">
                <a:solidFill>
                  <a:schemeClr val="dk1"/>
                </a:solidFill>
                <a:latin typeface="Arial"/>
                <a:ea typeface="Arial"/>
                <a:cs typeface="Arial"/>
                <a:sym typeface="Aria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
        <p:nvSpPr>
          <p:cNvPr id="129" name="Google Shape;129;p19"/>
          <p:cNvSpPr txBox="1">
            <a:spLocks noGrp="1"/>
          </p:cNvSpPr>
          <p:nvPr>
            <p:ph type="subTitle" idx="1"/>
          </p:nvPr>
        </p:nvSpPr>
        <p:spPr>
          <a:xfrm>
            <a:off x="4446017" y="3344673"/>
            <a:ext cx="6306167" cy="451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400"/>
              <a:buFont typeface="Roboto Mono"/>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400"/>
              <a:buFont typeface="Arial"/>
              <a:buNone/>
              <a:defRPr>
                <a:solidFill>
                  <a:schemeClr val="dk1"/>
                </a:solidFill>
              </a:defRPr>
            </a:lvl2pPr>
            <a:lvl3pPr lvl="2" algn="l">
              <a:lnSpc>
                <a:spcPct val="90000"/>
              </a:lnSpc>
              <a:spcBef>
                <a:spcPts val="0"/>
              </a:spcBef>
              <a:spcAft>
                <a:spcPts val="0"/>
              </a:spcAft>
              <a:buClr>
                <a:schemeClr val="dk1"/>
              </a:buClr>
              <a:buSzPts val="1400"/>
              <a:buFont typeface="Arial"/>
              <a:buNone/>
              <a:defRPr>
                <a:solidFill>
                  <a:schemeClr val="dk1"/>
                </a:solidFill>
              </a:defRPr>
            </a:lvl3pPr>
            <a:lvl4pPr lvl="3" algn="l">
              <a:lnSpc>
                <a:spcPct val="90000"/>
              </a:lnSpc>
              <a:spcBef>
                <a:spcPts val="0"/>
              </a:spcBef>
              <a:spcAft>
                <a:spcPts val="0"/>
              </a:spcAft>
              <a:buClr>
                <a:schemeClr val="dk1"/>
              </a:buClr>
              <a:buSzPts val="1400"/>
              <a:buFont typeface="Arial"/>
              <a:buNone/>
              <a:defRPr>
                <a:solidFill>
                  <a:schemeClr val="dk1"/>
                </a:solidFill>
              </a:defRPr>
            </a:lvl4pPr>
            <a:lvl5pPr lvl="4" algn="l">
              <a:lnSpc>
                <a:spcPct val="90000"/>
              </a:lnSpc>
              <a:spcBef>
                <a:spcPts val="0"/>
              </a:spcBef>
              <a:spcAft>
                <a:spcPts val="0"/>
              </a:spcAft>
              <a:buClr>
                <a:schemeClr val="dk1"/>
              </a:buClr>
              <a:buSzPts val="1400"/>
              <a:buFont typeface="Arial"/>
              <a:buNone/>
              <a:defRPr>
                <a:solidFill>
                  <a:schemeClr val="dk1"/>
                </a:solidFill>
              </a:defRPr>
            </a:lvl5pPr>
            <a:lvl6pPr lvl="5" algn="l">
              <a:lnSpc>
                <a:spcPct val="90000"/>
              </a:lnSpc>
              <a:spcBef>
                <a:spcPts val="0"/>
              </a:spcBef>
              <a:spcAft>
                <a:spcPts val="0"/>
              </a:spcAft>
              <a:buClr>
                <a:schemeClr val="dk1"/>
              </a:buClr>
              <a:buSzPts val="1400"/>
              <a:buNone/>
              <a:defRPr>
                <a:solidFill>
                  <a:schemeClr val="dk1"/>
                </a:solidFill>
              </a:defRPr>
            </a:lvl6pPr>
            <a:lvl7pPr lvl="6" algn="l">
              <a:lnSpc>
                <a:spcPct val="90000"/>
              </a:lnSpc>
              <a:spcBef>
                <a:spcPts val="0"/>
              </a:spcBef>
              <a:spcAft>
                <a:spcPts val="0"/>
              </a:spcAft>
              <a:buClr>
                <a:schemeClr val="dk1"/>
              </a:buClr>
              <a:buSzPts val="1400"/>
              <a:buNone/>
              <a:defRPr>
                <a:solidFill>
                  <a:schemeClr val="dk1"/>
                </a:solidFill>
              </a:defRPr>
            </a:lvl7pPr>
            <a:lvl8pPr lvl="7" algn="l">
              <a:lnSpc>
                <a:spcPct val="90000"/>
              </a:lnSpc>
              <a:spcBef>
                <a:spcPts val="0"/>
              </a:spcBef>
              <a:spcAft>
                <a:spcPts val="0"/>
              </a:spcAft>
              <a:buClr>
                <a:schemeClr val="dk1"/>
              </a:buClr>
              <a:buSzPts val="1400"/>
              <a:buNone/>
              <a:defRPr>
                <a:solidFill>
                  <a:schemeClr val="dk1"/>
                </a:solidFill>
              </a:defRPr>
            </a:lvl8pPr>
            <a:lvl9pPr lvl="8" algn="l">
              <a:lnSpc>
                <a:spcPct val="90000"/>
              </a:lnSpc>
              <a:spcBef>
                <a:spcPts val="0"/>
              </a:spcBef>
              <a:spcAft>
                <a:spcPts val="0"/>
              </a:spcAft>
              <a:buClr>
                <a:schemeClr val="dk1"/>
              </a:buClr>
              <a:buSzPts val="1400"/>
              <a:buNone/>
              <a:defRPr>
                <a:solidFill>
                  <a:schemeClr val="dk1"/>
                </a:solidFill>
              </a:defRPr>
            </a:lvl9pPr>
          </a:lstStyle>
          <a:p>
            <a:endParaRPr/>
          </a:p>
        </p:txBody>
      </p:sp>
      <p:sp>
        <p:nvSpPr>
          <p:cNvPr id="130" name="Google Shape;130;p19"/>
          <p:cNvSpPr txBox="1">
            <a:spLocks noGrp="1"/>
          </p:cNvSpPr>
          <p:nvPr>
            <p:ph type="body" idx="3"/>
          </p:nvPr>
        </p:nvSpPr>
        <p:spPr>
          <a:xfrm>
            <a:off x="4446017" y="3795873"/>
            <a:ext cx="6306167" cy="407465"/>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200"/>
              <a:buFont typeface="Arial"/>
              <a:buNone/>
              <a:defRPr sz="1599">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400"/>
              <a:buFont typeface="Arial"/>
              <a:buNone/>
              <a:defRPr>
                <a:solidFill>
                  <a:schemeClr val="dk1"/>
                </a:solidFill>
              </a:defRPr>
            </a:lvl2pPr>
            <a:lvl3pPr marL="1827108" lvl="2" indent="-304518" algn="l">
              <a:lnSpc>
                <a:spcPct val="90000"/>
              </a:lnSpc>
              <a:spcBef>
                <a:spcPts val="500"/>
              </a:spcBef>
              <a:spcAft>
                <a:spcPts val="0"/>
              </a:spcAft>
              <a:buClr>
                <a:schemeClr val="dk1"/>
              </a:buClr>
              <a:buSzPts val="1200"/>
              <a:buFont typeface="Arial"/>
              <a:buNone/>
              <a:defRPr>
                <a:solidFill>
                  <a:schemeClr val="dk1"/>
                </a:solidFill>
              </a:defRPr>
            </a:lvl3pPr>
            <a:lvl4pPr marL="2436144" lvl="3" indent="-304518" algn="l">
              <a:lnSpc>
                <a:spcPct val="90000"/>
              </a:lnSpc>
              <a:spcBef>
                <a:spcPts val="500"/>
              </a:spcBef>
              <a:spcAft>
                <a:spcPts val="0"/>
              </a:spcAft>
              <a:buClr>
                <a:schemeClr val="dk1"/>
              </a:buClr>
              <a:buSzPts val="1000"/>
              <a:buFont typeface="Arial"/>
              <a:buNone/>
              <a:defRPr>
                <a:solidFill>
                  <a:schemeClr val="dk1"/>
                </a:solidFill>
              </a:defRPr>
            </a:lvl4pPr>
            <a:lvl5pPr marL="3045181" lvl="4" indent="-304518" algn="l">
              <a:lnSpc>
                <a:spcPct val="90000"/>
              </a:lnSpc>
              <a:spcBef>
                <a:spcPts val="500"/>
              </a:spcBef>
              <a:spcAft>
                <a:spcPts val="0"/>
              </a:spcAft>
              <a:buClr>
                <a:schemeClr val="dk1"/>
              </a:buClr>
              <a:buSzPts val="1000"/>
              <a:buFont typeface="Arial"/>
              <a:buNone/>
              <a:defRPr>
                <a:solidFill>
                  <a:schemeClr val="dk1"/>
                </a:solidFill>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7610938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matchingName="11. Speaker card  (1 person)">
  <p:cSld name="1_11. Speaker card  (1 person)">
    <p:bg>
      <p:bgPr>
        <a:gradFill>
          <a:gsLst>
            <a:gs pos="0">
              <a:schemeClr val="accent2"/>
            </a:gs>
            <a:gs pos="8000">
              <a:schemeClr val="accent2"/>
            </a:gs>
            <a:gs pos="100000">
              <a:srgbClr val="A371F7"/>
            </a:gs>
          </a:gsLst>
          <a:lin ang="18900044" scaled="0"/>
        </a:gradFill>
        <a:effectLst/>
      </p:bgPr>
    </p:bg>
    <p:spTree>
      <p:nvGrpSpPr>
        <p:cNvPr id="1" name="Shape 131"/>
        <p:cNvGrpSpPr/>
        <p:nvPr/>
      </p:nvGrpSpPr>
      <p:grpSpPr>
        <a:xfrm>
          <a:off x="0" y="0"/>
          <a:ext cx="0" cy="0"/>
          <a:chOff x="0" y="0"/>
          <a:chExt cx="0" cy="0"/>
        </a:xfrm>
      </p:grpSpPr>
      <p:sp>
        <p:nvSpPr>
          <p:cNvPr id="132" name="Google Shape;132;p20"/>
          <p:cNvSpPr>
            <a:spLocks noGrp="1"/>
          </p:cNvSpPr>
          <p:nvPr>
            <p:ph type="pic" idx="2"/>
          </p:nvPr>
        </p:nvSpPr>
        <p:spPr>
          <a:xfrm>
            <a:off x="1837437" y="2286001"/>
            <a:ext cx="2286000" cy="2286000"/>
          </a:xfrm>
          <a:prstGeom prst="ellipse">
            <a:avLst/>
          </a:prstGeom>
          <a:noFill/>
          <a:ln w="19050" cap="flat" cmpd="sng">
            <a:solidFill>
              <a:schemeClr val="accent1"/>
            </a:solidFill>
            <a:prstDash val="solid"/>
            <a:round/>
            <a:headEnd type="none" w="sm" len="sm"/>
            <a:tailEnd type="none" w="sm" len="sm"/>
          </a:ln>
          <a:effectLst>
            <a:reflection stA="20000" endPos="15000" dist="19050" dir="5400000" sy="-100000" algn="bl" rotWithShape="0"/>
          </a:effectLst>
        </p:spPr>
      </p:sp>
      <p:sp>
        <p:nvSpPr>
          <p:cNvPr id="133" name="Google Shape;133;p20"/>
          <p:cNvSpPr txBox="1">
            <a:spLocks noGrp="1"/>
          </p:cNvSpPr>
          <p:nvPr>
            <p:ph type="title"/>
          </p:nvPr>
        </p:nvSpPr>
        <p:spPr>
          <a:xfrm>
            <a:off x="4446017" y="2552191"/>
            <a:ext cx="6306167" cy="987600"/>
          </a:xfrm>
          <a:prstGeom prst="rect">
            <a:avLst/>
          </a:prstGeom>
          <a:noFill/>
          <a:ln>
            <a:noFill/>
          </a:ln>
        </p:spPr>
        <p:txBody>
          <a:bodyPr spcFirstLastPara="1" wrap="square" lIns="91425" tIns="91425" rIns="91425" bIns="91425" anchor="b" anchorCtr="0">
            <a:noAutofit/>
          </a:bodyPr>
          <a:lstStyle>
            <a:lvl1pPr marR="0" lvl="0" algn="l">
              <a:lnSpc>
                <a:spcPct val="100000"/>
              </a:lnSpc>
              <a:spcBef>
                <a:spcPts val="0"/>
              </a:spcBef>
              <a:spcAft>
                <a:spcPts val="0"/>
              </a:spcAft>
              <a:buClr>
                <a:schemeClr val="dk1"/>
              </a:buClr>
              <a:buSzPts val="3600"/>
              <a:buFont typeface="Arial"/>
              <a:buNone/>
              <a:defRPr sz="4796" b="1" i="0">
                <a:solidFill>
                  <a:schemeClr val="dk1"/>
                </a:solidFill>
                <a:latin typeface="Arial"/>
                <a:ea typeface="Arial"/>
                <a:cs typeface="Arial"/>
                <a:sym typeface="Aria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
        <p:nvSpPr>
          <p:cNvPr id="134" name="Google Shape;134;p20"/>
          <p:cNvSpPr txBox="1">
            <a:spLocks noGrp="1"/>
          </p:cNvSpPr>
          <p:nvPr>
            <p:ph type="subTitle" idx="1"/>
          </p:nvPr>
        </p:nvSpPr>
        <p:spPr>
          <a:xfrm>
            <a:off x="4446017" y="3344673"/>
            <a:ext cx="6306167" cy="451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400"/>
              <a:buFont typeface="Roboto Mono"/>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400"/>
              <a:buFont typeface="Arial"/>
              <a:buNone/>
              <a:defRPr>
                <a:solidFill>
                  <a:schemeClr val="dk1"/>
                </a:solidFill>
              </a:defRPr>
            </a:lvl2pPr>
            <a:lvl3pPr lvl="2" algn="l">
              <a:lnSpc>
                <a:spcPct val="90000"/>
              </a:lnSpc>
              <a:spcBef>
                <a:spcPts val="0"/>
              </a:spcBef>
              <a:spcAft>
                <a:spcPts val="0"/>
              </a:spcAft>
              <a:buClr>
                <a:schemeClr val="dk1"/>
              </a:buClr>
              <a:buSzPts val="1400"/>
              <a:buFont typeface="Arial"/>
              <a:buNone/>
              <a:defRPr>
                <a:solidFill>
                  <a:schemeClr val="dk1"/>
                </a:solidFill>
              </a:defRPr>
            </a:lvl3pPr>
            <a:lvl4pPr lvl="3" algn="l">
              <a:lnSpc>
                <a:spcPct val="90000"/>
              </a:lnSpc>
              <a:spcBef>
                <a:spcPts val="0"/>
              </a:spcBef>
              <a:spcAft>
                <a:spcPts val="0"/>
              </a:spcAft>
              <a:buClr>
                <a:schemeClr val="dk1"/>
              </a:buClr>
              <a:buSzPts val="1400"/>
              <a:buFont typeface="Arial"/>
              <a:buNone/>
              <a:defRPr>
                <a:solidFill>
                  <a:schemeClr val="dk1"/>
                </a:solidFill>
              </a:defRPr>
            </a:lvl4pPr>
            <a:lvl5pPr lvl="4" algn="l">
              <a:lnSpc>
                <a:spcPct val="90000"/>
              </a:lnSpc>
              <a:spcBef>
                <a:spcPts val="0"/>
              </a:spcBef>
              <a:spcAft>
                <a:spcPts val="0"/>
              </a:spcAft>
              <a:buClr>
                <a:schemeClr val="dk1"/>
              </a:buClr>
              <a:buSzPts val="1400"/>
              <a:buFont typeface="Arial"/>
              <a:buNone/>
              <a:defRPr>
                <a:solidFill>
                  <a:schemeClr val="dk1"/>
                </a:solidFill>
              </a:defRPr>
            </a:lvl5pPr>
            <a:lvl6pPr lvl="5" algn="l">
              <a:lnSpc>
                <a:spcPct val="90000"/>
              </a:lnSpc>
              <a:spcBef>
                <a:spcPts val="0"/>
              </a:spcBef>
              <a:spcAft>
                <a:spcPts val="0"/>
              </a:spcAft>
              <a:buClr>
                <a:schemeClr val="dk1"/>
              </a:buClr>
              <a:buSzPts val="1400"/>
              <a:buNone/>
              <a:defRPr>
                <a:solidFill>
                  <a:schemeClr val="dk1"/>
                </a:solidFill>
              </a:defRPr>
            </a:lvl6pPr>
            <a:lvl7pPr lvl="6" algn="l">
              <a:lnSpc>
                <a:spcPct val="90000"/>
              </a:lnSpc>
              <a:spcBef>
                <a:spcPts val="0"/>
              </a:spcBef>
              <a:spcAft>
                <a:spcPts val="0"/>
              </a:spcAft>
              <a:buClr>
                <a:schemeClr val="dk1"/>
              </a:buClr>
              <a:buSzPts val="1400"/>
              <a:buNone/>
              <a:defRPr>
                <a:solidFill>
                  <a:schemeClr val="dk1"/>
                </a:solidFill>
              </a:defRPr>
            </a:lvl7pPr>
            <a:lvl8pPr lvl="7" algn="l">
              <a:lnSpc>
                <a:spcPct val="90000"/>
              </a:lnSpc>
              <a:spcBef>
                <a:spcPts val="0"/>
              </a:spcBef>
              <a:spcAft>
                <a:spcPts val="0"/>
              </a:spcAft>
              <a:buClr>
                <a:schemeClr val="dk1"/>
              </a:buClr>
              <a:buSzPts val="1400"/>
              <a:buNone/>
              <a:defRPr>
                <a:solidFill>
                  <a:schemeClr val="dk1"/>
                </a:solidFill>
              </a:defRPr>
            </a:lvl8pPr>
            <a:lvl9pPr lvl="8" algn="l">
              <a:lnSpc>
                <a:spcPct val="90000"/>
              </a:lnSpc>
              <a:spcBef>
                <a:spcPts val="0"/>
              </a:spcBef>
              <a:spcAft>
                <a:spcPts val="0"/>
              </a:spcAft>
              <a:buClr>
                <a:schemeClr val="dk1"/>
              </a:buClr>
              <a:buSzPts val="1400"/>
              <a:buNone/>
              <a:defRPr>
                <a:solidFill>
                  <a:schemeClr val="dk1"/>
                </a:solidFill>
              </a:defRPr>
            </a:lvl9pPr>
          </a:lstStyle>
          <a:p>
            <a:endParaRPr/>
          </a:p>
        </p:txBody>
      </p:sp>
      <p:sp>
        <p:nvSpPr>
          <p:cNvPr id="135" name="Google Shape;135;p20"/>
          <p:cNvSpPr txBox="1">
            <a:spLocks noGrp="1"/>
          </p:cNvSpPr>
          <p:nvPr>
            <p:ph type="body" idx="3"/>
          </p:nvPr>
        </p:nvSpPr>
        <p:spPr>
          <a:xfrm>
            <a:off x="4446017" y="3795873"/>
            <a:ext cx="6306167" cy="407465"/>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200"/>
              <a:buFont typeface="Arial"/>
              <a:buNone/>
              <a:defRPr sz="1599">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400"/>
              <a:buFont typeface="Arial"/>
              <a:buNone/>
              <a:defRPr>
                <a:solidFill>
                  <a:schemeClr val="dk1"/>
                </a:solidFill>
              </a:defRPr>
            </a:lvl2pPr>
            <a:lvl3pPr marL="1827108" lvl="2" indent="-304518" algn="l">
              <a:lnSpc>
                <a:spcPct val="90000"/>
              </a:lnSpc>
              <a:spcBef>
                <a:spcPts val="500"/>
              </a:spcBef>
              <a:spcAft>
                <a:spcPts val="0"/>
              </a:spcAft>
              <a:buClr>
                <a:schemeClr val="dk1"/>
              </a:buClr>
              <a:buSzPts val="1200"/>
              <a:buFont typeface="Arial"/>
              <a:buNone/>
              <a:defRPr>
                <a:solidFill>
                  <a:schemeClr val="dk1"/>
                </a:solidFill>
              </a:defRPr>
            </a:lvl3pPr>
            <a:lvl4pPr marL="2436144" lvl="3" indent="-304518" algn="l">
              <a:lnSpc>
                <a:spcPct val="90000"/>
              </a:lnSpc>
              <a:spcBef>
                <a:spcPts val="500"/>
              </a:spcBef>
              <a:spcAft>
                <a:spcPts val="0"/>
              </a:spcAft>
              <a:buClr>
                <a:schemeClr val="dk1"/>
              </a:buClr>
              <a:buSzPts val="1000"/>
              <a:buFont typeface="Arial"/>
              <a:buNone/>
              <a:defRPr>
                <a:solidFill>
                  <a:schemeClr val="dk1"/>
                </a:solidFill>
              </a:defRPr>
            </a:lvl4pPr>
            <a:lvl5pPr marL="3045181" lvl="4" indent="-304518" algn="l">
              <a:lnSpc>
                <a:spcPct val="90000"/>
              </a:lnSpc>
              <a:spcBef>
                <a:spcPts val="500"/>
              </a:spcBef>
              <a:spcAft>
                <a:spcPts val="0"/>
              </a:spcAft>
              <a:buClr>
                <a:schemeClr val="dk1"/>
              </a:buClr>
              <a:buSzPts val="1000"/>
              <a:buFont typeface="Arial"/>
              <a:buNone/>
              <a:defRPr>
                <a:solidFill>
                  <a:schemeClr val="dk1"/>
                </a:solidFill>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92035126"/>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matchingName="12. Speaker card  (1 person)">
  <p:cSld name="12. Speaker card  (1 person)">
    <p:bg>
      <p:bgPr>
        <a:gradFill>
          <a:gsLst>
            <a:gs pos="0">
              <a:schemeClr val="accent2"/>
            </a:gs>
            <a:gs pos="74000">
              <a:schemeClr val="accent5"/>
            </a:gs>
            <a:gs pos="100000">
              <a:schemeClr val="accent3"/>
            </a:gs>
          </a:gsLst>
          <a:lin ang="18900000" scaled="0"/>
        </a:gradFill>
        <a:effectLst/>
      </p:bgPr>
    </p:bg>
    <p:spTree>
      <p:nvGrpSpPr>
        <p:cNvPr id="1" name="Shape 136"/>
        <p:cNvGrpSpPr/>
        <p:nvPr/>
      </p:nvGrpSpPr>
      <p:grpSpPr>
        <a:xfrm>
          <a:off x="0" y="0"/>
          <a:ext cx="0" cy="0"/>
          <a:chOff x="0" y="0"/>
          <a:chExt cx="0" cy="0"/>
        </a:xfrm>
      </p:grpSpPr>
      <p:sp>
        <p:nvSpPr>
          <p:cNvPr id="137" name="Google Shape;137;p21"/>
          <p:cNvSpPr>
            <a:spLocks noGrp="1"/>
          </p:cNvSpPr>
          <p:nvPr>
            <p:ph type="pic" idx="2"/>
          </p:nvPr>
        </p:nvSpPr>
        <p:spPr>
          <a:xfrm>
            <a:off x="1837437" y="2286001"/>
            <a:ext cx="2286000" cy="2286000"/>
          </a:xfrm>
          <a:prstGeom prst="ellipse">
            <a:avLst/>
          </a:prstGeom>
          <a:noFill/>
          <a:ln w="19050" cap="flat" cmpd="sng">
            <a:solidFill>
              <a:schemeClr val="accent1"/>
            </a:solidFill>
            <a:prstDash val="solid"/>
            <a:round/>
            <a:headEnd type="none" w="sm" len="sm"/>
            <a:tailEnd type="none" w="sm" len="sm"/>
          </a:ln>
          <a:effectLst>
            <a:reflection stA="20000" endPos="15000" dist="19050" dir="5400000" sy="-100000" algn="bl" rotWithShape="0"/>
          </a:effectLst>
        </p:spPr>
      </p:sp>
      <p:sp>
        <p:nvSpPr>
          <p:cNvPr id="138" name="Google Shape;138;p21"/>
          <p:cNvSpPr txBox="1">
            <a:spLocks noGrp="1"/>
          </p:cNvSpPr>
          <p:nvPr>
            <p:ph type="title"/>
          </p:nvPr>
        </p:nvSpPr>
        <p:spPr>
          <a:xfrm>
            <a:off x="4446017" y="2552191"/>
            <a:ext cx="6306167" cy="987600"/>
          </a:xfrm>
          <a:prstGeom prst="rect">
            <a:avLst/>
          </a:prstGeom>
          <a:noFill/>
          <a:ln>
            <a:noFill/>
          </a:ln>
        </p:spPr>
        <p:txBody>
          <a:bodyPr spcFirstLastPara="1" wrap="square" lIns="91425" tIns="91425" rIns="91425" bIns="91425" anchor="b" anchorCtr="0">
            <a:noAutofit/>
          </a:bodyPr>
          <a:lstStyle>
            <a:lvl1pPr marR="0" lvl="0" algn="l">
              <a:lnSpc>
                <a:spcPct val="100000"/>
              </a:lnSpc>
              <a:spcBef>
                <a:spcPts val="0"/>
              </a:spcBef>
              <a:spcAft>
                <a:spcPts val="0"/>
              </a:spcAft>
              <a:buClr>
                <a:schemeClr val="dk1"/>
              </a:buClr>
              <a:buSzPts val="3600"/>
              <a:buFont typeface="Arial"/>
              <a:buNone/>
              <a:defRPr sz="4796" b="1" i="0">
                <a:solidFill>
                  <a:schemeClr val="dk1"/>
                </a:solidFill>
                <a:latin typeface="Arial"/>
                <a:ea typeface="Arial"/>
                <a:cs typeface="Arial"/>
                <a:sym typeface="Aria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
        <p:nvSpPr>
          <p:cNvPr id="139" name="Google Shape;139;p21"/>
          <p:cNvSpPr txBox="1">
            <a:spLocks noGrp="1"/>
          </p:cNvSpPr>
          <p:nvPr>
            <p:ph type="subTitle" idx="1"/>
          </p:nvPr>
        </p:nvSpPr>
        <p:spPr>
          <a:xfrm>
            <a:off x="4446017" y="3344673"/>
            <a:ext cx="6306167" cy="451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400"/>
              <a:buFont typeface="Roboto Mono"/>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400"/>
              <a:buFont typeface="Arial"/>
              <a:buNone/>
              <a:defRPr>
                <a:solidFill>
                  <a:schemeClr val="dk1"/>
                </a:solidFill>
              </a:defRPr>
            </a:lvl2pPr>
            <a:lvl3pPr lvl="2" algn="l">
              <a:lnSpc>
                <a:spcPct val="90000"/>
              </a:lnSpc>
              <a:spcBef>
                <a:spcPts val="0"/>
              </a:spcBef>
              <a:spcAft>
                <a:spcPts val="0"/>
              </a:spcAft>
              <a:buClr>
                <a:schemeClr val="dk1"/>
              </a:buClr>
              <a:buSzPts val="1400"/>
              <a:buFont typeface="Arial"/>
              <a:buNone/>
              <a:defRPr>
                <a:solidFill>
                  <a:schemeClr val="dk1"/>
                </a:solidFill>
              </a:defRPr>
            </a:lvl3pPr>
            <a:lvl4pPr lvl="3" algn="l">
              <a:lnSpc>
                <a:spcPct val="90000"/>
              </a:lnSpc>
              <a:spcBef>
                <a:spcPts val="0"/>
              </a:spcBef>
              <a:spcAft>
                <a:spcPts val="0"/>
              </a:spcAft>
              <a:buClr>
                <a:schemeClr val="dk1"/>
              </a:buClr>
              <a:buSzPts val="1400"/>
              <a:buFont typeface="Arial"/>
              <a:buNone/>
              <a:defRPr>
                <a:solidFill>
                  <a:schemeClr val="dk1"/>
                </a:solidFill>
              </a:defRPr>
            </a:lvl4pPr>
            <a:lvl5pPr lvl="4" algn="l">
              <a:lnSpc>
                <a:spcPct val="90000"/>
              </a:lnSpc>
              <a:spcBef>
                <a:spcPts val="0"/>
              </a:spcBef>
              <a:spcAft>
                <a:spcPts val="0"/>
              </a:spcAft>
              <a:buClr>
                <a:schemeClr val="dk1"/>
              </a:buClr>
              <a:buSzPts val="1400"/>
              <a:buFont typeface="Arial"/>
              <a:buNone/>
              <a:defRPr>
                <a:solidFill>
                  <a:schemeClr val="dk1"/>
                </a:solidFill>
              </a:defRPr>
            </a:lvl5pPr>
            <a:lvl6pPr lvl="5" algn="l">
              <a:lnSpc>
                <a:spcPct val="90000"/>
              </a:lnSpc>
              <a:spcBef>
                <a:spcPts val="0"/>
              </a:spcBef>
              <a:spcAft>
                <a:spcPts val="0"/>
              </a:spcAft>
              <a:buClr>
                <a:schemeClr val="dk1"/>
              </a:buClr>
              <a:buSzPts val="1400"/>
              <a:buNone/>
              <a:defRPr>
                <a:solidFill>
                  <a:schemeClr val="dk1"/>
                </a:solidFill>
              </a:defRPr>
            </a:lvl6pPr>
            <a:lvl7pPr lvl="6" algn="l">
              <a:lnSpc>
                <a:spcPct val="90000"/>
              </a:lnSpc>
              <a:spcBef>
                <a:spcPts val="0"/>
              </a:spcBef>
              <a:spcAft>
                <a:spcPts val="0"/>
              </a:spcAft>
              <a:buClr>
                <a:schemeClr val="dk1"/>
              </a:buClr>
              <a:buSzPts val="1400"/>
              <a:buNone/>
              <a:defRPr>
                <a:solidFill>
                  <a:schemeClr val="dk1"/>
                </a:solidFill>
              </a:defRPr>
            </a:lvl7pPr>
            <a:lvl8pPr lvl="7" algn="l">
              <a:lnSpc>
                <a:spcPct val="90000"/>
              </a:lnSpc>
              <a:spcBef>
                <a:spcPts val="0"/>
              </a:spcBef>
              <a:spcAft>
                <a:spcPts val="0"/>
              </a:spcAft>
              <a:buClr>
                <a:schemeClr val="dk1"/>
              </a:buClr>
              <a:buSzPts val="1400"/>
              <a:buNone/>
              <a:defRPr>
                <a:solidFill>
                  <a:schemeClr val="dk1"/>
                </a:solidFill>
              </a:defRPr>
            </a:lvl8pPr>
            <a:lvl9pPr lvl="8" algn="l">
              <a:lnSpc>
                <a:spcPct val="90000"/>
              </a:lnSpc>
              <a:spcBef>
                <a:spcPts val="0"/>
              </a:spcBef>
              <a:spcAft>
                <a:spcPts val="0"/>
              </a:spcAft>
              <a:buClr>
                <a:schemeClr val="dk1"/>
              </a:buClr>
              <a:buSzPts val="1400"/>
              <a:buNone/>
              <a:defRPr>
                <a:solidFill>
                  <a:schemeClr val="dk1"/>
                </a:solidFill>
              </a:defRPr>
            </a:lvl9pPr>
          </a:lstStyle>
          <a:p>
            <a:endParaRPr/>
          </a:p>
        </p:txBody>
      </p:sp>
      <p:sp>
        <p:nvSpPr>
          <p:cNvPr id="140" name="Google Shape;140;p21"/>
          <p:cNvSpPr txBox="1">
            <a:spLocks noGrp="1"/>
          </p:cNvSpPr>
          <p:nvPr>
            <p:ph type="body" idx="3"/>
          </p:nvPr>
        </p:nvSpPr>
        <p:spPr>
          <a:xfrm>
            <a:off x="4446017" y="3795873"/>
            <a:ext cx="6306167" cy="407465"/>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200"/>
              <a:buFont typeface="Arial"/>
              <a:buNone/>
              <a:defRPr sz="1599">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400"/>
              <a:buFont typeface="Arial"/>
              <a:buNone/>
              <a:defRPr>
                <a:solidFill>
                  <a:schemeClr val="dk1"/>
                </a:solidFill>
              </a:defRPr>
            </a:lvl2pPr>
            <a:lvl3pPr marL="1827108" lvl="2" indent="-304518" algn="l">
              <a:lnSpc>
                <a:spcPct val="90000"/>
              </a:lnSpc>
              <a:spcBef>
                <a:spcPts val="500"/>
              </a:spcBef>
              <a:spcAft>
                <a:spcPts val="0"/>
              </a:spcAft>
              <a:buClr>
                <a:schemeClr val="dk1"/>
              </a:buClr>
              <a:buSzPts val="1200"/>
              <a:buFont typeface="Arial"/>
              <a:buNone/>
              <a:defRPr>
                <a:solidFill>
                  <a:schemeClr val="dk1"/>
                </a:solidFill>
              </a:defRPr>
            </a:lvl3pPr>
            <a:lvl4pPr marL="2436144" lvl="3" indent="-304518" algn="l">
              <a:lnSpc>
                <a:spcPct val="90000"/>
              </a:lnSpc>
              <a:spcBef>
                <a:spcPts val="500"/>
              </a:spcBef>
              <a:spcAft>
                <a:spcPts val="0"/>
              </a:spcAft>
              <a:buClr>
                <a:schemeClr val="dk1"/>
              </a:buClr>
              <a:buSzPts val="1000"/>
              <a:buFont typeface="Arial"/>
              <a:buNone/>
              <a:defRPr>
                <a:solidFill>
                  <a:schemeClr val="dk1"/>
                </a:solidFill>
              </a:defRPr>
            </a:lvl4pPr>
            <a:lvl5pPr marL="3045181" lvl="4" indent="-304518" algn="l">
              <a:lnSpc>
                <a:spcPct val="90000"/>
              </a:lnSpc>
              <a:spcBef>
                <a:spcPts val="500"/>
              </a:spcBef>
              <a:spcAft>
                <a:spcPts val="0"/>
              </a:spcAft>
              <a:buClr>
                <a:schemeClr val="dk1"/>
              </a:buClr>
              <a:buSzPts val="1000"/>
              <a:buFont typeface="Arial"/>
              <a:buNone/>
              <a:defRPr>
                <a:solidFill>
                  <a:schemeClr val="dk1"/>
                </a:solidFill>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49860205"/>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matchingName="13. Speaker card  (2 people)">
  <p:cSld name="13. Speaker card  (2 people)">
    <p:bg>
      <p:bgPr>
        <a:blipFill>
          <a:blip r:embed="rId2">
            <a:alphaModFix/>
          </a:blip>
          <a:stretch>
            <a:fillRect/>
          </a:stretch>
        </a:blipFill>
        <a:effectLst/>
      </p:bgPr>
    </p:bg>
    <p:spTree>
      <p:nvGrpSpPr>
        <p:cNvPr id="1" name="Shape 141"/>
        <p:cNvGrpSpPr/>
        <p:nvPr/>
      </p:nvGrpSpPr>
      <p:grpSpPr>
        <a:xfrm>
          <a:off x="0" y="0"/>
          <a:ext cx="0" cy="0"/>
          <a:chOff x="0" y="0"/>
          <a:chExt cx="0" cy="0"/>
        </a:xfrm>
      </p:grpSpPr>
      <p:sp>
        <p:nvSpPr>
          <p:cNvPr id="142" name="Google Shape;142;p22"/>
          <p:cNvSpPr>
            <a:spLocks noGrp="1"/>
          </p:cNvSpPr>
          <p:nvPr>
            <p:ph type="pic" idx="2"/>
          </p:nvPr>
        </p:nvSpPr>
        <p:spPr>
          <a:xfrm>
            <a:off x="498679" y="4194796"/>
            <a:ext cx="1143200" cy="1143200"/>
          </a:xfrm>
          <a:prstGeom prst="ellipse">
            <a:avLst/>
          </a:prstGeom>
          <a:noFill/>
          <a:ln w="19050" cap="flat" cmpd="sng">
            <a:solidFill>
              <a:schemeClr val="dk1"/>
            </a:solidFill>
            <a:prstDash val="solid"/>
            <a:round/>
            <a:headEnd type="none" w="sm" len="sm"/>
            <a:tailEnd type="none" w="sm" len="sm"/>
          </a:ln>
          <a:effectLst>
            <a:reflection stA="20000" endPos="15000" dist="38100" dir="5400000" fadeDir="5400012" sy="-100000" algn="bl" rotWithShape="0"/>
          </a:effectLst>
        </p:spPr>
      </p:sp>
      <p:sp>
        <p:nvSpPr>
          <p:cNvPr id="143" name="Google Shape;143;p22"/>
          <p:cNvSpPr>
            <a:spLocks noGrp="1"/>
          </p:cNvSpPr>
          <p:nvPr>
            <p:ph type="pic" idx="3"/>
          </p:nvPr>
        </p:nvSpPr>
        <p:spPr>
          <a:xfrm>
            <a:off x="6069849" y="4194796"/>
            <a:ext cx="1143200" cy="1143200"/>
          </a:xfrm>
          <a:prstGeom prst="ellipse">
            <a:avLst/>
          </a:prstGeom>
          <a:noFill/>
          <a:ln w="19050" cap="flat" cmpd="sng">
            <a:solidFill>
              <a:schemeClr val="dk1"/>
            </a:solidFill>
            <a:prstDash val="solid"/>
            <a:round/>
            <a:headEnd type="none" w="sm" len="sm"/>
            <a:tailEnd type="none" w="sm" len="sm"/>
          </a:ln>
          <a:effectLst>
            <a:reflection stA="20000" endPos="15000" dist="38100" dir="5400000" fadeDir="5400012" sy="-100000" algn="bl" rotWithShape="0"/>
          </a:effectLst>
        </p:spPr>
      </p:sp>
      <p:sp>
        <p:nvSpPr>
          <p:cNvPr id="144" name="Google Shape;144;p22"/>
          <p:cNvSpPr txBox="1">
            <a:spLocks noGrp="1"/>
          </p:cNvSpPr>
          <p:nvPr>
            <p:ph type="title"/>
          </p:nvPr>
        </p:nvSpPr>
        <p:spPr>
          <a:xfrm>
            <a:off x="508000" y="1840993"/>
            <a:ext cx="9144000" cy="98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3600"/>
              <a:buFont typeface="Arial"/>
              <a:buNone/>
              <a:defRPr sz="4796" b="1" i="0">
                <a:solidFill>
                  <a:schemeClr val="dk1"/>
                </a:solidFill>
                <a:latin typeface="Arial"/>
                <a:ea typeface="Arial"/>
                <a:cs typeface="Arial"/>
                <a:sym typeface="Aria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
        <p:nvSpPr>
          <p:cNvPr id="145" name="Google Shape;145;p22"/>
          <p:cNvSpPr txBox="1">
            <a:spLocks noGrp="1"/>
          </p:cNvSpPr>
          <p:nvPr>
            <p:ph type="title" idx="4"/>
          </p:nvPr>
        </p:nvSpPr>
        <p:spPr>
          <a:xfrm>
            <a:off x="1775968" y="4234651"/>
            <a:ext cx="3816000" cy="585199"/>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spcBef>
                <a:spcPts val="0"/>
              </a:spcBef>
              <a:spcAft>
                <a:spcPts val="0"/>
              </a:spcAft>
              <a:buClr>
                <a:schemeClr val="dk1"/>
              </a:buClr>
              <a:buSzPts val="1600"/>
              <a:buNone/>
              <a:defRPr sz="2131">
                <a:solidFill>
                  <a:schemeClr val="dk1"/>
                </a:solidFill>
              </a:defRPr>
            </a:lvl2pPr>
            <a:lvl3pPr lvl="2">
              <a:spcBef>
                <a:spcPts val="0"/>
              </a:spcBef>
              <a:spcAft>
                <a:spcPts val="0"/>
              </a:spcAft>
              <a:buClr>
                <a:schemeClr val="dk1"/>
              </a:buClr>
              <a:buSzPts val="1600"/>
              <a:buNone/>
              <a:defRPr sz="2131">
                <a:solidFill>
                  <a:schemeClr val="dk1"/>
                </a:solidFill>
              </a:defRPr>
            </a:lvl3pPr>
            <a:lvl4pPr lvl="3">
              <a:spcBef>
                <a:spcPts val="0"/>
              </a:spcBef>
              <a:spcAft>
                <a:spcPts val="0"/>
              </a:spcAft>
              <a:buClr>
                <a:schemeClr val="dk1"/>
              </a:buClr>
              <a:buSzPts val="1600"/>
              <a:buNone/>
              <a:defRPr sz="2131">
                <a:solidFill>
                  <a:schemeClr val="dk1"/>
                </a:solidFill>
              </a:defRPr>
            </a:lvl4pPr>
            <a:lvl5pPr lvl="4">
              <a:spcBef>
                <a:spcPts val="0"/>
              </a:spcBef>
              <a:spcAft>
                <a:spcPts val="0"/>
              </a:spcAft>
              <a:buClr>
                <a:schemeClr val="dk1"/>
              </a:buClr>
              <a:buSzPts val="1600"/>
              <a:buNone/>
              <a:defRPr sz="2131">
                <a:solidFill>
                  <a:schemeClr val="dk1"/>
                </a:solidFill>
              </a:defRPr>
            </a:lvl5pPr>
            <a:lvl6pPr lvl="5">
              <a:spcBef>
                <a:spcPts val="0"/>
              </a:spcBef>
              <a:spcAft>
                <a:spcPts val="0"/>
              </a:spcAft>
              <a:buClr>
                <a:schemeClr val="dk1"/>
              </a:buClr>
              <a:buSzPts val="1600"/>
              <a:buNone/>
              <a:defRPr sz="2131">
                <a:solidFill>
                  <a:schemeClr val="dk1"/>
                </a:solidFill>
              </a:defRPr>
            </a:lvl6pPr>
            <a:lvl7pPr lvl="6">
              <a:spcBef>
                <a:spcPts val="0"/>
              </a:spcBef>
              <a:spcAft>
                <a:spcPts val="0"/>
              </a:spcAft>
              <a:buClr>
                <a:schemeClr val="dk1"/>
              </a:buClr>
              <a:buSzPts val="1600"/>
              <a:buNone/>
              <a:defRPr sz="2131">
                <a:solidFill>
                  <a:schemeClr val="dk1"/>
                </a:solidFill>
              </a:defRPr>
            </a:lvl7pPr>
            <a:lvl8pPr lvl="7">
              <a:spcBef>
                <a:spcPts val="0"/>
              </a:spcBef>
              <a:spcAft>
                <a:spcPts val="0"/>
              </a:spcAft>
              <a:buClr>
                <a:schemeClr val="dk1"/>
              </a:buClr>
              <a:buSzPts val="1600"/>
              <a:buNone/>
              <a:defRPr sz="2131">
                <a:solidFill>
                  <a:schemeClr val="dk1"/>
                </a:solidFill>
              </a:defRPr>
            </a:lvl8pPr>
            <a:lvl9pPr lvl="8">
              <a:spcBef>
                <a:spcPts val="0"/>
              </a:spcBef>
              <a:spcAft>
                <a:spcPts val="0"/>
              </a:spcAft>
              <a:buClr>
                <a:schemeClr val="dk1"/>
              </a:buClr>
              <a:buSzPts val="1600"/>
              <a:buNone/>
              <a:defRPr sz="2131">
                <a:solidFill>
                  <a:schemeClr val="dk1"/>
                </a:solidFill>
              </a:defRPr>
            </a:lvl9pPr>
          </a:lstStyle>
          <a:p>
            <a:endParaRPr/>
          </a:p>
        </p:txBody>
      </p:sp>
      <p:sp>
        <p:nvSpPr>
          <p:cNvPr id="146" name="Google Shape;146;p22"/>
          <p:cNvSpPr txBox="1">
            <a:spLocks noGrp="1"/>
          </p:cNvSpPr>
          <p:nvPr>
            <p:ph type="subTitle" idx="1"/>
          </p:nvPr>
        </p:nvSpPr>
        <p:spPr>
          <a:xfrm>
            <a:off x="1775968" y="4622276"/>
            <a:ext cx="3816000" cy="451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200"/>
              <a:buFont typeface="Roboto Mono"/>
              <a:buNone/>
              <a:defRPr sz="1599"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2pPr>
            <a:lvl3pPr lvl="2"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3pPr>
            <a:lvl4pPr lvl="3"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4pPr>
            <a:lvl5pPr lvl="4"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5pPr>
            <a:lvl6pPr lvl="5"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6pPr>
            <a:lvl7pPr lvl="6"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7pPr>
            <a:lvl8pPr lvl="7"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8pPr>
            <a:lvl9pPr lvl="8"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9pPr>
          </a:lstStyle>
          <a:p>
            <a:endParaRPr/>
          </a:p>
        </p:txBody>
      </p:sp>
      <p:sp>
        <p:nvSpPr>
          <p:cNvPr id="147" name="Google Shape;147;p22"/>
          <p:cNvSpPr txBox="1">
            <a:spLocks noGrp="1"/>
          </p:cNvSpPr>
          <p:nvPr>
            <p:ph type="title" idx="5"/>
          </p:nvPr>
        </p:nvSpPr>
        <p:spPr>
          <a:xfrm>
            <a:off x="7351188" y="4234651"/>
            <a:ext cx="3816000" cy="585199"/>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spcBef>
                <a:spcPts val="0"/>
              </a:spcBef>
              <a:spcAft>
                <a:spcPts val="0"/>
              </a:spcAft>
              <a:buClr>
                <a:schemeClr val="dk1"/>
              </a:buClr>
              <a:buSzPts val="1600"/>
              <a:buNone/>
              <a:defRPr sz="2131">
                <a:solidFill>
                  <a:schemeClr val="dk1"/>
                </a:solidFill>
              </a:defRPr>
            </a:lvl2pPr>
            <a:lvl3pPr lvl="2">
              <a:spcBef>
                <a:spcPts val="0"/>
              </a:spcBef>
              <a:spcAft>
                <a:spcPts val="0"/>
              </a:spcAft>
              <a:buClr>
                <a:schemeClr val="dk1"/>
              </a:buClr>
              <a:buSzPts val="1600"/>
              <a:buNone/>
              <a:defRPr sz="2131">
                <a:solidFill>
                  <a:schemeClr val="dk1"/>
                </a:solidFill>
              </a:defRPr>
            </a:lvl3pPr>
            <a:lvl4pPr lvl="3">
              <a:spcBef>
                <a:spcPts val="0"/>
              </a:spcBef>
              <a:spcAft>
                <a:spcPts val="0"/>
              </a:spcAft>
              <a:buClr>
                <a:schemeClr val="dk1"/>
              </a:buClr>
              <a:buSzPts val="1600"/>
              <a:buNone/>
              <a:defRPr sz="2131">
                <a:solidFill>
                  <a:schemeClr val="dk1"/>
                </a:solidFill>
              </a:defRPr>
            </a:lvl4pPr>
            <a:lvl5pPr lvl="4">
              <a:spcBef>
                <a:spcPts val="0"/>
              </a:spcBef>
              <a:spcAft>
                <a:spcPts val="0"/>
              </a:spcAft>
              <a:buClr>
                <a:schemeClr val="dk1"/>
              </a:buClr>
              <a:buSzPts val="1600"/>
              <a:buNone/>
              <a:defRPr sz="2131">
                <a:solidFill>
                  <a:schemeClr val="dk1"/>
                </a:solidFill>
              </a:defRPr>
            </a:lvl5pPr>
            <a:lvl6pPr lvl="5">
              <a:spcBef>
                <a:spcPts val="0"/>
              </a:spcBef>
              <a:spcAft>
                <a:spcPts val="0"/>
              </a:spcAft>
              <a:buClr>
                <a:schemeClr val="dk1"/>
              </a:buClr>
              <a:buSzPts val="1600"/>
              <a:buNone/>
              <a:defRPr sz="2131">
                <a:solidFill>
                  <a:schemeClr val="dk1"/>
                </a:solidFill>
              </a:defRPr>
            </a:lvl6pPr>
            <a:lvl7pPr lvl="6">
              <a:spcBef>
                <a:spcPts val="0"/>
              </a:spcBef>
              <a:spcAft>
                <a:spcPts val="0"/>
              </a:spcAft>
              <a:buClr>
                <a:schemeClr val="dk1"/>
              </a:buClr>
              <a:buSzPts val="1600"/>
              <a:buNone/>
              <a:defRPr sz="2131">
                <a:solidFill>
                  <a:schemeClr val="dk1"/>
                </a:solidFill>
              </a:defRPr>
            </a:lvl7pPr>
            <a:lvl8pPr lvl="7">
              <a:spcBef>
                <a:spcPts val="0"/>
              </a:spcBef>
              <a:spcAft>
                <a:spcPts val="0"/>
              </a:spcAft>
              <a:buClr>
                <a:schemeClr val="dk1"/>
              </a:buClr>
              <a:buSzPts val="1600"/>
              <a:buNone/>
              <a:defRPr sz="2131">
                <a:solidFill>
                  <a:schemeClr val="dk1"/>
                </a:solidFill>
              </a:defRPr>
            </a:lvl8pPr>
            <a:lvl9pPr lvl="8">
              <a:spcBef>
                <a:spcPts val="0"/>
              </a:spcBef>
              <a:spcAft>
                <a:spcPts val="0"/>
              </a:spcAft>
              <a:buClr>
                <a:schemeClr val="dk1"/>
              </a:buClr>
              <a:buSzPts val="1600"/>
              <a:buNone/>
              <a:defRPr sz="2131">
                <a:solidFill>
                  <a:schemeClr val="dk1"/>
                </a:solidFill>
              </a:defRPr>
            </a:lvl9pPr>
          </a:lstStyle>
          <a:p>
            <a:endParaRPr/>
          </a:p>
        </p:txBody>
      </p:sp>
      <p:sp>
        <p:nvSpPr>
          <p:cNvPr id="148" name="Google Shape;148;p22"/>
          <p:cNvSpPr txBox="1">
            <a:spLocks noGrp="1"/>
          </p:cNvSpPr>
          <p:nvPr>
            <p:ph type="subTitle" idx="6"/>
          </p:nvPr>
        </p:nvSpPr>
        <p:spPr>
          <a:xfrm>
            <a:off x="7351188" y="4622276"/>
            <a:ext cx="3816000" cy="451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200"/>
              <a:buFont typeface="Roboto Mono"/>
              <a:buNone/>
              <a:defRPr sz="1599"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2pPr>
            <a:lvl3pPr lvl="2"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3pPr>
            <a:lvl4pPr lvl="3"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4pPr>
            <a:lvl5pPr lvl="4"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5pPr>
            <a:lvl6pPr lvl="5"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6pPr>
            <a:lvl7pPr lvl="6"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7pPr>
            <a:lvl8pPr lvl="7"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8pPr>
            <a:lvl9pPr lvl="8"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9pPr>
          </a:lstStyle>
          <a:p>
            <a:endParaRPr/>
          </a:p>
        </p:txBody>
      </p:sp>
      <p:cxnSp>
        <p:nvCxnSpPr>
          <p:cNvPr id="149" name="Google Shape;149;p22"/>
          <p:cNvCxnSpPr/>
          <p:nvPr/>
        </p:nvCxnSpPr>
        <p:spPr>
          <a:xfrm>
            <a:off x="603792" y="3429001"/>
            <a:ext cx="7323200" cy="0"/>
          </a:xfrm>
          <a:prstGeom prst="straightConnector1">
            <a:avLst/>
          </a:prstGeom>
          <a:noFill/>
          <a:ln w="19050" cap="rnd" cmpd="sng">
            <a:solidFill>
              <a:schemeClr val="dk1"/>
            </a:solidFill>
            <a:prstDash val="solid"/>
            <a:round/>
            <a:headEnd type="none" w="sm" len="sm"/>
            <a:tailEnd type="none" w="sm" len="sm"/>
          </a:ln>
        </p:spPr>
      </p:cxnSp>
      <p:sp>
        <p:nvSpPr>
          <p:cNvPr id="150" name="Google Shape;150;p22"/>
          <p:cNvSpPr txBox="1">
            <a:spLocks noGrp="1"/>
          </p:cNvSpPr>
          <p:nvPr>
            <p:ph type="body" idx="7"/>
          </p:nvPr>
        </p:nvSpPr>
        <p:spPr>
          <a:xfrm>
            <a:off x="1775968" y="4986136"/>
            <a:ext cx="3816000" cy="39536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000"/>
              <a:buFont typeface="Arial"/>
              <a:buNone/>
              <a:defRPr sz="1332"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51" name="Google Shape;151;p22"/>
          <p:cNvSpPr txBox="1">
            <a:spLocks noGrp="1"/>
          </p:cNvSpPr>
          <p:nvPr>
            <p:ph type="body" idx="8"/>
          </p:nvPr>
        </p:nvSpPr>
        <p:spPr>
          <a:xfrm>
            <a:off x="7351188" y="4986136"/>
            <a:ext cx="3816000" cy="39536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000"/>
              <a:buFont typeface="Arial"/>
              <a:buNone/>
              <a:defRPr sz="1332"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9661407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matchingName="13. Speaker card  (2 people)">
  <p:cSld name="1_13. Speaker card  (2 people)">
    <p:bg>
      <p:bgPr>
        <a:solidFill>
          <a:schemeClr val="lt1"/>
        </a:solidFill>
        <a:effectLst/>
      </p:bgPr>
    </p:bg>
    <p:spTree>
      <p:nvGrpSpPr>
        <p:cNvPr id="1" name="Shape 152"/>
        <p:cNvGrpSpPr/>
        <p:nvPr/>
      </p:nvGrpSpPr>
      <p:grpSpPr>
        <a:xfrm>
          <a:off x="0" y="0"/>
          <a:ext cx="0" cy="0"/>
          <a:chOff x="0" y="0"/>
          <a:chExt cx="0" cy="0"/>
        </a:xfrm>
      </p:grpSpPr>
      <p:pic>
        <p:nvPicPr>
          <p:cNvPr id="153" name="Google Shape;153;p23"/>
          <p:cNvPicPr preferRelativeResize="0"/>
          <p:nvPr/>
        </p:nvPicPr>
        <p:blipFill rotWithShape="1">
          <a:blip r:embed="rId2">
            <a:alphaModFix/>
          </a:blip>
          <a:srcRect/>
          <a:stretch/>
        </p:blipFill>
        <p:spPr>
          <a:xfrm>
            <a:off x="0" y="1"/>
            <a:ext cx="12192000" cy="6858000"/>
          </a:xfrm>
          <a:prstGeom prst="rect">
            <a:avLst/>
          </a:prstGeom>
          <a:noFill/>
          <a:ln>
            <a:noFill/>
          </a:ln>
        </p:spPr>
      </p:pic>
      <p:sp>
        <p:nvSpPr>
          <p:cNvPr id="154" name="Google Shape;154;p23"/>
          <p:cNvSpPr>
            <a:spLocks noGrp="1"/>
          </p:cNvSpPr>
          <p:nvPr>
            <p:ph type="pic" idx="2"/>
          </p:nvPr>
        </p:nvSpPr>
        <p:spPr>
          <a:xfrm>
            <a:off x="498679" y="4194796"/>
            <a:ext cx="1143200" cy="1143200"/>
          </a:xfrm>
          <a:prstGeom prst="ellipse">
            <a:avLst/>
          </a:prstGeom>
          <a:noFill/>
          <a:ln w="19050" cap="flat" cmpd="sng">
            <a:solidFill>
              <a:schemeClr val="dk1"/>
            </a:solidFill>
            <a:prstDash val="solid"/>
            <a:round/>
            <a:headEnd type="none" w="sm" len="sm"/>
            <a:tailEnd type="none" w="sm" len="sm"/>
          </a:ln>
          <a:effectLst>
            <a:reflection stA="20000" endPos="15000" dist="38100" dir="5400000" fadeDir="5400012" sy="-100000" algn="bl" rotWithShape="0"/>
          </a:effectLst>
        </p:spPr>
      </p:sp>
      <p:sp>
        <p:nvSpPr>
          <p:cNvPr id="155" name="Google Shape;155;p23"/>
          <p:cNvSpPr>
            <a:spLocks noGrp="1"/>
          </p:cNvSpPr>
          <p:nvPr>
            <p:ph type="pic" idx="3"/>
          </p:nvPr>
        </p:nvSpPr>
        <p:spPr>
          <a:xfrm>
            <a:off x="6069849" y="4194796"/>
            <a:ext cx="1143200" cy="1143200"/>
          </a:xfrm>
          <a:prstGeom prst="ellipse">
            <a:avLst/>
          </a:prstGeom>
          <a:noFill/>
          <a:ln w="19050" cap="flat" cmpd="sng">
            <a:solidFill>
              <a:schemeClr val="dk1"/>
            </a:solidFill>
            <a:prstDash val="solid"/>
            <a:round/>
            <a:headEnd type="none" w="sm" len="sm"/>
            <a:tailEnd type="none" w="sm" len="sm"/>
          </a:ln>
          <a:effectLst>
            <a:reflection stA="20000" endPos="15000" dist="38100" dir="5400000" fadeDir="5400012" sy="-100000" algn="bl" rotWithShape="0"/>
          </a:effectLst>
        </p:spPr>
      </p:sp>
      <p:sp>
        <p:nvSpPr>
          <p:cNvPr id="156" name="Google Shape;156;p23"/>
          <p:cNvSpPr txBox="1">
            <a:spLocks noGrp="1"/>
          </p:cNvSpPr>
          <p:nvPr>
            <p:ph type="title"/>
          </p:nvPr>
        </p:nvSpPr>
        <p:spPr>
          <a:xfrm>
            <a:off x="508000" y="1840993"/>
            <a:ext cx="9144000" cy="98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3600"/>
              <a:buFont typeface="Arial"/>
              <a:buNone/>
              <a:defRPr sz="4796" b="1" i="0">
                <a:solidFill>
                  <a:schemeClr val="dk1"/>
                </a:solidFill>
                <a:latin typeface="Arial"/>
                <a:ea typeface="Arial"/>
                <a:cs typeface="Arial"/>
                <a:sym typeface="Aria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
        <p:nvSpPr>
          <p:cNvPr id="157" name="Google Shape;157;p23"/>
          <p:cNvSpPr txBox="1">
            <a:spLocks noGrp="1"/>
          </p:cNvSpPr>
          <p:nvPr>
            <p:ph type="title" idx="4"/>
          </p:nvPr>
        </p:nvSpPr>
        <p:spPr>
          <a:xfrm>
            <a:off x="1775968" y="4234650"/>
            <a:ext cx="3816000" cy="584675"/>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spcBef>
                <a:spcPts val="0"/>
              </a:spcBef>
              <a:spcAft>
                <a:spcPts val="0"/>
              </a:spcAft>
              <a:buClr>
                <a:schemeClr val="dk1"/>
              </a:buClr>
              <a:buSzPts val="1600"/>
              <a:buNone/>
              <a:defRPr sz="2131">
                <a:solidFill>
                  <a:schemeClr val="dk1"/>
                </a:solidFill>
              </a:defRPr>
            </a:lvl2pPr>
            <a:lvl3pPr lvl="2">
              <a:spcBef>
                <a:spcPts val="0"/>
              </a:spcBef>
              <a:spcAft>
                <a:spcPts val="0"/>
              </a:spcAft>
              <a:buClr>
                <a:schemeClr val="dk1"/>
              </a:buClr>
              <a:buSzPts val="1600"/>
              <a:buNone/>
              <a:defRPr sz="2131">
                <a:solidFill>
                  <a:schemeClr val="dk1"/>
                </a:solidFill>
              </a:defRPr>
            </a:lvl3pPr>
            <a:lvl4pPr lvl="3">
              <a:spcBef>
                <a:spcPts val="0"/>
              </a:spcBef>
              <a:spcAft>
                <a:spcPts val="0"/>
              </a:spcAft>
              <a:buClr>
                <a:schemeClr val="dk1"/>
              </a:buClr>
              <a:buSzPts val="1600"/>
              <a:buNone/>
              <a:defRPr sz="2131">
                <a:solidFill>
                  <a:schemeClr val="dk1"/>
                </a:solidFill>
              </a:defRPr>
            </a:lvl4pPr>
            <a:lvl5pPr lvl="4">
              <a:spcBef>
                <a:spcPts val="0"/>
              </a:spcBef>
              <a:spcAft>
                <a:spcPts val="0"/>
              </a:spcAft>
              <a:buClr>
                <a:schemeClr val="dk1"/>
              </a:buClr>
              <a:buSzPts val="1600"/>
              <a:buNone/>
              <a:defRPr sz="2131">
                <a:solidFill>
                  <a:schemeClr val="dk1"/>
                </a:solidFill>
              </a:defRPr>
            </a:lvl5pPr>
            <a:lvl6pPr lvl="5">
              <a:spcBef>
                <a:spcPts val="0"/>
              </a:spcBef>
              <a:spcAft>
                <a:spcPts val="0"/>
              </a:spcAft>
              <a:buClr>
                <a:schemeClr val="dk1"/>
              </a:buClr>
              <a:buSzPts val="1600"/>
              <a:buNone/>
              <a:defRPr sz="2131">
                <a:solidFill>
                  <a:schemeClr val="dk1"/>
                </a:solidFill>
              </a:defRPr>
            </a:lvl6pPr>
            <a:lvl7pPr lvl="6">
              <a:spcBef>
                <a:spcPts val="0"/>
              </a:spcBef>
              <a:spcAft>
                <a:spcPts val="0"/>
              </a:spcAft>
              <a:buClr>
                <a:schemeClr val="dk1"/>
              </a:buClr>
              <a:buSzPts val="1600"/>
              <a:buNone/>
              <a:defRPr sz="2131">
                <a:solidFill>
                  <a:schemeClr val="dk1"/>
                </a:solidFill>
              </a:defRPr>
            </a:lvl7pPr>
            <a:lvl8pPr lvl="7">
              <a:spcBef>
                <a:spcPts val="0"/>
              </a:spcBef>
              <a:spcAft>
                <a:spcPts val="0"/>
              </a:spcAft>
              <a:buClr>
                <a:schemeClr val="dk1"/>
              </a:buClr>
              <a:buSzPts val="1600"/>
              <a:buNone/>
              <a:defRPr sz="2131">
                <a:solidFill>
                  <a:schemeClr val="dk1"/>
                </a:solidFill>
              </a:defRPr>
            </a:lvl8pPr>
            <a:lvl9pPr lvl="8">
              <a:spcBef>
                <a:spcPts val="0"/>
              </a:spcBef>
              <a:spcAft>
                <a:spcPts val="0"/>
              </a:spcAft>
              <a:buClr>
                <a:schemeClr val="dk1"/>
              </a:buClr>
              <a:buSzPts val="1600"/>
              <a:buNone/>
              <a:defRPr sz="2131">
                <a:solidFill>
                  <a:schemeClr val="dk1"/>
                </a:solidFill>
              </a:defRPr>
            </a:lvl9pPr>
          </a:lstStyle>
          <a:p>
            <a:endParaRPr/>
          </a:p>
        </p:txBody>
      </p:sp>
      <p:sp>
        <p:nvSpPr>
          <p:cNvPr id="158" name="Google Shape;158;p23"/>
          <p:cNvSpPr txBox="1">
            <a:spLocks noGrp="1"/>
          </p:cNvSpPr>
          <p:nvPr>
            <p:ph type="subTitle" idx="1"/>
          </p:nvPr>
        </p:nvSpPr>
        <p:spPr>
          <a:xfrm>
            <a:off x="1775968" y="4622276"/>
            <a:ext cx="3816000" cy="451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200"/>
              <a:buFont typeface="Roboto Mono"/>
              <a:buNone/>
              <a:defRPr sz="1599"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2pPr>
            <a:lvl3pPr lvl="2"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3pPr>
            <a:lvl4pPr lvl="3"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4pPr>
            <a:lvl5pPr lvl="4"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5pPr>
            <a:lvl6pPr lvl="5"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6pPr>
            <a:lvl7pPr lvl="6"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7pPr>
            <a:lvl8pPr lvl="7"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8pPr>
            <a:lvl9pPr lvl="8"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9pPr>
          </a:lstStyle>
          <a:p>
            <a:endParaRPr/>
          </a:p>
        </p:txBody>
      </p:sp>
      <p:sp>
        <p:nvSpPr>
          <p:cNvPr id="159" name="Google Shape;159;p23"/>
          <p:cNvSpPr txBox="1">
            <a:spLocks noGrp="1"/>
          </p:cNvSpPr>
          <p:nvPr>
            <p:ph type="title" idx="5"/>
          </p:nvPr>
        </p:nvSpPr>
        <p:spPr>
          <a:xfrm>
            <a:off x="7351188" y="4234650"/>
            <a:ext cx="3816000" cy="584675"/>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spcBef>
                <a:spcPts val="0"/>
              </a:spcBef>
              <a:spcAft>
                <a:spcPts val="0"/>
              </a:spcAft>
              <a:buClr>
                <a:schemeClr val="dk1"/>
              </a:buClr>
              <a:buSzPts val="1600"/>
              <a:buNone/>
              <a:defRPr sz="2131">
                <a:solidFill>
                  <a:schemeClr val="dk1"/>
                </a:solidFill>
              </a:defRPr>
            </a:lvl2pPr>
            <a:lvl3pPr lvl="2">
              <a:spcBef>
                <a:spcPts val="0"/>
              </a:spcBef>
              <a:spcAft>
                <a:spcPts val="0"/>
              </a:spcAft>
              <a:buClr>
                <a:schemeClr val="dk1"/>
              </a:buClr>
              <a:buSzPts val="1600"/>
              <a:buNone/>
              <a:defRPr sz="2131">
                <a:solidFill>
                  <a:schemeClr val="dk1"/>
                </a:solidFill>
              </a:defRPr>
            </a:lvl3pPr>
            <a:lvl4pPr lvl="3">
              <a:spcBef>
                <a:spcPts val="0"/>
              </a:spcBef>
              <a:spcAft>
                <a:spcPts val="0"/>
              </a:spcAft>
              <a:buClr>
                <a:schemeClr val="dk1"/>
              </a:buClr>
              <a:buSzPts val="1600"/>
              <a:buNone/>
              <a:defRPr sz="2131">
                <a:solidFill>
                  <a:schemeClr val="dk1"/>
                </a:solidFill>
              </a:defRPr>
            </a:lvl4pPr>
            <a:lvl5pPr lvl="4">
              <a:spcBef>
                <a:spcPts val="0"/>
              </a:spcBef>
              <a:spcAft>
                <a:spcPts val="0"/>
              </a:spcAft>
              <a:buClr>
                <a:schemeClr val="dk1"/>
              </a:buClr>
              <a:buSzPts val="1600"/>
              <a:buNone/>
              <a:defRPr sz="2131">
                <a:solidFill>
                  <a:schemeClr val="dk1"/>
                </a:solidFill>
              </a:defRPr>
            </a:lvl5pPr>
            <a:lvl6pPr lvl="5">
              <a:spcBef>
                <a:spcPts val="0"/>
              </a:spcBef>
              <a:spcAft>
                <a:spcPts val="0"/>
              </a:spcAft>
              <a:buClr>
                <a:schemeClr val="dk1"/>
              </a:buClr>
              <a:buSzPts val="1600"/>
              <a:buNone/>
              <a:defRPr sz="2131">
                <a:solidFill>
                  <a:schemeClr val="dk1"/>
                </a:solidFill>
              </a:defRPr>
            </a:lvl6pPr>
            <a:lvl7pPr lvl="6">
              <a:spcBef>
                <a:spcPts val="0"/>
              </a:spcBef>
              <a:spcAft>
                <a:spcPts val="0"/>
              </a:spcAft>
              <a:buClr>
                <a:schemeClr val="dk1"/>
              </a:buClr>
              <a:buSzPts val="1600"/>
              <a:buNone/>
              <a:defRPr sz="2131">
                <a:solidFill>
                  <a:schemeClr val="dk1"/>
                </a:solidFill>
              </a:defRPr>
            </a:lvl7pPr>
            <a:lvl8pPr lvl="7">
              <a:spcBef>
                <a:spcPts val="0"/>
              </a:spcBef>
              <a:spcAft>
                <a:spcPts val="0"/>
              </a:spcAft>
              <a:buClr>
                <a:schemeClr val="dk1"/>
              </a:buClr>
              <a:buSzPts val="1600"/>
              <a:buNone/>
              <a:defRPr sz="2131">
                <a:solidFill>
                  <a:schemeClr val="dk1"/>
                </a:solidFill>
              </a:defRPr>
            </a:lvl8pPr>
            <a:lvl9pPr lvl="8">
              <a:spcBef>
                <a:spcPts val="0"/>
              </a:spcBef>
              <a:spcAft>
                <a:spcPts val="0"/>
              </a:spcAft>
              <a:buClr>
                <a:schemeClr val="dk1"/>
              </a:buClr>
              <a:buSzPts val="1600"/>
              <a:buNone/>
              <a:defRPr sz="2131">
                <a:solidFill>
                  <a:schemeClr val="dk1"/>
                </a:solidFill>
              </a:defRPr>
            </a:lvl9pPr>
          </a:lstStyle>
          <a:p>
            <a:endParaRPr/>
          </a:p>
        </p:txBody>
      </p:sp>
      <p:sp>
        <p:nvSpPr>
          <p:cNvPr id="160" name="Google Shape;160;p23"/>
          <p:cNvSpPr txBox="1">
            <a:spLocks noGrp="1"/>
          </p:cNvSpPr>
          <p:nvPr>
            <p:ph type="subTitle" idx="6"/>
          </p:nvPr>
        </p:nvSpPr>
        <p:spPr>
          <a:xfrm>
            <a:off x="7351188" y="4622276"/>
            <a:ext cx="3816000" cy="451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200"/>
              <a:buFont typeface="Roboto Mono"/>
              <a:buNone/>
              <a:defRPr sz="1599"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2pPr>
            <a:lvl3pPr lvl="2"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3pPr>
            <a:lvl4pPr lvl="3"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4pPr>
            <a:lvl5pPr lvl="4"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5pPr>
            <a:lvl6pPr lvl="5"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6pPr>
            <a:lvl7pPr lvl="6"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7pPr>
            <a:lvl8pPr lvl="7"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8pPr>
            <a:lvl9pPr lvl="8"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9pPr>
          </a:lstStyle>
          <a:p>
            <a:endParaRPr/>
          </a:p>
        </p:txBody>
      </p:sp>
      <p:cxnSp>
        <p:nvCxnSpPr>
          <p:cNvPr id="161" name="Google Shape;161;p23"/>
          <p:cNvCxnSpPr/>
          <p:nvPr/>
        </p:nvCxnSpPr>
        <p:spPr>
          <a:xfrm>
            <a:off x="603792" y="3429001"/>
            <a:ext cx="7323200" cy="0"/>
          </a:xfrm>
          <a:prstGeom prst="straightConnector1">
            <a:avLst/>
          </a:prstGeom>
          <a:noFill/>
          <a:ln w="19050" cap="rnd" cmpd="sng">
            <a:solidFill>
              <a:schemeClr val="dk1"/>
            </a:solidFill>
            <a:prstDash val="solid"/>
            <a:round/>
            <a:headEnd type="none" w="sm" len="sm"/>
            <a:tailEnd type="none" w="sm" len="sm"/>
          </a:ln>
        </p:spPr>
      </p:cxnSp>
      <p:sp>
        <p:nvSpPr>
          <p:cNvPr id="162" name="Google Shape;162;p23"/>
          <p:cNvSpPr txBox="1">
            <a:spLocks noGrp="1"/>
          </p:cNvSpPr>
          <p:nvPr>
            <p:ph type="body" idx="7"/>
          </p:nvPr>
        </p:nvSpPr>
        <p:spPr>
          <a:xfrm>
            <a:off x="1775968" y="4986136"/>
            <a:ext cx="3816000" cy="39536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000"/>
              <a:buFont typeface="Arial"/>
              <a:buNone/>
              <a:defRPr sz="1332"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63" name="Google Shape;163;p23"/>
          <p:cNvSpPr txBox="1">
            <a:spLocks noGrp="1"/>
          </p:cNvSpPr>
          <p:nvPr>
            <p:ph type="body" idx="8"/>
          </p:nvPr>
        </p:nvSpPr>
        <p:spPr>
          <a:xfrm>
            <a:off x="7351188" y="4986136"/>
            <a:ext cx="3816000" cy="39536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000"/>
              <a:buFont typeface="Arial"/>
              <a:buNone/>
              <a:defRPr sz="1332"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472655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matchingName="15. Speaker card  (2 people)">
  <p:cSld name="15. Speaker card  (2 people)">
    <p:bg>
      <p:bgPr>
        <a:gradFill>
          <a:gsLst>
            <a:gs pos="0">
              <a:schemeClr val="accent4"/>
            </a:gs>
            <a:gs pos="52999">
              <a:schemeClr val="accent1"/>
            </a:gs>
            <a:gs pos="100000">
              <a:schemeClr val="accent6"/>
            </a:gs>
          </a:gsLst>
          <a:lin ang="18900044" scaled="0"/>
        </a:gradFill>
        <a:effectLst/>
      </p:bgPr>
    </p:bg>
    <p:spTree>
      <p:nvGrpSpPr>
        <p:cNvPr id="1" name="Shape 164"/>
        <p:cNvGrpSpPr/>
        <p:nvPr/>
      </p:nvGrpSpPr>
      <p:grpSpPr>
        <a:xfrm>
          <a:off x="0" y="0"/>
          <a:ext cx="0" cy="0"/>
          <a:chOff x="0" y="0"/>
          <a:chExt cx="0" cy="0"/>
        </a:xfrm>
      </p:grpSpPr>
      <p:sp>
        <p:nvSpPr>
          <p:cNvPr id="165" name="Google Shape;165;p24"/>
          <p:cNvSpPr>
            <a:spLocks noGrp="1"/>
          </p:cNvSpPr>
          <p:nvPr>
            <p:ph type="pic" idx="2"/>
          </p:nvPr>
        </p:nvSpPr>
        <p:spPr>
          <a:xfrm>
            <a:off x="498679" y="4194796"/>
            <a:ext cx="1143200" cy="1143200"/>
          </a:xfrm>
          <a:prstGeom prst="ellipse">
            <a:avLst/>
          </a:prstGeom>
          <a:noFill/>
          <a:ln w="19050" cap="flat" cmpd="sng">
            <a:solidFill>
              <a:schemeClr val="dk1"/>
            </a:solidFill>
            <a:prstDash val="solid"/>
            <a:round/>
            <a:headEnd type="none" w="sm" len="sm"/>
            <a:tailEnd type="none" w="sm" len="sm"/>
          </a:ln>
          <a:effectLst>
            <a:reflection stA="20000" endPos="15000" dist="38100" dir="5400000" fadeDir="5400012" sy="-100000" algn="bl" rotWithShape="0"/>
          </a:effectLst>
        </p:spPr>
      </p:sp>
      <p:sp>
        <p:nvSpPr>
          <p:cNvPr id="166" name="Google Shape;166;p24"/>
          <p:cNvSpPr>
            <a:spLocks noGrp="1"/>
          </p:cNvSpPr>
          <p:nvPr>
            <p:ph type="pic" idx="3"/>
          </p:nvPr>
        </p:nvSpPr>
        <p:spPr>
          <a:xfrm>
            <a:off x="6069849" y="4194796"/>
            <a:ext cx="1143200" cy="1143200"/>
          </a:xfrm>
          <a:prstGeom prst="ellipse">
            <a:avLst/>
          </a:prstGeom>
          <a:noFill/>
          <a:ln w="19050" cap="flat" cmpd="sng">
            <a:solidFill>
              <a:schemeClr val="dk1"/>
            </a:solidFill>
            <a:prstDash val="solid"/>
            <a:round/>
            <a:headEnd type="none" w="sm" len="sm"/>
            <a:tailEnd type="none" w="sm" len="sm"/>
          </a:ln>
          <a:effectLst>
            <a:reflection stA="20000" endPos="15000" dist="38100" dir="5400000" fadeDir="5400012" sy="-100000" algn="bl" rotWithShape="0"/>
          </a:effectLst>
        </p:spPr>
      </p:sp>
      <p:sp>
        <p:nvSpPr>
          <p:cNvPr id="167" name="Google Shape;167;p24"/>
          <p:cNvSpPr txBox="1">
            <a:spLocks noGrp="1"/>
          </p:cNvSpPr>
          <p:nvPr>
            <p:ph type="title"/>
          </p:nvPr>
        </p:nvSpPr>
        <p:spPr>
          <a:xfrm>
            <a:off x="508000" y="1840993"/>
            <a:ext cx="9144000" cy="98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3600"/>
              <a:buFont typeface="Arial"/>
              <a:buNone/>
              <a:defRPr sz="4796" b="1" i="0">
                <a:solidFill>
                  <a:schemeClr val="dk1"/>
                </a:solidFill>
                <a:latin typeface="Arial"/>
                <a:ea typeface="Arial"/>
                <a:cs typeface="Arial"/>
                <a:sym typeface="Aria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
        <p:nvSpPr>
          <p:cNvPr id="168" name="Google Shape;168;p24"/>
          <p:cNvSpPr txBox="1">
            <a:spLocks noGrp="1"/>
          </p:cNvSpPr>
          <p:nvPr>
            <p:ph type="subTitle" idx="1"/>
          </p:nvPr>
        </p:nvSpPr>
        <p:spPr>
          <a:xfrm>
            <a:off x="1775968" y="4621501"/>
            <a:ext cx="3816000" cy="4512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200"/>
              <a:buFont typeface="Roboto Mono"/>
              <a:buNone/>
              <a:defRPr sz="1599"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2pPr>
            <a:lvl3pPr lvl="2"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3pPr>
            <a:lvl4pPr lvl="3"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4pPr>
            <a:lvl5pPr lvl="4"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5pPr>
            <a:lvl6pPr lvl="5"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6pPr>
            <a:lvl7pPr lvl="6"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7pPr>
            <a:lvl8pPr lvl="7"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8pPr>
            <a:lvl9pPr lvl="8"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9pPr>
          </a:lstStyle>
          <a:p>
            <a:endParaRPr/>
          </a:p>
        </p:txBody>
      </p:sp>
      <p:cxnSp>
        <p:nvCxnSpPr>
          <p:cNvPr id="169" name="Google Shape;169;p24"/>
          <p:cNvCxnSpPr/>
          <p:nvPr/>
        </p:nvCxnSpPr>
        <p:spPr>
          <a:xfrm>
            <a:off x="603792" y="3429001"/>
            <a:ext cx="7323200" cy="0"/>
          </a:xfrm>
          <a:prstGeom prst="straightConnector1">
            <a:avLst/>
          </a:prstGeom>
          <a:noFill/>
          <a:ln w="19050" cap="rnd" cmpd="sng">
            <a:solidFill>
              <a:schemeClr val="dk1"/>
            </a:solidFill>
            <a:prstDash val="solid"/>
            <a:round/>
            <a:headEnd type="none" w="sm" len="sm"/>
            <a:tailEnd type="none" w="sm" len="sm"/>
          </a:ln>
        </p:spPr>
      </p:cxnSp>
      <p:sp>
        <p:nvSpPr>
          <p:cNvPr id="170" name="Google Shape;170;p24"/>
          <p:cNvSpPr txBox="1">
            <a:spLocks noGrp="1"/>
          </p:cNvSpPr>
          <p:nvPr>
            <p:ph type="body" idx="4"/>
          </p:nvPr>
        </p:nvSpPr>
        <p:spPr>
          <a:xfrm>
            <a:off x="1775968" y="4986136"/>
            <a:ext cx="3816000" cy="39536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000"/>
              <a:buFont typeface="Arial"/>
              <a:buNone/>
              <a:defRPr sz="1332"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71" name="Google Shape;171;p24"/>
          <p:cNvSpPr txBox="1">
            <a:spLocks noGrp="1"/>
          </p:cNvSpPr>
          <p:nvPr>
            <p:ph type="body" idx="5"/>
          </p:nvPr>
        </p:nvSpPr>
        <p:spPr>
          <a:xfrm>
            <a:off x="7351188" y="4986136"/>
            <a:ext cx="3816000" cy="39536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000"/>
              <a:buFont typeface="Arial"/>
              <a:buNone/>
              <a:defRPr sz="1332"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72" name="Google Shape;172;p24"/>
          <p:cNvSpPr txBox="1">
            <a:spLocks noGrp="1"/>
          </p:cNvSpPr>
          <p:nvPr>
            <p:ph type="body" idx="6"/>
          </p:nvPr>
        </p:nvSpPr>
        <p:spPr>
          <a:xfrm>
            <a:off x="7351188" y="4649416"/>
            <a:ext cx="3816000" cy="395369"/>
          </a:xfrm>
          <a:prstGeom prst="rect">
            <a:avLst/>
          </a:prstGeom>
          <a:noFill/>
          <a:ln>
            <a:noFill/>
          </a:ln>
        </p:spPr>
        <p:txBody>
          <a:bodyPr spcFirstLastPara="1" wrap="square" lIns="91425" tIns="45700" rIns="91425" bIns="45700" anchor="ctr" anchorCtr="0">
            <a:normAutofit/>
          </a:bodyPr>
          <a:lstStyle>
            <a:lvl1pPr marL="609036" lvl="0" indent="-304518" algn="l">
              <a:lnSpc>
                <a:spcPct val="90000"/>
              </a:lnSpc>
              <a:spcBef>
                <a:spcPts val="999"/>
              </a:spcBef>
              <a:spcAft>
                <a:spcPts val="0"/>
              </a:spcAft>
              <a:buClr>
                <a:schemeClr val="dk1"/>
              </a:buClr>
              <a:buSzPts val="1200"/>
              <a:buFont typeface="Arial"/>
              <a:buNone/>
              <a:defRPr sz="1599"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73" name="Google Shape;173;p24"/>
          <p:cNvSpPr txBox="1">
            <a:spLocks noGrp="1"/>
          </p:cNvSpPr>
          <p:nvPr>
            <p:ph type="body" idx="7"/>
          </p:nvPr>
        </p:nvSpPr>
        <p:spPr>
          <a:xfrm>
            <a:off x="1775968" y="4251880"/>
            <a:ext cx="3816096" cy="584675"/>
          </a:xfrm>
          <a:prstGeom prst="rect">
            <a:avLst/>
          </a:prstGeom>
          <a:noFill/>
          <a:ln>
            <a:noFill/>
          </a:ln>
        </p:spPr>
        <p:txBody>
          <a:bodyPr spcFirstLastPara="1" wrap="square" lIns="91425" tIns="45700" rIns="91425" bIns="45700" anchor="ctr" anchorCtr="0">
            <a:normAutofit/>
          </a:bodyPr>
          <a:lstStyle>
            <a:lvl1pPr marL="609036" lvl="0" indent="-304518" algn="l">
              <a:lnSpc>
                <a:spcPct val="90000"/>
              </a:lnSpc>
              <a:spcBef>
                <a:spcPts val="999"/>
              </a:spcBef>
              <a:spcAft>
                <a:spcPts val="0"/>
              </a:spcAft>
              <a:buClr>
                <a:schemeClr val="dk1"/>
              </a:buClr>
              <a:buSzPts val="1600"/>
              <a:buFont typeface="Arial"/>
              <a:buNone/>
              <a:defRPr sz="2131">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74" name="Google Shape;174;p24"/>
          <p:cNvSpPr txBox="1">
            <a:spLocks noGrp="1"/>
          </p:cNvSpPr>
          <p:nvPr>
            <p:ph type="body" idx="8"/>
          </p:nvPr>
        </p:nvSpPr>
        <p:spPr>
          <a:xfrm>
            <a:off x="7350839" y="4251880"/>
            <a:ext cx="3816349" cy="584675"/>
          </a:xfrm>
          <a:prstGeom prst="rect">
            <a:avLst/>
          </a:prstGeom>
          <a:noFill/>
          <a:ln>
            <a:noFill/>
          </a:ln>
        </p:spPr>
        <p:txBody>
          <a:bodyPr spcFirstLastPara="1" wrap="square" lIns="91425" tIns="45700" rIns="91425" bIns="45700" anchor="ctr" anchorCtr="0">
            <a:normAutofit/>
          </a:bodyPr>
          <a:lstStyle>
            <a:lvl1pPr marL="609036" lvl="0" indent="-304518" algn="l">
              <a:lnSpc>
                <a:spcPct val="90000"/>
              </a:lnSpc>
              <a:spcBef>
                <a:spcPts val="999"/>
              </a:spcBef>
              <a:spcAft>
                <a:spcPts val="0"/>
              </a:spcAft>
              <a:buClr>
                <a:schemeClr val="dk1"/>
              </a:buClr>
              <a:buSzPts val="1600"/>
              <a:buFont typeface="Arial"/>
              <a:buNone/>
              <a:defRPr sz="2131">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7993234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matchingName="16. Speaker card  (2 people)">
  <p:cSld name="16. Speaker card  (2 people)">
    <p:bg>
      <p:bgPr>
        <a:gradFill>
          <a:gsLst>
            <a:gs pos="0">
              <a:srgbClr val="388BFD"/>
            </a:gs>
            <a:gs pos="51000">
              <a:srgbClr val="6C7EFA"/>
            </a:gs>
            <a:gs pos="100000">
              <a:srgbClr val="A371F7"/>
            </a:gs>
          </a:gsLst>
          <a:lin ang="18900000" scaled="0"/>
        </a:gradFill>
        <a:effectLst/>
      </p:bgPr>
    </p:bg>
    <p:spTree>
      <p:nvGrpSpPr>
        <p:cNvPr id="1" name="Shape 175"/>
        <p:cNvGrpSpPr/>
        <p:nvPr/>
      </p:nvGrpSpPr>
      <p:grpSpPr>
        <a:xfrm>
          <a:off x="0" y="0"/>
          <a:ext cx="0" cy="0"/>
          <a:chOff x="0" y="0"/>
          <a:chExt cx="0" cy="0"/>
        </a:xfrm>
      </p:grpSpPr>
      <p:sp>
        <p:nvSpPr>
          <p:cNvPr id="176" name="Google Shape;176;p25"/>
          <p:cNvSpPr>
            <a:spLocks noGrp="1"/>
          </p:cNvSpPr>
          <p:nvPr>
            <p:ph type="pic" idx="2"/>
          </p:nvPr>
        </p:nvSpPr>
        <p:spPr>
          <a:xfrm>
            <a:off x="498679" y="4194796"/>
            <a:ext cx="1143200" cy="1143200"/>
          </a:xfrm>
          <a:prstGeom prst="ellipse">
            <a:avLst/>
          </a:prstGeom>
          <a:noFill/>
          <a:ln w="19050" cap="flat" cmpd="sng">
            <a:solidFill>
              <a:schemeClr val="dk1"/>
            </a:solidFill>
            <a:prstDash val="solid"/>
            <a:round/>
            <a:headEnd type="none" w="sm" len="sm"/>
            <a:tailEnd type="none" w="sm" len="sm"/>
          </a:ln>
          <a:effectLst>
            <a:reflection stA="20000" endPos="15000" dist="38100" dir="5400000" fadeDir="5400012" sy="-100000" algn="bl" rotWithShape="0"/>
          </a:effectLst>
        </p:spPr>
      </p:sp>
      <p:sp>
        <p:nvSpPr>
          <p:cNvPr id="177" name="Google Shape;177;p25"/>
          <p:cNvSpPr>
            <a:spLocks noGrp="1"/>
          </p:cNvSpPr>
          <p:nvPr>
            <p:ph type="pic" idx="3"/>
          </p:nvPr>
        </p:nvSpPr>
        <p:spPr>
          <a:xfrm>
            <a:off x="6069849" y="4194796"/>
            <a:ext cx="1143200" cy="1143200"/>
          </a:xfrm>
          <a:prstGeom prst="ellipse">
            <a:avLst/>
          </a:prstGeom>
          <a:noFill/>
          <a:ln w="19050" cap="flat" cmpd="sng">
            <a:solidFill>
              <a:schemeClr val="dk1"/>
            </a:solidFill>
            <a:prstDash val="solid"/>
            <a:round/>
            <a:headEnd type="none" w="sm" len="sm"/>
            <a:tailEnd type="none" w="sm" len="sm"/>
          </a:ln>
          <a:effectLst>
            <a:reflection stA="20000" endPos="15000" dist="38100" dir="5400000" fadeDir="5400012" sy="-100000" algn="bl" rotWithShape="0"/>
          </a:effectLst>
        </p:spPr>
      </p:sp>
      <p:sp>
        <p:nvSpPr>
          <p:cNvPr id="178" name="Google Shape;178;p25"/>
          <p:cNvSpPr txBox="1">
            <a:spLocks noGrp="1"/>
          </p:cNvSpPr>
          <p:nvPr>
            <p:ph type="title"/>
          </p:nvPr>
        </p:nvSpPr>
        <p:spPr>
          <a:xfrm>
            <a:off x="508000" y="1840993"/>
            <a:ext cx="9144000" cy="98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3600"/>
              <a:buFont typeface="Arial"/>
              <a:buNone/>
              <a:defRPr sz="4796" b="1" i="0">
                <a:solidFill>
                  <a:schemeClr val="dk1"/>
                </a:solidFill>
                <a:latin typeface="Arial"/>
                <a:ea typeface="Arial"/>
                <a:cs typeface="Arial"/>
                <a:sym typeface="Aria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
        <p:nvSpPr>
          <p:cNvPr id="179" name="Google Shape;179;p25"/>
          <p:cNvSpPr txBox="1">
            <a:spLocks noGrp="1"/>
          </p:cNvSpPr>
          <p:nvPr>
            <p:ph type="subTitle" idx="1"/>
          </p:nvPr>
        </p:nvSpPr>
        <p:spPr>
          <a:xfrm>
            <a:off x="1775968" y="4622276"/>
            <a:ext cx="3816000" cy="451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200"/>
              <a:buFont typeface="Arial"/>
              <a:buNone/>
              <a:defRPr sz="1599"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2pPr>
            <a:lvl3pPr lvl="2"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3pPr>
            <a:lvl4pPr lvl="3"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4pPr>
            <a:lvl5pPr lvl="4"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5pPr>
            <a:lvl6pPr lvl="5"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6pPr>
            <a:lvl7pPr lvl="6"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7pPr>
            <a:lvl8pPr lvl="7"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8pPr>
            <a:lvl9pPr lvl="8"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9pPr>
          </a:lstStyle>
          <a:p>
            <a:endParaRPr/>
          </a:p>
        </p:txBody>
      </p:sp>
      <p:cxnSp>
        <p:nvCxnSpPr>
          <p:cNvPr id="180" name="Google Shape;180;p25"/>
          <p:cNvCxnSpPr/>
          <p:nvPr/>
        </p:nvCxnSpPr>
        <p:spPr>
          <a:xfrm>
            <a:off x="603792" y="3429001"/>
            <a:ext cx="7323200" cy="0"/>
          </a:xfrm>
          <a:prstGeom prst="straightConnector1">
            <a:avLst/>
          </a:prstGeom>
          <a:noFill/>
          <a:ln w="19050" cap="rnd" cmpd="sng">
            <a:solidFill>
              <a:schemeClr val="dk1"/>
            </a:solidFill>
            <a:prstDash val="solid"/>
            <a:round/>
            <a:headEnd type="none" w="sm" len="sm"/>
            <a:tailEnd type="none" w="sm" len="sm"/>
          </a:ln>
        </p:spPr>
      </p:cxnSp>
      <p:sp>
        <p:nvSpPr>
          <p:cNvPr id="181" name="Google Shape;181;p25"/>
          <p:cNvSpPr txBox="1">
            <a:spLocks noGrp="1"/>
          </p:cNvSpPr>
          <p:nvPr>
            <p:ph type="body" idx="4"/>
          </p:nvPr>
        </p:nvSpPr>
        <p:spPr>
          <a:xfrm>
            <a:off x="1775968" y="4986136"/>
            <a:ext cx="3816000" cy="39536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000"/>
              <a:buFont typeface="Arial"/>
              <a:buNone/>
              <a:defRPr sz="1332"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82" name="Google Shape;182;p25"/>
          <p:cNvSpPr txBox="1">
            <a:spLocks noGrp="1"/>
          </p:cNvSpPr>
          <p:nvPr>
            <p:ph type="body" idx="5"/>
          </p:nvPr>
        </p:nvSpPr>
        <p:spPr>
          <a:xfrm>
            <a:off x="7351188" y="4986136"/>
            <a:ext cx="3816000" cy="39536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000"/>
              <a:buFont typeface="Arial"/>
              <a:buNone/>
              <a:defRPr sz="1332"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83" name="Google Shape;183;p25"/>
          <p:cNvSpPr txBox="1">
            <a:spLocks noGrp="1"/>
          </p:cNvSpPr>
          <p:nvPr>
            <p:ph type="body" idx="6"/>
          </p:nvPr>
        </p:nvSpPr>
        <p:spPr>
          <a:xfrm>
            <a:off x="1775968" y="4251880"/>
            <a:ext cx="3816349" cy="584675"/>
          </a:xfrm>
          <a:prstGeom prst="rect">
            <a:avLst/>
          </a:prstGeom>
          <a:noFill/>
          <a:ln>
            <a:noFill/>
          </a:ln>
        </p:spPr>
        <p:txBody>
          <a:bodyPr spcFirstLastPara="1" wrap="square" lIns="91425" tIns="45700" rIns="91425" bIns="45700" anchor="ctr" anchorCtr="0">
            <a:normAutofit/>
          </a:bodyPr>
          <a:lstStyle>
            <a:lvl1pPr marL="609036" lvl="0" indent="-304518" algn="l">
              <a:lnSpc>
                <a:spcPct val="90000"/>
              </a:lnSpc>
              <a:spcBef>
                <a:spcPts val="999"/>
              </a:spcBef>
              <a:spcAft>
                <a:spcPts val="0"/>
              </a:spcAft>
              <a:buClr>
                <a:schemeClr val="dk1"/>
              </a:buClr>
              <a:buSzPts val="1600"/>
              <a:buFont typeface="Arial"/>
              <a:buNone/>
              <a:defRPr sz="2131">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84" name="Google Shape;184;p25"/>
          <p:cNvSpPr txBox="1">
            <a:spLocks noGrp="1"/>
          </p:cNvSpPr>
          <p:nvPr>
            <p:ph type="body" idx="7"/>
          </p:nvPr>
        </p:nvSpPr>
        <p:spPr>
          <a:xfrm>
            <a:off x="7351188" y="4251880"/>
            <a:ext cx="3816349" cy="584675"/>
          </a:xfrm>
          <a:prstGeom prst="rect">
            <a:avLst/>
          </a:prstGeom>
          <a:noFill/>
          <a:ln>
            <a:noFill/>
          </a:ln>
        </p:spPr>
        <p:txBody>
          <a:bodyPr spcFirstLastPara="1" wrap="square" lIns="91425" tIns="45700" rIns="91425" bIns="45700" anchor="ctr" anchorCtr="0">
            <a:normAutofit/>
          </a:bodyPr>
          <a:lstStyle>
            <a:lvl1pPr marL="609036" lvl="0" indent="-304518" algn="l">
              <a:lnSpc>
                <a:spcPct val="90000"/>
              </a:lnSpc>
              <a:spcBef>
                <a:spcPts val="999"/>
              </a:spcBef>
              <a:spcAft>
                <a:spcPts val="0"/>
              </a:spcAft>
              <a:buClr>
                <a:schemeClr val="dk1"/>
              </a:buClr>
              <a:buSzPts val="1600"/>
              <a:buFont typeface="Arial"/>
              <a:buNone/>
              <a:defRPr sz="2131">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85" name="Google Shape;185;p25"/>
          <p:cNvSpPr txBox="1">
            <a:spLocks noGrp="1"/>
          </p:cNvSpPr>
          <p:nvPr>
            <p:ph type="body" idx="8"/>
          </p:nvPr>
        </p:nvSpPr>
        <p:spPr>
          <a:xfrm>
            <a:off x="7351188" y="4649416"/>
            <a:ext cx="3816000" cy="395369"/>
          </a:xfrm>
          <a:prstGeom prst="rect">
            <a:avLst/>
          </a:prstGeom>
          <a:noFill/>
          <a:ln>
            <a:noFill/>
          </a:ln>
        </p:spPr>
        <p:txBody>
          <a:bodyPr spcFirstLastPara="1" wrap="square" lIns="91425" tIns="45700" rIns="91425" bIns="45700" anchor="ctr" anchorCtr="0">
            <a:normAutofit/>
          </a:bodyPr>
          <a:lstStyle>
            <a:lvl1pPr marL="609036" lvl="0" indent="-304518" algn="l">
              <a:lnSpc>
                <a:spcPct val="90000"/>
              </a:lnSpc>
              <a:spcBef>
                <a:spcPts val="999"/>
              </a:spcBef>
              <a:spcAft>
                <a:spcPts val="0"/>
              </a:spcAft>
              <a:buClr>
                <a:schemeClr val="dk1"/>
              </a:buClr>
              <a:buSzPts val="1200"/>
              <a:buFont typeface="Arial"/>
              <a:buNone/>
              <a:defRPr sz="1599"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318492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2"/>
          <a:srcRect l="16675" r="1667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E968866A-BD6F-4C62-B509-394496BF80A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2243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matchingName="17. Speaker card  (2 people)">
  <p:cSld name="17. Speaker card  (2 people)">
    <p:bg>
      <p:bgPr>
        <a:gradFill>
          <a:gsLst>
            <a:gs pos="0">
              <a:srgbClr val="56D364"/>
            </a:gs>
            <a:gs pos="100000">
              <a:srgbClr val="388BFD"/>
            </a:gs>
          </a:gsLst>
          <a:lin ang="8100019" scaled="0"/>
        </a:gradFill>
        <a:effectLst/>
      </p:bgPr>
    </p:bg>
    <p:spTree>
      <p:nvGrpSpPr>
        <p:cNvPr id="1" name="Shape 186"/>
        <p:cNvGrpSpPr/>
        <p:nvPr/>
      </p:nvGrpSpPr>
      <p:grpSpPr>
        <a:xfrm>
          <a:off x="0" y="0"/>
          <a:ext cx="0" cy="0"/>
          <a:chOff x="0" y="0"/>
          <a:chExt cx="0" cy="0"/>
        </a:xfrm>
      </p:grpSpPr>
      <p:sp>
        <p:nvSpPr>
          <p:cNvPr id="187" name="Google Shape;187;p26"/>
          <p:cNvSpPr>
            <a:spLocks noGrp="1"/>
          </p:cNvSpPr>
          <p:nvPr>
            <p:ph type="pic" idx="2"/>
          </p:nvPr>
        </p:nvSpPr>
        <p:spPr>
          <a:xfrm>
            <a:off x="498679" y="4194796"/>
            <a:ext cx="1143200" cy="1143200"/>
          </a:xfrm>
          <a:prstGeom prst="ellipse">
            <a:avLst/>
          </a:prstGeom>
          <a:noFill/>
          <a:ln w="19050" cap="flat" cmpd="sng">
            <a:solidFill>
              <a:schemeClr val="dk1"/>
            </a:solidFill>
            <a:prstDash val="solid"/>
            <a:round/>
            <a:headEnd type="none" w="sm" len="sm"/>
            <a:tailEnd type="none" w="sm" len="sm"/>
          </a:ln>
          <a:effectLst>
            <a:reflection stA="20000" endPos="15000" dist="38100" dir="5400000" fadeDir="5400012" sy="-100000" algn="bl" rotWithShape="0"/>
          </a:effectLst>
        </p:spPr>
      </p:sp>
      <p:sp>
        <p:nvSpPr>
          <p:cNvPr id="188" name="Google Shape;188;p26"/>
          <p:cNvSpPr>
            <a:spLocks noGrp="1"/>
          </p:cNvSpPr>
          <p:nvPr>
            <p:ph type="pic" idx="3"/>
          </p:nvPr>
        </p:nvSpPr>
        <p:spPr>
          <a:xfrm>
            <a:off x="6069849" y="4194796"/>
            <a:ext cx="1143200" cy="1143200"/>
          </a:xfrm>
          <a:prstGeom prst="ellipse">
            <a:avLst/>
          </a:prstGeom>
          <a:noFill/>
          <a:ln w="19050" cap="flat" cmpd="sng">
            <a:solidFill>
              <a:schemeClr val="dk1"/>
            </a:solidFill>
            <a:prstDash val="solid"/>
            <a:round/>
            <a:headEnd type="none" w="sm" len="sm"/>
            <a:tailEnd type="none" w="sm" len="sm"/>
          </a:ln>
          <a:effectLst>
            <a:reflection stA="20000" endPos="15000" dist="38100" dir="5400000" fadeDir="5400012" sy="-100000" algn="bl" rotWithShape="0"/>
          </a:effectLst>
        </p:spPr>
      </p:sp>
      <p:sp>
        <p:nvSpPr>
          <p:cNvPr id="189" name="Google Shape;189;p26"/>
          <p:cNvSpPr txBox="1">
            <a:spLocks noGrp="1"/>
          </p:cNvSpPr>
          <p:nvPr>
            <p:ph type="title"/>
          </p:nvPr>
        </p:nvSpPr>
        <p:spPr>
          <a:xfrm>
            <a:off x="508000" y="1840993"/>
            <a:ext cx="9144000" cy="98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3600"/>
              <a:buFont typeface="Arial"/>
              <a:buNone/>
              <a:defRPr sz="4796" b="1" i="0">
                <a:solidFill>
                  <a:schemeClr val="dk1"/>
                </a:solidFill>
                <a:latin typeface="Arial"/>
                <a:ea typeface="Arial"/>
                <a:cs typeface="Arial"/>
                <a:sym typeface="Aria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cxnSp>
        <p:nvCxnSpPr>
          <p:cNvPr id="190" name="Google Shape;190;p26"/>
          <p:cNvCxnSpPr/>
          <p:nvPr/>
        </p:nvCxnSpPr>
        <p:spPr>
          <a:xfrm>
            <a:off x="603792" y="3429001"/>
            <a:ext cx="7323200" cy="0"/>
          </a:xfrm>
          <a:prstGeom prst="straightConnector1">
            <a:avLst/>
          </a:prstGeom>
          <a:noFill/>
          <a:ln w="19050" cap="rnd" cmpd="sng">
            <a:solidFill>
              <a:schemeClr val="dk1"/>
            </a:solidFill>
            <a:prstDash val="solid"/>
            <a:round/>
            <a:headEnd type="none" w="sm" len="sm"/>
            <a:tailEnd type="none" w="sm" len="sm"/>
          </a:ln>
        </p:spPr>
      </p:cxnSp>
      <p:sp>
        <p:nvSpPr>
          <p:cNvPr id="191" name="Google Shape;191;p26"/>
          <p:cNvSpPr txBox="1">
            <a:spLocks noGrp="1"/>
          </p:cNvSpPr>
          <p:nvPr>
            <p:ph type="subTitle" idx="1"/>
          </p:nvPr>
        </p:nvSpPr>
        <p:spPr>
          <a:xfrm>
            <a:off x="1775968" y="4622276"/>
            <a:ext cx="3816000" cy="451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200"/>
              <a:buFont typeface="Arial"/>
              <a:buNone/>
              <a:defRPr sz="1599"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2pPr>
            <a:lvl3pPr lvl="2"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3pPr>
            <a:lvl4pPr lvl="3"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4pPr>
            <a:lvl5pPr lvl="4"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5pPr>
            <a:lvl6pPr lvl="5"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6pPr>
            <a:lvl7pPr lvl="6"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7pPr>
            <a:lvl8pPr lvl="7"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8pPr>
            <a:lvl9pPr lvl="8" algn="l">
              <a:lnSpc>
                <a:spcPct val="90000"/>
              </a:lnSpc>
              <a:spcBef>
                <a:spcPts val="0"/>
              </a:spcBef>
              <a:spcAft>
                <a:spcPts val="0"/>
              </a:spcAft>
              <a:buClr>
                <a:schemeClr val="dk1"/>
              </a:buClr>
              <a:buSzPts val="1200"/>
              <a:buFont typeface="Roboto Mono"/>
              <a:buNone/>
              <a:defRPr sz="1599">
                <a:solidFill>
                  <a:schemeClr val="dk1"/>
                </a:solidFill>
                <a:latin typeface="Roboto Mono"/>
                <a:ea typeface="Roboto Mono"/>
                <a:cs typeface="Roboto Mono"/>
                <a:sym typeface="Roboto Mono"/>
              </a:defRPr>
            </a:lvl9pPr>
          </a:lstStyle>
          <a:p>
            <a:endParaRPr/>
          </a:p>
        </p:txBody>
      </p:sp>
      <p:sp>
        <p:nvSpPr>
          <p:cNvPr id="192" name="Google Shape;192;p26"/>
          <p:cNvSpPr txBox="1">
            <a:spLocks noGrp="1"/>
          </p:cNvSpPr>
          <p:nvPr>
            <p:ph type="body" idx="4"/>
          </p:nvPr>
        </p:nvSpPr>
        <p:spPr>
          <a:xfrm>
            <a:off x="1775968" y="4986136"/>
            <a:ext cx="3816000" cy="39536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000"/>
              <a:buFont typeface="Arial"/>
              <a:buNone/>
              <a:defRPr sz="1332"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93" name="Google Shape;193;p26"/>
          <p:cNvSpPr txBox="1">
            <a:spLocks noGrp="1"/>
          </p:cNvSpPr>
          <p:nvPr>
            <p:ph type="body" idx="5"/>
          </p:nvPr>
        </p:nvSpPr>
        <p:spPr>
          <a:xfrm>
            <a:off x="1775968" y="4251880"/>
            <a:ext cx="3816349" cy="584675"/>
          </a:xfrm>
          <a:prstGeom prst="rect">
            <a:avLst/>
          </a:prstGeom>
          <a:noFill/>
          <a:ln>
            <a:noFill/>
          </a:ln>
        </p:spPr>
        <p:txBody>
          <a:bodyPr spcFirstLastPara="1" wrap="square" lIns="91425" tIns="45700" rIns="91425" bIns="45700" anchor="ctr" anchorCtr="0">
            <a:normAutofit/>
          </a:bodyPr>
          <a:lstStyle>
            <a:lvl1pPr marL="609036" lvl="0" indent="-304518" algn="l">
              <a:lnSpc>
                <a:spcPct val="90000"/>
              </a:lnSpc>
              <a:spcBef>
                <a:spcPts val="999"/>
              </a:spcBef>
              <a:spcAft>
                <a:spcPts val="0"/>
              </a:spcAft>
              <a:buClr>
                <a:schemeClr val="dk1"/>
              </a:buClr>
              <a:buSzPts val="1600"/>
              <a:buFont typeface="Arial"/>
              <a:buNone/>
              <a:defRPr sz="2131">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94" name="Google Shape;194;p26"/>
          <p:cNvSpPr txBox="1">
            <a:spLocks noGrp="1"/>
          </p:cNvSpPr>
          <p:nvPr>
            <p:ph type="body" idx="6"/>
          </p:nvPr>
        </p:nvSpPr>
        <p:spPr>
          <a:xfrm>
            <a:off x="7351188" y="4986136"/>
            <a:ext cx="3816000" cy="39536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000"/>
              <a:buFont typeface="Arial"/>
              <a:buNone/>
              <a:defRPr sz="1332"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95" name="Google Shape;195;p26"/>
          <p:cNvSpPr txBox="1">
            <a:spLocks noGrp="1"/>
          </p:cNvSpPr>
          <p:nvPr>
            <p:ph type="body" idx="7"/>
          </p:nvPr>
        </p:nvSpPr>
        <p:spPr>
          <a:xfrm>
            <a:off x="7351188" y="4251880"/>
            <a:ext cx="3816349" cy="584675"/>
          </a:xfrm>
          <a:prstGeom prst="rect">
            <a:avLst/>
          </a:prstGeom>
          <a:noFill/>
          <a:ln>
            <a:noFill/>
          </a:ln>
        </p:spPr>
        <p:txBody>
          <a:bodyPr spcFirstLastPara="1" wrap="square" lIns="91425" tIns="45700" rIns="91425" bIns="45700" anchor="ctr" anchorCtr="0">
            <a:normAutofit/>
          </a:bodyPr>
          <a:lstStyle>
            <a:lvl1pPr marL="609036" lvl="0" indent="-304518" algn="l">
              <a:lnSpc>
                <a:spcPct val="90000"/>
              </a:lnSpc>
              <a:spcBef>
                <a:spcPts val="999"/>
              </a:spcBef>
              <a:spcAft>
                <a:spcPts val="0"/>
              </a:spcAft>
              <a:buClr>
                <a:schemeClr val="dk1"/>
              </a:buClr>
              <a:buSzPts val="1600"/>
              <a:buFont typeface="Arial"/>
              <a:buNone/>
              <a:defRPr sz="2131">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96" name="Google Shape;196;p26"/>
          <p:cNvSpPr txBox="1">
            <a:spLocks noGrp="1"/>
          </p:cNvSpPr>
          <p:nvPr>
            <p:ph type="body" idx="8"/>
          </p:nvPr>
        </p:nvSpPr>
        <p:spPr>
          <a:xfrm>
            <a:off x="7351188" y="4649416"/>
            <a:ext cx="3816000" cy="395369"/>
          </a:xfrm>
          <a:prstGeom prst="rect">
            <a:avLst/>
          </a:prstGeom>
          <a:noFill/>
          <a:ln>
            <a:noFill/>
          </a:ln>
        </p:spPr>
        <p:txBody>
          <a:bodyPr spcFirstLastPara="1" wrap="square" lIns="91425" tIns="45700" rIns="91425" bIns="45700" anchor="ctr" anchorCtr="0">
            <a:normAutofit/>
          </a:bodyPr>
          <a:lstStyle>
            <a:lvl1pPr marL="609036" lvl="0" indent="-304518" algn="l">
              <a:lnSpc>
                <a:spcPct val="90000"/>
              </a:lnSpc>
              <a:spcBef>
                <a:spcPts val="999"/>
              </a:spcBef>
              <a:spcAft>
                <a:spcPts val="0"/>
              </a:spcAft>
              <a:buClr>
                <a:schemeClr val="dk1"/>
              </a:buClr>
              <a:buSzPts val="1200"/>
              <a:buFont typeface="Arial"/>
              <a:buNone/>
              <a:defRPr sz="1599" b="0" i="0">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200"/>
              <a:buFont typeface="Arial"/>
              <a:buNone/>
              <a:defRPr sz="1599"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76198218"/>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18. Agenda/sections">
  <p:cSld name="18. Agenda/sections">
    <p:spTree>
      <p:nvGrpSpPr>
        <p:cNvPr id="1" name="Shape 197"/>
        <p:cNvGrpSpPr/>
        <p:nvPr/>
      </p:nvGrpSpPr>
      <p:grpSpPr>
        <a:xfrm>
          <a:off x="0" y="0"/>
          <a:ext cx="0" cy="0"/>
          <a:chOff x="0" y="0"/>
          <a:chExt cx="0" cy="0"/>
        </a:xfrm>
      </p:grpSpPr>
      <p:sp>
        <p:nvSpPr>
          <p:cNvPr id="198" name="Google Shape;198;p27"/>
          <p:cNvSpPr/>
          <p:nvPr/>
        </p:nvSpPr>
        <p:spPr>
          <a:xfrm>
            <a:off x="6833665" y="2224272"/>
            <a:ext cx="1828800" cy="1828800"/>
          </a:xfrm>
          <a:prstGeom prst="ellipse">
            <a:avLst/>
          </a:prstGeom>
          <a:no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99" name="Google Shape;199;p27"/>
          <p:cNvSpPr/>
          <p:nvPr/>
        </p:nvSpPr>
        <p:spPr>
          <a:xfrm>
            <a:off x="3522999" y="2224272"/>
            <a:ext cx="1828800" cy="18288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00" name="Google Shape;200;p27"/>
          <p:cNvSpPr txBox="1">
            <a:spLocks noGrp="1"/>
          </p:cNvSpPr>
          <p:nvPr>
            <p:ph type="subTitle" idx="1"/>
          </p:nvPr>
        </p:nvSpPr>
        <p:spPr>
          <a:xfrm>
            <a:off x="2924097" y="4315473"/>
            <a:ext cx="3026603" cy="3900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201" name="Google Shape;201;p27"/>
          <p:cNvSpPr txBox="1">
            <a:spLocks noGrp="1"/>
          </p:cNvSpPr>
          <p:nvPr>
            <p:ph type="subTitle" idx="2"/>
          </p:nvPr>
        </p:nvSpPr>
        <p:spPr>
          <a:xfrm>
            <a:off x="6234764" y="4315473"/>
            <a:ext cx="3026603" cy="3900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202" name="Google Shape;202;p27"/>
          <p:cNvSpPr txBox="1">
            <a:spLocks noGrp="1"/>
          </p:cNvSpPr>
          <p:nvPr>
            <p:ph type="subTitle" idx="3"/>
          </p:nvPr>
        </p:nvSpPr>
        <p:spPr>
          <a:xfrm>
            <a:off x="2924097" y="4730000"/>
            <a:ext cx="3026603" cy="670401"/>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203" name="Google Shape;203;p27"/>
          <p:cNvSpPr txBox="1">
            <a:spLocks noGrp="1"/>
          </p:cNvSpPr>
          <p:nvPr>
            <p:ph type="subTitle" idx="4"/>
          </p:nvPr>
        </p:nvSpPr>
        <p:spPr>
          <a:xfrm>
            <a:off x="6234764" y="4730000"/>
            <a:ext cx="3026603" cy="670401"/>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204" name="Google Shape;204;p27"/>
          <p:cNvSpPr txBox="1">
            <a:spLocks noGrp="1"/>
          </p:cNvSpPr>
          <p:nvPr>
            <p:ph type="title"/>
          </p:nvPr>
        </p:nvSpPr>
        <p:spPr>
          <a:xfrm>
            <a:off x="586267" y="1"/>
            <a:ext cx="11139200" cy="2224400"/>
          </a:xfrm>
          <a:prstGeom prst="rect">
            <a:avLst/>
          </a:prstGeom>
          <a:noFill/>
          <a:ln>
            <a:noFill/>
          </a:ln>
        </p:spPr>
        <p:txBody>
          <a:bodyPr spcFirstLastPara="1" wrap="square" lIns="34275" tIns="17150" rIns="34275" bIns="17150" anchor="ctr" anchorCtr="0">
            <a:noAutofit/>
          </a:bodyPr>
          <a:lstStyle>
            <a:lvl1pPr marR="0" lvl="0" algn="ctr">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205" name="Google Shape;205;p27"/>
          <p:cNvSpPr>
            <a:spLocks noGrp="1"/>
          </p:cNvSpPr>
          <p:nvPr>
            <p:ph type="pic" idx="5"/>
          </p:nvPr>
        </p:nvSpPr>
        <p:spPr>
          <a:xfrm>
            <a:off x="3919239" y="2629792"/>
            <a:ext cx="1036320" cy="1036320"/>
          </a:xfrm>
          <a:prstGeom prst="rect">
            <a:avLst/>
          </a:prstGeom>
          <a:noFill/>
          <a:ln>
            <a:noFill/>
          </a:ln>
        </p:spPr>
      </p:sp>
      <p:sp>
        <p:nvSpPr>
          <p:cNvPr id="206" name="Google Shape;206;p27"/>
          <p:cNvSpPr>
            <a:spLocks noGrp="1"/>
          </p:cNvSpPr>
          <p:nvPr>
            <p:ph type="pic" idx="6"/>
          </p:nvPr>
        </p:nvSpPr>
        <p:spPr>
          <a:xfrm>
            <a:off x="7229905" y="2629792"/>
            <a:ext cx="1036320" cy="1036320"/>
          </a:xfrm>
          <a:prstGeom prst="rect">
            <a:avLst/>
          </a:prstGeom>
          <a:noFill/>
          <a:ln>
            <a:noFill/>
          </a:ln>
        </p:spPr>
      </p:sp>
    </p:spTree>
    <p:extLst>
      <p:ext uri="{BB962C8B-B14F-4D97-AF65-F5344CB8AC3E}">
        <p14:creationId xmlns:p14="http://schemas.microsoft.com/office/powerpoint/2010/main" val="3189954704"/>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matchingName="19. Agenda/sections">
  <p:cSld name="19. Agenda/sections">
    <p:spTree>
      <p:nvGrpSpPr>
        <p:cNvPr id="1" name="Shape 207"/>
        <p:cNvGrpSpPr/>
        <p:nvPr/>
      </p:nvGrpSpPr>
      <p:grpSpPr>
        <a:xfrm>
          <a:off x="0" y="0"/>
          <a:ext cx="0" cy="0"/>
          <a:chOff x="0" y="0"/>
          <a:chExt cx="0" cy="0"/>
        </a:xfrm>
      </p:grpSpPr>
      <p:sp>
        <p:nvSpPr>
          <p:cNvPr id="208" name="Google Shape;208;p28"/>
          <p:cNvSpPr/>
          <p:nvPr/>
        </p:nvSpPr>
        <p:spPr>
          <a:xfrm>
            <a:off x="8987667" y="2254103"/>
            <a:ext cx="1818000" cy="1818000"/>
          </a:xfrm>
          <a:prstGeom prst="ellipse">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09" name="Google Shape;209;p28"/>
          <p:cNvSpPr/>
          <p:nvPr/>
        </p:nvSpPr>
        <p:spPr>
          <a:xfrm>
            <a:off x="5246667" y="2254103"/>
            <a:ext cx="1818000" cy="1818000"/>
          </a:xfrm>
          <a:prstGeom prst="ellipse">
            <a:avLst/>
          </a:prstGeom>
          <a:no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10" name="Google Shape;210;p28"/>
          <p:cNvSpPr/>
          <p:nvPr/>
        </p:nvSpPr>
        <p:spPr>
          <a:xfrm>
            <a:off x="1505667" y="2239254"/>
            <a:ext cx="1818800" cy="18180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11" name="Google Shape;211;p28"/>
          <p:cNvSpPr txBox="1">
            <a:spLocks noGrp="1"/>
          </p:cNvSpPr>
          <p:nvPr>
            <p:ph type="subTitle" idx="1"/>
          </p:nvPr>
        </p:nvSpPr>
        <p:spPr>
          <a:xfrm>
            <a:off x="586267" y="4313281"/>
            <a:ext cx="3657600" cy="3900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212" name="Google Shape;212;p28"/>
          <p:cNvSpPr txBox="1">
            <a:spLocks noGrp="1"/>
          </p:cNvSpPr>
          <p:nvPr>
            <p:ph type="subTitle" idx="2"/>
          </p:nvPr>
        </p:nvSpPr>
        <p:spPr>
          <a:xfrm>
            <a:off x="586267" y="4727807"/>
            <a:ext cx="3657600" cy="670401"/>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213" name="Google Shape;213;p28"/>
          <p:cNvSpPr txBox="1">
            <a:spLocks noGrp="1"/>
          </p:cNvSpPr>
          <p:nvPr>
            <p:ph type="subTitle" idx="3"/>
          </p:nvPr>
        </p:nvSpPr>
        <p:spPr>
          <a:xfrm>
            <a:off x="4326867" y="4313281"/>
            <a:ext cx="3657600" cy="3900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214" name="Google Shape;214;p28"/>
          <p:cNvSpPr txBox="1">
            <a:spLocks noGrp="1"/>
          </p:cNvSpPr>
          <p:nvPr>
            <p:ph type="subTitle" idx="4"/>
          </p:nvPr>
        </p:nvSpPr>
        <p:spPr>
          <a:xfrm>
            <a:off x="4326867" y="4727807"/>
            <a:ext cx="3657600" cy="670401"/>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215" name="Google Shape;215;p28"/>
          <p:cNvSpPr txBox="1">
            <a:spLocks noGrp="1"/>
          </p:cNvSpPr>
          <p:nvPr>
            <p:ph type="subTitle" idx="5"/>
          </p:nvPr>
        </p:nvSpPr>
        <p:spPr>
          <a:xfrm>
            <a:off x="8067867" y="4313281"/>
            <a:ext cx="3657600" cy="3900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216" name="Google Shape;216;p28"/>
          <p:cNvSpPr txBox="1">
            <a:spLocks noGrp="1"/>
          </p:cNvSpPr>
          <p:nvPr>
            <p:ph type="subTitle" idx="6"/>
          </p:nvPr>
        </p:nvSpPr>
        <p:spPr>
          <a:xfrm>
            <a:off x="8067867" y="4727807"/>
            <a:ext cx="3657600" cy="670401"/>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217" name="Google Shape;217;p28"/>
          <p:cNvSpPr txBox="1">
            <a:spLocks noGrp="1"/>
          </p:cNvSpPr>
          <p:nvPr>
            <p:ph type="title"/>
          </p:nvPr>
        </p:nvSpPr>
        <p:spPr>
          <a:xfrm>
            <a:off x="586267" y="1"/>
            <a:ext cx="11139200" cy="2224400"/>
          </a:xfrm>
          <a:prstGeom prst="rect">
            <a:avLst/>
          </a:prstGeom>
          <a:noFill/>
          <a:ln>
            <a:noFill/>
          </a:ln>
        </p:spPr>
        <p:txBody>
          <a:bodyPr spcFirstLastPara="1" wrap="square" lIns="34275" tIns="17150" rIns="34275" bIns="17150" anchor="ctr" anchorCtr="0">
            <a:noAutofit/>
          </a:bodyPr>
          <a:lstStyle>
            <a:lvl1pPr marR="0" lvl="0" algn="ctr">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218" name="Google Shape;218;p28"/>
          <p:cNvSpPr>
            <a:spLocks noGrp="1"/>
          </p:cNvSpPr>
          <p:nvPr>
            <p:ph type="pic" idx="7"/>
          </p:nvPr>
        </p:nvSpPr>
        <p:spPr>
          <a:xfrm>
            <a:off x="1896907" y="2671139"/>
            <a:ext cx="1036320" cy="1036320"/>
          </a:xfrm>
          <a:prstGeom prst="rect">
            <a:avLst/>
          </a:prstGeom>
          <a:noFill/>
          <a:ln>
            <a:noFill/>
          </a:ln>
        </p:spPr>
      </p:sp>
      <p:sp>
        <p:nvSpPr>
          <p:cNvPr id="219" name="Google Shape;219;p28"/>
          <p:cNvSpPr>
            <a:spLocks noGrp="1"/>
          </p:cNvSpPr>
          <p:nvPr>
            <p:ph type="pic" idx="8"/>
          </p:nvPr>
        </p:nvSpPr>
        <p:spPr>
          <a:xfrm>
            <a:off x="5637907" y="2671139"/>
            <a:ext cx="1036320" cy="1036320"/>
          </a:xfrm>
          <a:prstGeom prst="rect">
            <a:avLst/>
          </a:prstGeom>
          <a:noFill/>
          <a:ln>
            <a:noFill/>
          </a:ln>
        </p:spPr>
      </p:sp>
      <p:sp>
        <p:nvSpPr>
          <p:cNvPr id="220" name="Google Shape;220;p28"/>
          <p:cNvSpPr>
            <a:spLocks noGrp="1"/>
          </p:cNvSpPr>
          <p:nvPr>
            <p:ph type="pic" idx="9"/>
          </p:nvPr>
        </p:nvSpPr>
        <p:spPr>
          <a:xfrm>
            <a:off x="9378507" y="2671139"/>
            <a:ext cx="1036320" cy="1036320"/>
          </a:xfrm>
          <a:prstGeom prst="rect">
            <a:avLst/>
          </a:prstGeom>
          <a:noFill/>
          <a:ln>
            <a:noFill/>
          </a:ln>
        </p:spPr>
      </p:sp>
    </p:spTree>
    <p:extLst>
      <p:ext uri="{BB962C8B-B14F-4D97-AF65-F5344CB8AC3E}">
        <p14:creationId xmlns:p14="http://schemas.microsoft.com/office/powerpoint/2010/main" val="3656908295"/>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matchingName="20. Agenda/sections">
  <p:cSld name="20. Agenda/sections">
    <p:bg>
      <p:bgPr>
        <a:solidFill>
          <a:schemeClr val="lt1"/>
        </a:solidFill>
        <a:effectLst/>
      </p:bgPr>
    </p:bg>
    <p:spTree>
      <p:nvGrpSpPr>
        <p:cNvPr id="1" name="Shape 221"/>
        <p:cNvGrpSpPr/>
        <p:nvPr/>
      </p:nvGrpSpPr>
      <p:grpSpPr>
        <a:xfrm>
          <a:off x="0" y="0"/>
          <a:ext cx="0" cy="0"/>
          <a:chOff x="0" y="0"/>
          <a:chExt cx="0" cy="0"/>
        </a:xfrm>
      </p:grpSpPr>
      <p:sp>
        <p:nvSpPr>
          <p:cNvPr id="222" name="Google Shape;222;p29"/>
          <p:cNvSpPr/>
          <p:nvPr/>
        </p:nvSpPr>
        <p:spPr>
          <a:xfrm>
            <a:off x="9460244" y="2224412"/>
            <a:ext cx="1832800" cy="1828800"/>
          </a:xfrm>
          <a:prstGeom prst="ellipse">
            <a:avLst/>
          </a:prstGeom>
          <a:noFill/>
          <a:ln w="19050" cap="flat" cmpd="sng">
            <a:solidFill>
              <a:srgbClr val="57CCC5"/>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23" name="Google Shape;223;p29"/>
          <p:cNvSpPr/>
          <p:nvPr/>
        </p:nvSpPr>
        <p:spPr>
          <a:xfrm>
            <a:off x="6624011" y="2224412"/>
            <a:ext cx="1832800" cy="1828800"/>
          </a:xfrm>
          <a:prstGeom prst="ellipse">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24" name="Google Shape;224;p29"/>
          <p:cNvSpPr/>
          <p:nvPr/>
        </p:nvSpPr>
        <p:spPr>
          <a:xfrm>
            <a:off x="898944" y="2224412"/>
            <a:ext cx="1832800" cy="18288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25" name="Google Shape;225;p29"/>
          <p:cNvSpPr/>
          <p:nvPr/>
        </p:nvSpPr>
        <p:spPr>
          <a:xfrm>
            <a:off x="3791911" y="2224412"/>
            <a:ext cx="1832800" cy="1828800"/>
          </a:xfrm>
          <a:prstGeom prst="ellipse">
            <a:avLst/>
          </a:prstGeom>
          <a:no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26" name="Google Shape;226;p29"/>
          <p:cNvSpPr txBox="1">
            <a:spLocks noGrp="1"/>
          </p:cNvSpPr>
          <p:nvPr>
            <p:ph type="subTitle" idx="1"/>
          </p:nvPr>
        </p:nvSpPr>
        <p:spPr>
          <a:xfrm>
            <a:off x="510744" y="4508016"/>
            <a:ext cx="2609200" cy="3900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227" name="Google Shape;227;p29"/>
          <p:cNvSpPr txBox="1">
            <a:spLocks noGrp="1"/>
          </p:cNvSpPr>
          <p:nvPr>
            <p:ph type="subTitle" idx="2"/>
          </p:nvPr>
        </p:nvSpPr>
        <p:spPr>
          <a:xfrm>
            <a:off x="510744" y="4922543"/>
            <a:ext cx="2609200" cy="670401"/>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228" name="Google Shape;228;p29"/>
          <p:cNvSpPr txBox="1">
            <a:spLocks noGrp="1"/>
          </p:cNvSpPr>
          <p:nvPr>
            <p:ph type="subTitle" idx="3"/>
          </p:nvPr>
        </p:nvSpPr>
        <p:spPr>
          <a:xfrm>
            <a:off x="3403711" y="4508016"/>
            <a:ext cx="2609200" cy="3900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229" name="Google Shape;229;p29"/>
          <p:cNvSpPr txBox="1">
            <a:spLocks noGrp="1"/>
          </p:cNvSpPr>
          <p:nvPr>
            <p:ph type="subTitle" idx="4"/>
          </p:nvPr>
        </p:nvSpPr>
        <p:spPr>
          <a:xfrm>
            <a:off x="3403711" y="4922543"/>
            <a:ext cx="2609200" cy="670401"/>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230" name="Google Shape;230;p29"/>
          <p:cNvSpPr txBox="1">
            <a:spLocks noGrp="1"/>
          </p:cNvSpPr>
          <p:nvPr>
            <p:ph type="subTitle" idx="5"/>
          </p:nvPr>
        </p:nvSpPr>
        <p:spPr>
          <a:xfrm>
            <a:off x="6235811" y="4508016"/>
            <a:ext cx="2609200" cy="3900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231" name="Google Shape;231;p29"/>
          <p:cNvSpPr txBox="1">
            <a:spLocks noGrp="1"/>
          </p:cNvSpPr>
          <p:nvPr>
            <p:ph type="subTitle" idx="6"/>
          </p:nvPr>
        </p:nvSpPr>
        <p:spPr>
          <a:xfrm>
            <a:off x="6235811" y="4922543"/>
            <a:ext cx="2609200" cy="670401"/>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232" name="Google Shape;232;p29"/>
          <p:cNvSpPr txBox="1">
            <a:spLocks noGrp="1"/>
          </p:cNvSpPr>
          <p:nvPr>
            <p:ph type="subTitle" idx="7"/>
          </p:nvPr>
        </p:nvSpPr>
        <p:spPr>
          <a:xfrm>
            <a:off x="9072044" y="4508016"/>
            <a:ext cx="2609200" cy="3900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233" name="Google Shape;233;p29"/>
          <p:cNvSpPr txBox="1">
            <a:spLocks noGrp="1"/>
          </p:cNvSpPr>
          <p:nvPr>
            <p:ph type="subTitle" idx="8"/>
          </p:nvPr>
        </p:nvSpPr>
        <p:spPr>
          <a:xfrm>
            <a:off x="9072044" y="4922543"/>
            <a:ext cx="2609200" cy="670401"/>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234" name="Google Shape;234;p29"/>
          <p:cNvSpPr txBox="1">
            <a:spLocks noGrp="1"/>
          </p:cNvSpPr>
          <p:nvPr>
            <p:ph type="title"/>
          </p:nvPr>
        </p:nvSpPr>
        <p:spPr>
          <a:xfrm>
            <a:off x="586267" y="1"/>
            <a:ext cx="11139200" cy="2224400"/>
          </a:xfrm>
          <a:prstGeom prst="rect">
            <a:avLst/>
          </a:prstGeom>
          <a:noFill/>
          <a:ln>
            <a:noFill/>
          </a:ln>
        </p:spPr>
        <p:txBody>
          <a:bodyPr spcFirstLastPara="1" wrap="square" lIns="34275" tIns="17150" rIns="34275" bIns="17150" anchor="ctr" anchorCtr="0">
            <a:noAutofit/>
          </a:bodyPr>
          <a:lstStyle>
            <a:lvl1pPr marR="0" lvl="0" algn="ctr">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235" name="Google Shape;235;p29"/>
          <p:cNvSpPr>
            <a:spLocks noGrp="1"/>
          </p:cNvSpPr>
          <p:nvPr>
            <p:ph type="pic" idx="9"/>
          </p:nvPr>
        </p:nvSpPr>
        <p:spPr>
          <a:xfrm>
            <a:off x="1297184" y="2620652"/>
            <a:ext cx="1036320" cy="1036320"/>
          </a:xfrm>
          <a:prstGeom prst="rect">
            <a:avLst/>
          </a:prstGeom>
          <a:noFill/>
          <a:ln>
            <a:noFill/>
          </a:ln>
        </p:spPr>
      </p:sp>
      <p:sp>
        <p:nvSpPr>
          <p:cNvPr id="236" name="Google Shape;236;p29"/>
          <p:cNvSpPr>
            <a:spLocks noGrp="1"/>
          </p:cNvSpPr>
          <p:nvPr>
            <p:ph type="pic" idx="13"/>
          </p:nvPr>
        </p:nvSpPr>
        <p:spPr>
          <a:xfrm>
            <a:off x="4190151" y="2620652"/>
            <a:ext cx="1036320" cy="1036320"/>
          </a:xfrm>
          <a:prstGeom prst="rect">
            <a:avLst/>
          </a:prstGeom>
          <a:noFill/>
          <a:ln>
            <a:noFill/>
          </a:ln>
        </p:spPr>
      </p:sp>
      <p:sp>
        <p:nvSpPr>
          <p:cNvPr id="237" name="Google Shape;237;p29"/>
          <p:cNvSpPr>
            <a:spLocks noGrp="1"/>
          </p:cNvSpPr>
          <p:nvPr>
            <p:ph type="pic" idx="14"/>
          </p:nvPr>
        </p:nvSpPr>
        <p:spPr>
          <a:xfrm>
            <a:off x="6993884" y="2620652"/>
            <a:ext cx="1036320" cy="1036320"/>
          </a:xfrm>
          <a:prstGeom prst="rect">
            <a:avLst/>
          </a:prstGeom>
          <a:noFill/>
          <a:ln>
            <a:noFill/>
          </a:ln>
        </p:spPr>
      </p:sp>
      <p:sp>
        <p:nvSpPr>
          <p:cNvPr id="238" name="Google Shape;238;p29"/>
          <p:cNvSpPr>
            <a:spLocks noGrp="1"/>
          </p:cNvSpPr>
          <p:nvPr>
            <p:ph type="pic" idx="15"/>
          </p:nvPr>
        </p:nvSpPr>
        <p:spPr>
          <a:xfrm>
            <a:off x="9858496" y="2620652"/>
            <a:ext cx="1036320" cy="1036320"/>
          </a:xfrm>
          <a:prstGeom prst="rect">
            <a:avLst/>
          </a:prstGeom>
          <a:noFill/>
          <a:ln>
            <a:noFill/>
          </a:ln>
        </p:spPr>
      </p:sp>
    </p:spTree>
    <p:extLst>
      <p:ext uri="{BB962C8B-B14F-4D97-AF65-F5344CB8AC3E}">
        <p14:creationId xmlns:p14="http://schemas.microsoft.com/office/powerpoint/2010/main" val="95034572"/>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matchingName="22. Section title center">
  <p:cSld name="22. Section title center">
    <p:spTree>
      <p:nvGrpSpPr>
        <p:cNvPr id="1" name="Shape 239"/>
        <p:cNvGrpSpPr/>
        <p:nvPr/>
      </p:nvGrpSpPr>
      <p:grpSpPr>
        <a:xfrm>
          <a:off x="0" y="0"/>
          <a:ext cx="0" cy="0"/>
          <a:chOff x="0" y="0"/>
          <a:chExt cx="0" cy="0"/>
        </a:xfrm>
      </p:grpSpPr>
      <p:sp>
        <p:nvSpPr>
          <p:cNvPr id="240" name="Google Shape;240;p30"/>
          <p:cNvSpPr/>
          <p:nvPr/>
        </p:nvSpPr>
        <p:spPr>
          <a:xfrm>
            <a:off x="5181600" y="1449819"/>
            <a:ext cx="1828800" cy="1828800"/>
          </a:xfrm>
          <a:prstGeom prst="ellipse">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41" name="Google Shape;241;p30"/>
          <p:cNvSpPr txBox="1">
            <a:spLocks noGrp="1"/>
          </p:cNvSpPr>
          <p:nvPr>
            <p:ph type="title"/>
          </p:nvPr>
        </p:nvSpPr>
        <p:spPr>
          <a:xfrm>
            <a:off x="889000" y="3714168"/>
            <a:ext cx="10414000" cy="793600"/>
          </a:xfrm>
          <a:prstGeom prst="rect">
            <a:avLst/>
          </a:prstGeom>
          <a:noFill/>
          <a:ln>
            <a:noFill/>
          </a:ln>
        </p:spPr>
        <p:txBody>
          <a:bodyPr spcFirstLastPara="1" wrap="square" lIns="34275" tIns="17150" rIns="34275" bIns="17150" anchor="ctr" anchorCtr="0">
            <a:noAutofit/>
          </a:bodyPr>
          <a:lstStyle>
            <a:lvl1pPr marR="0" lvl="0" algn="ctr">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242" name="Google Shape;242;p30"/>
          <p:cNvSpPr txBox="1">
            <a:spLocks noGrp="1"/>
          </p:cNvSpPr>
          <p:nvPr>
            <p:ph type="subTitle" idx="1"/>
          </p:nvPr>
        </p:nvSpPr>
        <p:spPr>
          <a:xfrm>
            <a:off x="890000" y="4529579"/>
            <a:ext cx="10412000" cy="7924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600"/>
              <a:buFont typeface="Roboto Mono"/>
              <a:buNone/>
              <a:defRPr sz="2131"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9pPr>
          </a:lstStyle>
          <a:p>
            <a:endParaRPr/>
          </a:p>
        </p:txBody>
      </p:sp>
      <p:sp>
        <p:nvSpPr>
          <p:cNvPr id="243" name="Google Shape;243;p30"/>
          <p:cNvSpPr>
            <a:spLocks noGrp="1"/>
          </p:cNvSpPr>
          <p:nvPr>
            <p:ph type="pic" idx="2"/>
          </p:nvPr>
        </p:nvSpPr>
        <p:spPr>
          <a:xfrm>
            <a:off x="5577840" y="1846059"/>
            <a:ext cx="1036320" cy="1036320"/>
          </a:xfrm>
          <a:prstGeom prst="rect">
            <a:avLst/>
          </a:prstGeom>
          <a:noFill/>
          <a:ln>
            <a:noFill/>
          </a:ln>
        </p:spPr>
      </p:sp>
    </p:spTree>
    <p:extLst>
      <p:ext uri="{BB962C8B-B14F-4D97-AF65-F5344CB8AC3E}">
        <p14:creationId xmlns:p14="http://schemas.microsoft.com/office/powerpoint/2010/main" val="2110801601"/>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matchingName="23. Section title center">
  <p:cSld name="23. Section title center">
    <p:spTree>
      <p:nvGrpSpPr>
        <p:cNvPr id="1" name="Shape 244"/>
        <p:cNvGrpSpPr/>
        <p:nvPr/>
      </p:nvGrpSpPr>
      <p:grpSpPr>
        <a:xfrm>
          <a:off x="0" y="0"/>
          <a:ext cx="0" cy="0"/>
          <a:chOff x="0" y="0"/>
          <a:chExt cx="0" cy="0"/>
        </a:xfrm>
      </p:grpSpPr>
      <p:sp>
        <p:nvSpPr>
          <p:cNvPr id="245" name="Google Shape;245;p31"/>
          <p:cNvSpPr/>
          <p:nvPr/>
        </p:nvSpPr>
        <p:spPr>
          <a:xfrm>
            <a:off x="5181600" y="1449819"/>
            <a:ext cx="1828800" cy="18288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46" name="Google Shape;246;p31"/>
          <p:cNvSpPr txBox="1">
            <a:spLocks noGrp="1"/>
          </p:cNvSpPr>
          <p:nvPr>
            <p:ph type="title"/>
          </p:nvPr>
        </p:nvSpPr>
        <p:spPr>
          <a:xfrm>
            <a:off x="889000" y="3714168"/>
            <a:ext cx="10414000" cy="793600"/>
          </a:xfrm>
          <a:prstGeom prst="rect">
            <a:avLst/>
          </a:prstGeom>
          <a:noFill/>
          <a:ln>
            <a:noFill/>
          </a:ln>
        </p:spPr>
        <p:txBody>
          <a:bodyPr spcFirstLastPara="1" wrap="square" lIns="34275" tIns="17150" rIns="34275" bIns="17150" anchor="ctr" anchorCtr="0">
            <a:noAutofit/>
          </a:bodyPr>
          <a:lstStyle>
            <a:lvl1pPr marR="0" lvl="0" algn="ctr">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247" name="Google Shape;247;p31"/>
          <p:cNvSpPr txBox="1">
            <a:spLocks noGrp="1"/>
          </p:cNvSpPr>
          <p:nvPr>
            <p:ph type="subTitle" idx="1"/>
          </p:nvPr>
        </p:nvSpPr>
        <p:spPr>
          <a:xfrm>
            <a:off x="890000" y="4529579"/>
            <a:ext cx="10412000" cy="7924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600"/>
              <a:buFont typeface="Roboto Mono"/>
              <a:buNone/>
              <a:defRPr sz="2131"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9pPr>
          </a:lstStyle>
          <a:p>
            <a:endParaRPr/>
          </a:p>
        </p:txBody>
      </p:sp>
      <p:sp>
        <p:nvSpPr>
          <p:cNvPr id="248" name="Google Shape;248;p31"/>
          <p:cNvSpPr>
            <a:spLocks noGrp="1"/>
          </p:cNvSpPr>
          <p:nvPr>
            <p:ph type="pic" idx="2"/>
          </p:nvPr>
        </p:nvSpPr>
        <p:spPr>
          <a:xfrm>
            <a:off x="5577840" y="1846059"/>
            <a:ext cx="1036320" cy="1036320"/>
          </a:xfrm>
          <a:prstGeom prst="rect">
            <a:avLst/>
          </a:prstGeom>
          <a:noFill/>
          <a:ln>
            <a:noFill/>
          </a:ln>
        </p:spPr>
      </p:sp>
    </p:spTree>
    <p:extLst>
      <p:ext uri="{BB962C8B-B14F-4D97-AF65-F5344CB8AC3E}">
        <p14:creationId xmlns:p14="http://schemas.microsoft.com/office/powerpoint/2010/main" val="385665697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matchingName="24. Section title left">
  <p:cSld name="24. Section title left">
    <p:spTree>
      <p:nvGrpSpPr>
        <p:cNvPr id="1" name="Shape 249"/>
        <p:cNvGrpSpPr/>
        <p:nvPr/>
      </p:nvGrpSpPr>
      <p:grpSpPr>
        <a:xfrm>
          <a:off x="0" y="0"/>
          <a:ext cx="0" cy="0"/>
          <a:chOff x="0" y="0"/>
          <a:chExt cx="0" cy="0"/>
        </a:xfrm>
      </p:grpSpPr>
      <p:sp>
        <p:nvSpPr>
          <p:cNvPr id="250" name="Google Shape;250;p32"/>
          <p:cNvSpPr txBox="1">
            <a:spLocks noGrp="1"/>
          </p:cNvSpPr>
          <p:nvPr>
            <p:ph type="title"/>
          </p:nvPr>
        </p:nvSpPr>
        <p:spPr>
          <a:xfrm>
            <a:off x="2793492" y="2849294"/>
            <a:ext cx="8395200" cy="793600"/>
          </a:xfrm>
          <a:prstGeom prst="rect">
            <a:avLst/>
          </a:prstGeom>
          <a:noFill/>
          <a:ln>
            <a:noFill/>
          </a:ln>
        </p:spPr>
        <p:txBody>
          <a:bodyPr spcFirstLastPara="1" wrap="square" lIns="34275" tIns="17150" rIns="34275" bIns="17150" anchor="b"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9pPr>
          </a:lstStyle>
          <a:p>
            <a:endParaRPr/>
          </a:p>
        </p:txBody>
      </p:sp>
      <p:sp>
        <p:nvSpPr>
          <p:cNvPr id="251" name="Google Shape;251;p32"/>
          <p:cNvSpPr/>
          <p:nvPr/>
        </p:nvSpPr>
        <p:spPr>
          <a:xfrm>
            <a:off x="682925" y="2514601"/>
            <a:ext cx="1828800" cy="18288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52" name="Google Shape;252;p32"/>
          <p:cNvSpPr txBox="1">
            <a:spLocks noGrp="1"/>
          </p:cNvSpPr>
          <p:nvPr>
            <p:ph type="subTitle" idx="1"/>
          </p:nvPr>
        </p:nvSpPr>
        <p:spPr>
          <a:xfrm>
            <a:off x="2787904" y="3581934"/>
            <a:ext cx="8400400" cy="426799"/>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600"/>
              <a:buFont typeface="Roboto Mono"/>
              <a:buNone/>
              <a:defRPr sz="2131"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9pPr>
          </a:lstStyle>
          <a:p>
            <a:endParaRPr/>
          </a:p>
        </p:txBody>
      </p:sp>
      <p:sp>
        <p:nvSpPr>
          <p:cNvPr id="253" name="Google Shape;253;p32"/>
          <p:cNvSpPr>
            <a:spLocks noGrp="1"/>
          </p:cNvSpPr>
          <p:nvPr>
            <p:ph type="pic" idx="2"/>
          </p:nvPr>
        </p:nvSpPr>
        <p:spPr>
          <a:xfrm>
            <a:off x="1079165" y="2910841"/>
            <a:ext cx="1036320" cy="1036320"/>
          </a:xfrm>
          <a:prstGeom prst="rect">
            <a:avLst/>
          </a:prstGeom>
          <a:noFill/>
          <a:ln>
            <a:noFill/>
          </a:ln>
        </p:spPr>
      </p:sp>
    </p:spTree>
    <p:extLst>
      <p:ext uri="{BB962C8B-B14F-4D97-AF65-F5344CB8AC3E}">
        <p14:creationId xmlns:p14="http://schemas.microsoft.com/office/powerpoint/2010/main" val="1100887626"/>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matchingName="25. Section title left">
  <p:cSld name="25. Section title left">
    <p:spTree>
      <p:nvGrpSpPr>
        <p:cNvPr id="1" name="Shape 254"/>
        <p:cNvGrpSpPr/>
        <p:nvPr/>
      </p:nvGrpSpPr>
      <p:grpSpPr>
        <a:xfrm>
          <a:off x="0" y="0"/>
          <a:ext cx="0" cy="0"/>
          <a:chOff x="0" y="0"/>
          <a:chExt cx="0" cy="0"/>
        </a:xfrm>
      </p:grpSpPr>
      <p:sp>
        <p:nvSpPr>
          <p:cNvPr id="255" name="Google Shape;255;p33"/>
          <p:cNvSpPr/>
          <p:nvPr/>
        </p:nvSpPr>
        <p:spPr>
          <a:xfrm>
            <a:off x="682925" y="2514601"/>
            <a:ext cx="1828800" cy="1828800"/>
          </a:xfrm>
          <a:prstGeom prst="ellipse">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56" name="Google Shape;256;p33"/>
          <p:cNvSpPr txBox="1">
            <a:spLocks noGrp="1"/>
          </p:cNvSpPr>
          <p:nvPr>
            <p:ph type="title"/>
          </p:nvPr>
        </p:nvSpPr>
        <p:spPr>
          <a:xfrm>
            <a:off x="2793492" y="2849294"/>
            <a:ext cx="8395200" cy="793600"/>
          </a:xfrm>
          <a:prstGeom prst="rect">
            <a:avLst/>
          </a:prstGeom>
          <a:noFill/>
          <a:ln>
            <a:noFill/>
          </a:ln>
        </p:spPr>
        <p:txBody>
          <a:bodyPr spcFirstLastPara="1" wrap="square" lIns="34275" tIns="17150" rIns="34275" bIns="17150" anchor="b"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9pPr>
          </a:lstStyle>
          <a:p>
            <a:endParaRPr/>
          </a:p>
        </p:txBody>
      </p:sp>
      <p:sp>
        <p:nvSpPr>
          <p:cNvPr id="257" name="Google Shape;257;p33"/>
          <p:cNvSpPr txBox="1">
            <a:spLocks noGrp="1"/>
          </p:cNvSpPr>
          <p:nvPr>
            <p:ph type="subTitle" idx="1"/>
          </p:nvPr>
        </p:nvSpPr>
        <p:spPr>
          <a:xfrm>
            <a:off x="2787904" y="3581934"/>
            <a:ext cx="8400400" cy="426799"/>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600"/>
              <a:buFont typeface="Roboto Mono"/>
              <a:buNone/>
              <a:defRPr sz="2131"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9pPr>
          </a:lstStyle>
          <a:p>
            <a:endParaRPr/>
          </a:p>
        </p:txBody>
      </p:sp>
      <p:sp>
        <p:nvSpPr>
          <p:cNvPr id="258" name="Google Shape;258;p33"/>
          <p:cNvSpPr>
            <a:spLocks noGrp="1"/>
          </p:cNvSpPr>
          <p:nvPr>
            <p:ph type="pic" idx="2"/>
          </p:nvPr>
        </p:nvSpPr>
        <p:spPr>
          <a:xfrm>
            <a:off x="1079165" y="2910841"/>
            <a:ext cx="1036320" cy="1036320"/>
          </a:xfrm>
          <a:prstGeom prst="rect">
            <a:avLst/>
          </a:prstGeom>
          <a:noFill/>
          <a:ln>
            <a:noFill/>
          </a:ln>
        </p:spPr>
      </p:sp>
    </p:spTree>
    <p:extLst>
      <p:ext uri="{BB962C8B-B14F-4D97-AF65-F5344CB8AC3E}">
        <p14:creationId xmlns:p14="http://schemas.microsoft.com/office/powerpoint/2010/main" val="41335508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matchingName="26. Section title left">
  <p:cSld name="26. Section title left">
    <p:spTree>
      <p:nvGrpSpPr>
        <p:cNvPr id="1" name="Shape 259"/>
        <p:cNvGrpSpPr/>
        <p:nvPr/>
      </p:nvGrpSpPr>
      <p:grpSpPr>
        <a:xfrm>
          <a:off x="0" y="0"/>
          <a:ext cx="0" cy="0"/>
          <a:chOff x="0" y="0"/>
          <a:chExt cx="0" cy="0"/>
        </a:xfrm>
      </p:grpSpPr>
      <p:sp>
        <p:nvSpPr>
          <p:cNvPr id="260" name="Google Shape;260;p34"/>
          <p:cNvSpPr/>
          <p:nvPr/>
        </p:nvSpPr>
        <p:spPr>
          <a:xfrm>
            <a:off x="682925" y="2514601"/>
            <a:ext cx="1828800" cy="18288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61" name="Google Shape;261;p34"/>
          <p:cNvSpPr txBox="1">
            <a:spLocks noGrp="1"/>
          </p:cNvSpPr>
          <p:nvPr>
            <p:ph type="title"/>
          </p:nvPr>
        </p:nvSpPr>
        <p:spPr>
          <a:xfrm>
            <a:off x="2793492" y="2849294"/>
            <a:ext cx="8395200" cy="793600"/>
          </a:xfrm>
          <a:prstGeom prst="rect">
            <a:avLst/>
          </a:prstGeom>
          <a:noFill/>
          <a:ln>
            <a:noFill/>
          </a:ln>
        </p:spPr>
        <p:txBody>
          <a:bodyPr spcFirstLastPara="1" wrap="square" lIns="34275" tIns="17150" rIns="34275" bIns="17150" anchor="b"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800"/>
              <a:buFont typeface="Arial"/>
              <a:buNone/>
              <a:defRPr sz="5062" b="1" i="0" u="none" strike="noStrike" cap="none">
                <a:solidFill>
                  <a:schemeClr val="dk1"/>
                </a:solidFill>
                <a:latin typeface="Arial"/>
                <a:ea typeface="Arial"/>
                <a:cs typeface="Arial"/>
                <a:sym typeface="Arial"/>
              </a:defRPr>
            </a:lvl9pPr>
          </a:lstStyle>
          <a:p>
            <a:endParaRPr/>
          </a:p>
        </p:txBody>
      </p:sp>
      <p:sp>
        <p:nvSpPr>
          <p:cNvPr id="262" name="Google Shape;262;p34"/>
          <p:cNvSpPr txBox="1">
            <a:spLocks noGrp="1"/>
          </p:cNvSpPr>
          <p:nvPr>
            <p:ph type="subTitle" idx="1"/>
          </p:nvPr>
        </p:nvSpPr>
        <p:spPr>
          <a:xfrm>
            <a:off x="2787904" y="3581934"/>
            <a:ext cx="8400400" cy="426799"/>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600"/>
              <a:buFont typeface="Roboto Mono"/>
              <a:buNone/>
              <a:defRPr sz="2131"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9pPr>
          </a:lstStyle>
          <a:p>
            <a:endParaRPr/>
          </a:p>
        </p:txBody>
      </p:sp>
      <p:sp>
        <p:nvSpPr>
          <p:cNvPr id="263" name="Google Shape;263;p34"/>
          <p:cNvSpPr>
            <a:spLocks noGrp="1"/>
          </p:cNvSpPr>
          <p:nvPr>
            <p:ph type="pic" idx="2"/>
          </p:nvPr>
        </p:nvSpPr>
        <p:spPr>
          <a:xfrm>
            <a:off x="1079165" y="2910841"/>
            <a:ext cx="1036320" cy="1036320"/>
          </a:xfrm>
          <a:prstGeom prst="rect">
            <a:avLst/>
          </a:prstGeom>
          <a:noFill/>
          <a:ln>
            <a:noFill/>
          </a:ln>
        </p:spPr>
      </p:sp>
    </p:spTree>
    <p:extLst>
      <p:ext uri="{BB962C8B-B14F-4D97-AF65-F5344CB8AC3E}">
        <p14:creationId xmlns:p14="http://schemas.microsoft.com/office/powerpoint/2010/main" val="390299542"/>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matchingName="27. Large statement">
  <p:cSld name="27. Large statement">
    <p:bg>
      <p:bgPr>
        <a:gradFill>
          <a:gsLst>
            <a:gs pos="0">
              <a:schemeClr val="accent1"/>
            </a:gs>
            <a:gs pos="99000">
              <a:schemeClr val="accent6"/>
            </a:gs>
            <a:gs pos="100000">
              <a:schemeClr val="accent6"/>
            </a:gs>
          </a:gsLst>
          <a:lin ang="18900044" scaled="0"/>
        </a:gradFill>
        <a:effectLst/>
      </p:bgPr>
    </p:bg>
    <p:spTree>
      <p:nvGrpSpPr>
        <p:cNvPr id="1" name="Shape 264"/>
        <p:cNvGrpSpPr/>
        <p:nvPr/>
      </p:nvGrpSpPr>
      <p:grpSpPr>
        <a:xfrm>
          <a:off x="0" y="0"/>
          <a:ext cx="0" cy="0"/>
          <a:chOff x="0" y="0"/>
          <a:chExt cx="0" cy="0"/>
        </a:xfrm>
      </p:grpSpPr>
      <p:sp>
        <p:nvSpPr>
          <p:cNvPr id="265" name="Google Shape;265;p35"/>
          <p:cNvSpPr/>
          <p:nvPr/>
        </p:nvSpPr>
        <p:spPr>
          <a:xfrm>
            <a:off x="12210290" y="5155223"/>
            <a:ext cx="1549231" cy="2596897"/>
          </a:xfrm>
          <a:prstGeom prst="rect">
            <a:avLst/>
          </a:prstGeom>
          <a:solidFill>
            <a:srgbClr val="282828"/>
          </a:solidFill>
          <a:ln w="508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266" name="Google Shape;266;p35"/>
          <p:cNvSpPr/>
          <p:nvPr/>
        </p:nvSpPr>
        <p:spPr>
          <a:xfrm>
            <a:off x="12213336" y="4279393"/>
            <a:ext cx="1905000" cy="4041648"/>
          </a:xfrm>
          <a:prstGeom prst="rect">
            <a:avLst/>
          </a:prstGeom>
          <a:solidFill>
            <a:srgbClr val="282828"/>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267" name="Google Shape;267;p35"/>
          <p:cNvSpPr/>
          <p:nvPr/>
        </p:nvSpPr>
        <p:spPr>
          <a:xfrm>
            <a:off x="11260836" y="6881387"/>
            <a:ext cx="1905000" cy="1155192"/>
          </a:xfrm>
          <a:prstGeom prst="rect">
            <a:avLst/>
          </a:prstGeom>
          <a:solidFill>
            <a:srgbClr val="282828"/>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268" name="Google Shape;268;p35"/>
          <p:cNvSpPr txBox="1">
            <a:spLocks noGrp="1"/>
          </p:cNvSpPr>
          <p:nvPr>
            <p:ph type="title"/>
          </p:nvPr>
        </p:nvSpPr>
        <p:spPr>
          <a:xfrm>
            <a:off x="609600" y="1263601"/>
            <a:ext cx="9486800" cy="43308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4400"/>
              <a:buFont typeface="Arial"/>
              <a:buNone/>
              <a:defRPr sz="5861"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9pPr>
          </a:lstStyle>
          <a:p>
            <a:endParaRPr/>
          </a:p>
        </p:txBody>
      </p:sp>
    </p:spTree>
    <p:extLst>
      <p:ext uri="{BB962C8B-B14F-4D97-AF65-F5344CB8AC3E}">
        <p14:creationId xmlns:p14="http://schemas.microsoft.com/office/powerpoint/2010/main" val="3563661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a:srcRect l="10402" r="22948"/>
          <a:stretch/>
        </p:blipFill>
        <p:spPr bwMode="ltGray">
          <a:xfrm>
            <a:off x="5334000" y="0"/>
            <a:ext cx="6858000" cy="6858000"/>
          </a:xfrm>
          <a:prstGeom prst="rect">
            <a:avLst/>
          </a:prstGeom>
        </p:spPr>
      </p:pic>
    </p:spTree>
    <p:extLst>
      <p:ext uri="{BB962C8B-B14F-4D97-AF65-F5344CB8AC3E}">
        <p14:creationId xmlns:p14="http://schemas.microsoft.com/office/powerpoint/2010/main" val="1229041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matchingName="28. Large statement">
  <p:cSld name="28. Large statement">
    <p:bg>
      <p:bgPr>
        <a:gradFill>
          <a:gsLst>
            <a:gs pos="0">
              <a:schemeClr val="accent2"/>
            </a:gs>
            <a:gs pos="68000">
              <a:schemeClr val="accent4"/>
            </a:gs>
            <a:gs pos="100000">
              <a:schemeClr val="accent4"/>
            </a:gs>
          </a:gsLst>
          <a:lin ang="18900044" scaled="0"/>
        </a:gradFill>
        <a:effectLst/>
      </p:bgPr>
    </p:bg>
    <p:spTree>
      <p:nvGrpSpPr>
        <p:cNvPr id="1" name="Shape 269"/>
        <p:cNvGrpSpPr/>
        <p:nvPr/>
      </p:nvGrpSpPr>
      <p:grpSpPr>
        <a:xfrm>
          <a:off x="0" y="0"/>
          <a:ext cx="0" cy="0"/>
          <a:chOff x="0" y="0"/>
          <a:chExt cx="0" cy="0"/>
        </a:xfrm>
      </p:grpSpPr>
      <p:sp>
        <p:nvSpPr>
          <p:cNvPr id="270" name="Google Shape;270;p36"/>
          <p:cNvSpPr txBox="1">
            <a:spLocks noGrp="1"/>
          </p:cNvSpPr>
          <p:nvPr>
            <p:ph type="title"/>
          </p:nvPr>
        </p:nvSpPr>
        <p:spPr>
          <a:xfrm>
            <a:off x="609600" y="1263601"/>
            <a:ext cx="9486800" cy="43308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4400"/>
              <a:buFont typeface="Arial"/>
              <a:buNone/>
              <a:defRPr sz="5861"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9pPr>
          </a:lstStyle>
          <a:p>
            <a:endParaRPr/>
          </a:p>
        </p:txBody>
      </p:sp>
    </p:spTree>
    <p:extLst>
      <p:ext uri="{BB962C8B-B14F-4D97-AF65-F5344CB8AC3E}">
        <p14:creationId xmlns:p14="http://schemas.microsoft.com/office/powerpoint/2010/main" val="72753702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matchingName="29. Large statement">
  <p:cSld name="29. Large statement">
    <p:bg>
      <p:bgPr>
        <a:gradFill>
          <a:gsLst>
            <a:gs pos="0">
              <a:schemeClr val="accent2"/>
            </a:gs>
            <a:gs pos="100000">
              <a:schemeClr val="accent5"/>
            </a:gs>
          </a:gsLst>
          <a:lin ang="18900044" scaled="0"/>
        </a:gradFill>
        <a:effectLst/>
      </p:bgPr>
    </p:bg>
    <p:spTree>
      <p:nvGrpSpPr>
        <p:cNvPr id="1" name="Shape 271"/>
        <p:cNvGrpSpPr/>
        <p:nvPr/>
      </p:nvGrpSpPr>
      <p:grpSpPr>
        <a:xfrm>
          <a:off x="0" y="0"/>
          <a:ext cx="0" cy="0"/>
          <a:chOff x="0" y="0"/>
          <a:chExt cx="0" cy="0"/>
        </a:xfrm>
      </p:grpSpPr>
      <p:sp>
        <p:nvSpPr>
          <p:cNvPr id="272" name="Google Shape;272;p37"/>
          <p:cNvSpPr txBox="1">
            <a:spLocks noGrp="1"/>
          </p:cNvSpPr>
          <p:nvPr>
            <p:ph type="title"/>
          </p:nvPr>
        </p:nvSpPr>
        <p:spPr>
          <a:xfrm>
            <a:off x="609600" y="1263601"/>
            <a:ext cx="9486800" cy="43308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4400"/>
              <a:buFont typeface="Arial"/>
              <a:buNone/>
              <a:defRPr sz="5861"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4400"/>
              <a:buFont typeface="Arial"/>
              <a:buNone/>
              <a:defRPr sz="5861" b="1" i="0" u="none" strike="noStrike" cap="none">
                <a:solidFill>
                  <a:srgbClr val="F0F6FC"/>
                </a:solidFill>
                <a:latin typeface="Arial"/>
                <a:ea typeface="Arial"/>
                <a:cs typeface="Arial"/>
                <a:sym typeface="Arial"/>
              </a:defRPr>
            </a:lvl9pPr>
          </a:lstStyle>
          <a:p>
            <a:endParaRPr/>
          </a:p>
        </p:txBody>
      </p:sp>
    </p:spTree>
    <p:extLst>
      <p:ext uri="{BB962C8B-B14F-4D97-AF65-F5344CB8AC3E}">
        <p14:creationId xmlns:p14="http://schemas.microsoft.com/office/powerpoint/2010/main" val="3297429437"/>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matchingName="30. Where the world builds software (DO NOT EDIT)">
  <p:cSld name="30. Where the world builds software (DO NOT EDIT)">
    <p:spTree>
      <p:nvGrpSpPr>
        <p:cNvPr id="1" name="Shape 273"/>
        <p:cNvGrpSpPr/>
        <p:nvPr/>
      </p:nvGrpSpPr>
      <p:grpSpPr>
        <a:xfrm>
          <a:off x="0" y="0"/>
          <a:ext cx="0" cy="0"/>
          <a:chOff x="0" y="0"/>
          <a:chExt cx="0" cy="0"/>
        </a:xfrm>
      </p:grpSpPr>
      <p:sp>
        <p:nvSpPr>
          <p:cNvPr id="274" name="Google Shape;274;p38"/>
          <p:cNvSpPr/>
          <p:nvPr/>
        </p:nvSpPr>
        <p:spPr>
          <a:xfrm>
            <a:off x="3975200" y="5943600"/>
            <a:ext cx="4241600" cy="800001"/>
          </a:xfrm>
          <a:prstGeom prst="rect">
            <a:avLst/>
          </a:prstGeom>
          <a:solidFill>
            <a:srgbClr val="090C0F"/>
          </a:soli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pic>
        <p:nvPicPr>
          <p:cNvPr id="275" name="Google Shape;275;p38"/>
          <p:cNvPicPr preferRelativeResize="0"/>
          <p:nvPr/>
        </p:nvPicPr>
        <p:blipFill rotWithShape="1">
          <a:blip r:embed="rId2">
            <a:alphaModFix/>
          </a:blip>
          <a:srcRect/>
          <a:stretch/>
        </p:blipFill>
        <p:spPr>
          <a:xfrm rot="2037362">
            <a:off x="-3174832" y="-911433"/>
            <a:ext cx="18541663" cy="14214068"/>
          </a:xfrm>
          <a:prstGeom prst="rect">
            <a:avLst/>
          </a:prstGeom>
          <a:noFill/>
          <a:ln>
            <a:noFill/>
          </a:ln>
        </p:spPr>
      </p:pic>
      <p:sp>
        <p:nvSpPr>
          <p:cNvPr id="276" name="Google Shape;276;p38"/>
          <p:cNvSpPr txBox="1"/>
          <p:nvPr/>
        </p:nvSpPr>
        <p:spPr>
          <a:xfrm>
            <a:off x="0" y="381001"/>
            <a:ext cx="12192000" cy="1147866"/>
          </a:xfrm>
          <a:prstGeom prst="rect">
            <a:avLst/>
          </a:prstGeom>
          <a:noFill/>
          <a:ln>
            <a:noFill/>
          </a:ln>
        </p:spPr>
        <p:txBody>
          <a:bodyPr spcFirstLastPara="1" wrap="square" lIns="121787" tIns="121787" rIns="121787" bIns="121787" anchor="t" anchorCtr="0">
            <a:spAutoFit/>
          </a:bodyPr>
          <a:lstStyle/>
          <a:p>
            <a:pPr marL="0" marR="0" lvl="0" indent="0" algn="ctr" rtl="0">
              <a:spcBef>
                <a:spcPts val="0"/>
              </a:spcBef>
              <a:spcAft>
                <a:spcPts val="0"/>
              </a:spcAft>
              <a:buClr>
                <a:schemeClr val="accent4"/>
              </a:buClr>
              <a:buSzPts val="4400"/>
              <a:buFont typeface="Arial"/>
              <a:buNone/>
            </a:pPr>
            <a:r>
              <a:rPr lang="en-US" sz="5861" b="1" i="0">
                <a:solidFill>
                  <a:schemeClr val="accent4"/>
                </a:solidFill>
                <a:latin typeface="Arial"/>
                <a:ea typeface="Arial"/>
                <a:cs typeface="Arial"/>
                <a:sym typeface="Arial"/>
              </a:rPr>
              <a:t>Where the world builds </a:t>
            </a:r>
            <a:r>
              <a:rPr lang="en-US" sz="5861" b="1" i="0">
                <a:solidFill>
                  <a:schemeClr val="accent6"/>
                </a:solidFill>
                <a:latin typeface="Arial"/>
                <a:ea typeface="Arial"/>
                <a:cs typeface="Arial"/>
                <a:sym typeface="Arial"/>
              </a:rPr>
              <a:t>software</a:t>
            </a:r>
            <a:endParaRPr sz="5861" b="1" i="0">
              <a:solidFill>
                <a:schemeClr val="accent6"/>
              </a:solidFill>
              <a:latin typeface="Arial"/>
              <a:ea typeface="Arial"/>
              <a:cs typeface="Arial"/>
              <a:sym typeface="Arial"/>
            </a:endParaRPr>
          </a:p>
        </p:txBody>
      </p:sp>
      <p:grpSp>
        <p:nvGrpSpPr>
          <p:cNvPr id="277" name="Google Shape;277;p38"/>
          <p:cNvGrpSpPr/>
          <p:nvPr/>
        </p:nvGrpSpPr>
        <p:grpSpPr>
          <a:xfrm>
            <a:off x="289500" y="1414286"/>
            <a:ext cx="11613000" cy="1350283"/>
            <a:chOff x="193300" y="1138125"/>
            <a:chExt cx="8709750" cy="1012712"/>
          </a:xfrm>
        </p:grpSpPr>
        <p:sp>
          <p:nvSpPr>
            <p:cNvPr id="278" name="Google Shape;278;p38"/>
            <p:cNvSpPr txBox="1"/>
            <p:nvPr/>
          </p:nvSpPr>
          <p:spPr>
            <a:xfrm>
              <a:off x="193300" y="1138125"/>
              <a:ext cx="1485900" cy="691994"/>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3600"/>
                <a:buFont typeface="Arial"/>
                <a:buNone/>
              </a:pPr>
              <a:r>
                <a:rPr lang="en-US" sz="4796" b="1" i="0">
                  <a:solidFill>
                    <a:schemeClr val="dk1"/>
                  </a:solidFill>
                  <a:latin typeface="Arial"/>
                  <a:ea typeface="Arial"/>
                  <a:cs typeface="Arial"/>
                  <a:sym typeface="Arial"/>
                </a:rPr>
                <a:t>83M+</a:t>
              </a:r>
              <a:endParaRPr sz="4796" b="1" i="0">
                <a:solidFill>
                  <a:schemeClr val="dk1"/>
                </a:solidFill>
                <a:latin typeface="Arial"/>
                <a:ea typeface="Arial"/>
                <a:cs typeface="Arial"/>
                <a:sym typeface="Arial"/>
              </a:endParaRPr>
            </a:p>
          </p:txBody>
        </p:sp>
        <p:sp>
          <p:nvSpPr>
            <p:cNvPr id="279" name="Google Shape;279;p38"/>
            <p:cNvSpPr txBox="1"/>
            <p:nvPr/>
          </p:nvSpPr>
          <p:spPr>
            <a:xfrm>
              <a:off x="1897823" y="1138125"/>
              <a:ext cx="1485900" cy="691994"/>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3600"/>
                <a:buFont typeface="Arial"/>
                <a:buNone/>
              </a:pPr>
              <a:r>
                <a:rPr lang="en-US" sz="4796" b="1" i="0">
                  <a:solidFill>
                    <a:schemeClr val="dk1"/>
                  </a:solidFill>
                  <a:latin typeface="Arial"/>
                  <a:ea typeface="Arial"/>
                  <a:cs typeface="Arial"/>
                  <a:sym typeface="Arial"/>
                </a:rPr>
                <a:t>4M+</a:t>
              </a:r>
              <a:endParaRPr sz="4796" b="1" i="0">
                <a:solidFill>
                  <a:schemeClr val="dk1"/>
                </a:solidFill>
                <a:latin typeface="Arial"/>
                <a:ea typeface="Arial"/>
                <a:cs typeface="Arial"/>
                <a:sym typeface="Arial"/>
              </a:endParaRPr>
            </a:p>
          </p:txBody>
        </p:sp>
        <p:sp>
          <p:nvSpPr>
            <p:cNvPr id="280" name="Google Shape;280;p38"/>
            <p:cNvSpPr txBox="1"/>
            <p:nvPr/>
          </p:nvSpPr>
          <p:spPr>
            <a:xfrm>
              <a:off x="3549999" y="1138125"/>
              <a:ext cx="1485900" cy="691994"/>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3600"/>
                <a:buFont typeface="Arial"/>
                <a:buNone/>
              </a:pPr>
              <a:r>
                <a:rPr lang="en-US" sz="4796" b="1" i="0">
                  <a:solidFill>
                    <a:schemeClr val="dk1"/>
                  </a:solidFill>
                  <a:latin typeface="Arial"/>
                  <a:ea typeface="Arial"/>
                  <a:cs typeface="Arial"/>
                  <a:sym typeface="Arial"/>
                </a:rPr>
                <a:t>2.6B+</a:t>
              </a:r>
              <a:endParaRPr sz="4796" b="1" i="0">
                <a:solidFill>
                  <a:schemeClr val="dk1"/>
                </a:solidFill>
                <a:latin typeface="Arial"/>
                <a:ea typeface="Arial"/>
                <a:cs typeface="Arial"/>
                <a:sym typeface="Arial"/>
              </a:endParaRPr>
            </a:p>
          </p:txBody>
        </p:sp>
        <p:sp>
          <p:nvSpPr>
            <p:cNvPr id="281" name="Google Shape;281;p38"/>
            <p:cNvSpPr txBox="1"/>
            <p:nvPr/>
          </p:nvSpPr>
          <p:spPr>
            <a:xfrm>
              <a:off x="5223024" y="1138125"/>
              <a:ext cx="1666800" cy="691994"/>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3600"/>
                <a:buFont typeface="Arial"/>
                <a:buNone/>
              </a:pPr>
              <a:r>
                <a:rPr lang="en-US" sz="4796" b="1" i="0">
                  <a:solidFill>
                    <a:schemeClr val="dk1"/>
                  </a:solidFill>
                  <a:latin typeface="Arial"/>
                  <a:ea typeface="Arial"/>
                  <a:cs typeface="Arial"/>
                  <a:sym typeface="Arial"/>
                </a:rPr>
                <a:t>1,000+</a:t>
              </a:r>
              <a:endParaRPr sz="4796" b="1" i="0">
                <a:solidFill>
                  <a:schemeClr val="dk1"/>
                </a:solidFill>
                <a:latin typeface="Arial"/>
                <a:ea typeface="Arial"/>
                <a:cs typeface="Arial"/>
                <a:sym typeface="Arial"/>
              </a:endParaRPr>
            </a:p>
          </p:txBody>
        </p:sp>
        <p:sp>
          <p:nvSpPr>
            <p:cNvPr id="282" name="Google Shape;282;p38"/>
            <p:cNvSpPr txBox="1"/>
            <p:nvPr/>
          </p:nvSpPr>
          <p:spPr>
            <a:xfrm>
              <a:off x="7076950" y="1138125"/>
              <a:ext cx="1826100" cy="691994"/>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3600"/>
                <a:buFont typeface="Arial"/>
                <a:buNone/>
              </a:pPr>
              <a:r>
                <a:rPr lang="en-US" sz="4796" b="1" i="0">
                  <a:solidFill>
                    <a:schemeClr val="dk1"/>
                  </a:solidFill>
                  <a:latin typeface="Arial"/>
                  <a:ea typeface="Arial"/>
                  <a:cs typeface="Arial"/>
                  <a:sym typeface="Arial"/>
                </a:rPr>
                <a:t>200M+</a:t>
              </a:r>
              <a:endParaRPr sz="4796" b="1" i="0">
                <a:solidFill>
                  <a:schemeClr val="dk1"/>
                </a:solidFill>
                <a:latin typeface="Arial"/>
                <a:ea typeface="Arial"/>
                <a:cs typeface="Arial"/>
                <a:sym typeface="Arial"/>
              </a:endParaRPr>
            </a:p>
          </p:txBody>
        </p:sp>
        <p:sp>
          <p:nvSpPr>
            <p:cNvPr id="283" name="Google Shape;283;p38"/>
            <p:cNvSpPr txBox="1"/>
            <p:nvPr/>
          </p:nvSpPr>
          <p:spPr>
            <a:xfrm>
              <a:off x="260650" y="1704872"/>
              <a:ext cx="1351200" cy="292221"/>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2"/>
                </a:buClr>
                <a:buSzPts val="1000"/>
                <a:buFont typeface="Arial"/>
                <a:buNone/>
              </a:pPr>
              <a:r>
                <a:rPr lang="en-US" sz="1332" b="0" i="0">
                  <a:solidFill>
                    <a:schemeClr val="dk2"/>
                  </a:solidFill>
                  <a:latin typeface="Arial"/>
                  <a:ea typeface="Arial"/>
                  <a:cs typeface="Arial"/>
                  <a:sym typeface="Arial"/>
                </a:rPr>
                <a:t>Developers</a:t>
              </a:r>
              <a:endParaRPr sz="1332" b="0" i="0">
                <a:solidFill>
                  <a:schemeClr val="dk2"/>
                </a:solidFill>
                <a:latin typeface="Arial"/>
                <a:ea typeface="Arial"/>
                <a:cs typeface="Arial"/>
                <a:sym typeface="Arial"/>
              </a:endParaRPr>
            </a:p>
          </p:txBody>
        </p:sp>
        <p:sp>
          <p:nvSpPr>
            <p:cNvPr id="284" name="Google Shape;284;p38"/>
            <p:cNvSpPr txBox="1"/>
            <p:nvPr/>
          </p:nvSpPr>
          <p:spPr>
            <a:xfrm>
              <a:off x="1965173" y="1704872"/>
              <a:ext cx="1351200" cy="292221"/>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2"/>
                </a:buClr>
                <a:buSzPts val="1000"/>
                <a:buFont typeface="Arial"/>
                <a:buNone/>
              </a:pPr>
              <a:r>
                <a:rPr lang="en-US" sz="1332" b="0" i="0">
                  <a:solidFill>
                    <a:schemeClr val="dk2"/>
                  </a:solidFill>
                  <a:latin typeface="Arial"/>
                  <a:ea typeface="Arial"/>
                  <a:cs typeface="Arial"/>
                  <a:sym typeface="Arial"/>
                </a:rPr>
                <a:t>Organizations</a:t>
              </a:r>
              <a:endParaRPr sz="1332" b="0" i="0">
                <a:solidFill>
                  <a:schemeClr val="dk2"/>
                </a:solidFill>
                <a:latin typeface="Arial"/>
                <a:ea typeface="Arial"/>
                <a:cs typeface="Arial"/>
                <a:sym typeface="Arial"/>
              </a:endParaRPr>
            </a:p>
          </p:txBody>
        </p:sp>
        <p:sp>
          <p:nvSpPr>
            <p:cNvPr id="285" name="Google Shape;285;p38"/>
            <p:cNvSpPr txBox="1"/>
            <p:nvPr/>
          </p:nvSpPr>
          <p:spPr>
            <a:xfrm>
              <a:off x="3617349" y="1704872"/>
              <a:ext cx="1351200" cy="445965"/>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2"/>
                </a:buClr>
                <a:buSzPts val="1000"/>
                <a:buFont typeface="Arial"/>
                <a:buNone/>
              </a:pPr>
              <a:r>
                <a:rPr lang="en-US" sz="1332" b="0" i="0">
                  <a:solidFill>
                    <a:schemeClr val="dk2"/>
                  </a:solidFill>
                  <a:latin typeface="Arial"/>
                  <a:ea typeface="Arial"/>
                  <a:cs typeface="Arial"/>
                  <a:sym typeface="Arial"/>
                </a:rPr>
                <a:t>Contributions per year</a:t>
              </a:r>
              <a:endParaRPr sz="1332" b="0" i="0">
                <a:solidFill>
                  <a:schemeClr val="dk2"/>
                </a:solidFill>
                <a:latin typeface="Arial"/>
                <a:ea typeface="Arial"/>
                <a:cs typeface="Arial"/>
                <a:sym typeface="Arial"/>
              </a:endParaRPr>
            </a:p>
          </p:txBody>
        </p:sp>
        <p:sp>
          <p:nvSpPr>
            <p:cNvPr id="286" name="Google Shape;286;p38"/>
            <p:cNvSpPr txBox="1"/>
            <p:nvPr/>
          </p:nvSpPr>
          <p:spPr>
            <a:xfrm>
              <a:off x="5380824" y="1704872"/>
              <a:ext cx="1351200" cy="445965"/>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2"/>
                </a:buClr>
                <a:buSzPts val="1000"/>
                <a:buFont typeface="Arial"/>
                <a:buNone/>
              </a:pPr>
              <a:r>
                <a:rPr lang="en-US" sz="1332" b="0" i="0">
                  <a:solidFill>
                    <a:schemeClr val="dk2"/>
                  </a:solidFill>
                  <a:latin typeface="Arial"/>
                  <a:ea typeface="Arial"/>
                  <a:cs typeface="Arial"/>
                  <a:sym typeface="Arial"/>
                </a:rPr>
                <a:t>Top open source communities</a:t>
              </a:r>
              <a:endParaRPr sz="1332" b="0" i="0">
                <a:solidFill>
                  <a:schemeClr val="dk2"/>
                </a:solidFill>
                <a:latin typeface="Arial"/>
                <a:ea typeface="Arial"/>
                <a:cs typeface="Arial"/>
                <a:sym typeface="Arial"/>
              </a:endParaRPr>
            </a:p>
          </p:txBody>
        </p:sp>
        <p:sp>
          <p:nvSpPr>
            <p:cNvPr id="287" name="Google Shape;287;p38"/>
            <p:cNvSpPr txBox="1"/>
            <p:nvPr/>
          </p:nvSpPr>
          <p:spPr>
            <a:xfrm>
              <a:off x="7148725" y="1704872"/>
              <a:ext cx="1682550" cy="445965"/>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2"/>
                </a:buClr>
                <a:buSzPts val="1000"/>
                <a:buFont typeface="Arial"/>
                <a:buNone/>
              </a:pPr>
              <a:r>
                <a:rPr lang="en-US" sz="1332" b="0" i="0">
                  <a:solidFill>
                    <a:schemeClr val="dk2"/>
                  </a:solidFill>
                  <a:latin typeface="Arial"/>
                  <a:ea typeface="Arial"/>
                  <a:cs typeface="Arial"/>
                  <a:sym typeface="Arial"/>
                </a:rPr>
                <a:t>Private + public repositories</a:t>
              </a:r>
              <a:endParaRPr sz="1332" b="0" i="0">
                <a:solidFill>
                  <a:schemeClr val="dk2"/>
                </a:solidFill>
                <a:latin typeface="Arial"/>
                <a:ea typeface="Arial"/>
                <a:cs typeface="Arial"/>
                <a:sym typeface="Arial"/>
              </a:endParaRPr>
            </a:p>
          </p:txBody>
        </p:sp>
      </p:grpSp>
    </p:spTree>
    <p:extLst>
      <p:ext uri="{BB962C8B-B14F-4D97-AF65-F5344CB8AC3E}">
        <p14:creationId xmlns:p14="http://schemas.microsoft.com/office/powerpoint/2010/main" val="3688385740"/>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88"/>
        <p:cNvGrpSpPr/>
        <p:nvPr/>
      </p:nvGrpSpPr>
      <p:grpSpPr>
        <a:xfrm>
          <a:off x="0" y="0"/>
          <a:ext cx="0" cy="0"/>
          <a:chOff x="0" y="0"/>
          <a:chExt cx="0" cy="0"/>
        </a:xfrm>
      </p:grpSpPr>
      <p:sp>
        <p:nvSpPr>
          <p:cNvPr id="289" name="Google Shape;289;p39"/>
          <p:cNvSpPr txBox="1">
            <a:spLocks noGrp="1"/>
          </p:cNvSpPr>
          <p:nvPr>
            <p:ph type="title"/>
          </p:nvPr>
        </p:nvSpPr>
        <p:spPr>
          <a:xfrm>
            <a:off x="838200" y="365127"/>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0" name="Google Shape;290;p39"/>
          <p:cNvSpPr txBox="1">
            <a:spLocks noGrp="1"/>
          </p:cNvSpPr>
          <p:nvPr>
            <p:ph type="body" idx="1"/>
          </p:nvPr>
        </p:nvSpPr>
        <p:spPr>
          <a:xfrm>
            <a:off x="838200" y="1825624"/>
            <a:ext cx="10515600" cy="435133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800"/>
              <a:buNone/>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47888118"/>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91"/>
        <p:cNvGrpSpPr/>
        <p:nvPr/>
      </p:nvGrpSpPr>
      <p:grpSpPr>
        <a:xfrm>
          <a:off x="0" y="0"/>
          <a:ext cx="0" cy="0"/>
          <a:chOff x="0" y="0"/>
          <a:chExt cx="0" cy="0"/>
        </a:xfrm>
      </p:grpSpPr>
      <p:sp>
        <p:nvSpPr>
          <p:cNvPr id="292" name="Google Shape;292;p40"/>
          <p:cNvSpPr txBox="1">
            <a:spLocks noGrp="1"/>
          </p:cNvSpPr>
          <p:nvPr>
            <p:ph type="title"/>
          </p:nvPr>
        </p:nvSpPr>
        <p:spPr>
          <a:xfrm>
            <a:off x="839788" y="365127"/>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 name="Google Shape;293;p40"/>
          <p:cNvSpPr txBox="1">
            <a:spLocks noGrp="1"/>
          </p:cNvSpPr>
          <p:nvPr>
            <p:ph type="body" idx="1"/>
          </p:nvPr>
        </p:nvSpPr>
        <p:spPr>
          <a:xfrm>
            <a:off x="839789" y="1681163"/>
            <a:ext cx="5157787" cy="823912"/>
          </a:xfrm>
          <a:prstGeom prst="rect">
            <a:avLst/>
          </a:prstGeom>
          <a:noFill/>
          <a:ln>
            <a:noFill/>
          </a:ln>
        </p:spPr>
        <p:txBody>
          <a:bodyPr spcFirstLastPara="1" wrap="square" lIns="91425" tIns="45700" rIns="91425" bIns="45700" anchor="b" anchorCtr="0">
            <a:noAutofit/>
          </a:bodyPr>
          <a:lstStyle>
            <a:lvl1pPr marL="609036" lvl="0" indent="-304518" algn="l">
              <a:lnSpc>
                <a:spcPct val="90000"/>
              </a:lnSpc>
              <a:spcBef>
                <a:spcPts val="999"/>
              </a:spcBef>
              <a:spcAft>
                <a:spcPts val="0"/>
              </a:spcAft>
              <a:buClr>
                <a:schemeClr val="dk1"/>
              </a:buClr>
              <a:buSzPts val="2000"/>
              <a:buFont typeface="Arial"/>
              <a:buNone/>
              <a:defRPr sz="2664" b="1" i="0">
                <a:latin typeface="Arial"/>
                <a:ea typeface="Arial"/>
                <a:cs typeface="Arial"/>
                <a:sym typeface="Arial"/>
              </a:defRPr>
            </a:lvl1pPr>
            <a:lvl2pPr marL="1218072" lvl="1" indent="-304518" algn="l">
              <a:lnSpc>
                <a:spcPct val="90000"/>
              </a:lnSpc>
              <a:spcBef>
                <a:spcPts val="500"/>
              </a:spcBef>
              <a:spcAft>
                <a:spcPts val="0"/>
              </a:spcAft>
              <a:buClr>
                <a:schemeClr val="dk2"/>
              </a:buClr>
              <a:buSzPts val="1500"/>
              <a:buFont typeface="Arial"/>
              <a:buNone/>
              <a:defRPr sz="1998" b="1"/>
            </a:lvl2pPr>
            <a:lvl3pPr marL="1827108" lvl="2" indent="-304518" algn="l">
              <a:lnSpc>
                <a:spcPct val="90000"/>
              </a:lnSpc>
              <a:spcBef>
                <a:spcPts val="500"/>
              </a:spcBef>
              <a:spcAft>
                <a:spcPts val="0"/>
              </a:spcAft>
              <a:buClr>
                <a:schemeClr val="dk2"/>
              </a:buClr>
              <a:buSzPts val="1350"/>
              <a:buFont typeface="Arial"/>
              <a:buNone/>
              <a:defRPr sz="1798" b="1"/>
            </a:lvl3pPr>
            <a:lvl4pPr marL="2436144" lvl="3" indent="-304518" algn="l">
              <a:lnSpc>
                <a:spcPct val="90000"/>
              </a:lnSpc>
              <a:spcBef>
                <a:spcPts val="500"/>
              </a:spcBef>
              <a:spcAft>
                <a:spcPts val="0"/>
              </a:spcAft>
              <a:buClr>
                <a:schemeClr val="dk2"/>
              </a:buClr>
              <a:buSzPts val="1200"/>
              <a:buFont typeface="Arial"/>
              <a:buNone/>
              <a:defRPr sz="1599" b="1"/>
            </a:lvl4pPr>
            <a:lvl5pPr marL="3045181" lvl="4" indent="-304518" algn="l">
              <a:lnSpc>
                <a:spcPct val="90000"/>
              </a:lnSpc>
              <a:spcBef>
                <a:spcPts val="500"/>
              </a:spcBef>
              <a:spcAft>
                <a:spcPts val="0"/>
              </a:spcAft>
              <a:buClr>
                <a:schemeClr val="dk2"/>
              </a:buClr>
              <a:buSzPts val="1200"/>
              <a:buFont typeface="Arial"/>
              <a:buNone/>
              <a:defRPr sz="1599" b="1"/>
            </a:lvl5pPr>
            <a:lvl6pPr marL="3654217" lvl="5" indent="-304518" algn="l">
              <a:lnSpc>
                <a:spcPct val="90000"/>
              </a:lnSpc>
              <a:spcBef>
                <a:spcPts val="500"/>
              </a:spcBef>
              <a:spcAft>
                <a:spcPts val="0"/>
              </a:spcAft>
              <a:buClr>
                <a:schemeClr val="dk1"/>
              </a:buClr>
              <a:buSzPts val="1200"/>
              <a:buNone/>
              <a:defRPr sz="1599" b="1"/>
            </a:lvl6pPr>
            <a:lvl7pPr marL="4263253" lvl="6" indent="-304518" algn="l">
              <a:lnSpc>
                <a:spcPct val="90000"/>
              </a:lnSpc>
              <a:spcBef>
                <a:spcPts val="500"/>
              </a:spcBef>
              <a:spcAft>
                <a:spcPts val="0"/>
              </a:spcAft>
              <a:buClr>
                <a:schemeClr val="dk1"/>
              </a:buClr>
              <a:buSzPts val="1200"/>
              <a:buNone/>
              <a:defRPr sz="1599" b="1"/>
            </a:lvl7pPr>
            <a:lvl8pPr marL="4872289" lvl="7" indent="-304518" algn="l">
              <a:lnSpc>
                <a:spcPct val="90000"/>
              </a:lnSpc>
              <a:spcBef>
                <a:spcPts val="500"/>
              </a:spcBef>
              <a:spcAft>
                <a:spcPts val="0"/>
              </a:spcAft>
              <a:buClr>
                <a:schemeClr val="dk1"/>
              </a:buClr>
              <a:buSzPts val="1200"/>
              <a:buNone/>
              <a:defRPr sz="1599" b="1"/>
            </a:lvl8pPr>
            <a:lvl9pPr marL="5481325" lvl="8" indent="-304518" algn="l">
              <a:lnSpc>
                <a:spcPct val="90000"/>
              </a:lnSpc>
              <a:spcBef>
                <a:spcPts val="500"/>
              </a:spcBef>
              <a:spcAft>
                <a:spcPts val="0"/>
              </a:spcAft>
              <a:buClr>
                <a:schemeClr val="dk1"/>
              </a:buClr>
              <a:buSzPts val="1200"/>
              <a:buNone/>
              <a:defRPr sz="1599" b="1"/>
            </a:lvl9pPr>
          </a:lstStyle>
          <a:p>
            <a:endParaRPr/>
          </a:p>
        </p:txBody>
      </p:sp>
      <p:sp>
        <p:nvSpPr>
          <p:cNvPr id="294" name="Google Shape;294;p40"/>
          <p:cNvSpPr txBox="1">
            <a:spLocks noGrp="1"/>
          </p:cNvSpPr>
          <p:nvPr>
            <p:ph type="body" idx="2"/>
          </p:nvPr>
        </p:nvSpPr>
        <p:spPr>
          <a:xfrm>
            <a:off x="839789" y="2505075"/>
            <a:ext cx="5157787" cy="3684588"/>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800"/>
              <a:buNone/>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295" name="Google Shape;295;p40"/>
          <p:cNvSpPr txBox="1">
            <a:spLocks noGrp="1"/>
          </p:cNvSpPr>
          <p:nvPr>
            <p:ph type="body" idx="3"/>
          </p:nvPr>
        </p:nvSpPr>
        <p:spPr>
          <a:xfrm>
            <a:off x="6172201" y="1681163"/>
            <a:ext cx="5183188" cy="823912"/>
          </a:xfrm>
          <a:prstGeom prst="rect">
            <a:avLst/>
          </a:prstGeom>
          <a:noFill/>
          <a:ln>
            <a:noFill/>
          </a:ln>
        </p:spPr>
        <p:txBody>
          <a:bodyPr spcFirstLastPara="1" wrap="square" lIns="91425" tIns="45700" rIns="91425" bIns="45700" anchor="b" anchorCtr="0">
            <a:normAutofit/>
          </a:bodyPr>
          <a:lstStyle>
            <a:lvl1pPr marL="609036" lvl="0" indent="-304518" algn="l">
              <a:lnSpc>
                <a:spcPct val="90000"/>
              </a:lnSpc>
              <a:spcBef>
                <a:spcPts val="999"/>
              </a:spcBef>
              <a:spcAft>
                <a:spcPts val="0"/>
              </a:spcAft>
              <a:buClr>
                <a:schemeClr val="dk1"/>
              </a:buClr>
              <a:buSzPts val="2000"/>
              <a:buFont typeface="Arial"/>
              <a:buNone/>
              <a:defRPr sz="2664" b="1" i="0">
                <a:latin typeface="Arial"/>
                <a:ea typeface="Arial"/>
                <a:cs typeface="Arial"/>
                <a:sym typeface="Arial"/>
              </a:defRPr>
            </a:lvl1pPr>
            <a:lvl2pPr marL="1218072" lvl="1" indent="-304518" algn="l">
              <a:lnSpc>
                <a:spcPct val="90000"/>
              </a:lnSpc>
              <a:spcBef>
                <a:spcPts val="500"/>
              </a:spcBef>
              <a:spcAft>
                <a:spcPts val="0"/>
              </a:spcAft>
              <a:buClr>
                <a:schemeClr val="dk2"/>
              </a:buClr>
              <a:buSzPts val="1500"/>
              <a:buFont typeface="Arial"/>
              <a:buNone/>
              <a:defRPr sz="1998" b="1"/>
            </a:lvl2pPr>
            <a:lvl3pPr marL="1827108" lvl="2" indent="-304518" algn="l">
              <a:lnSpc>
                <a:spcPct val="90000"/>
              </a:lnSpc>
              <a:spcBef>
                <a:spcPts val="500"/>
              </a:spcBef>
              <a:spcAft>
                <a:spcPts val="0"/>
              </a:spcAft>
              <a:buClr>
                <a:schemeClr val="dk2"/>
              </a:buClr>
              <a:buSzPts val="1350"/>
              <a:buFont typeface="Arial"/>
              <a:buNone/>
              <a:defRPr sz="1798" b="1"/>
            </a:lvl3pPr>
            <a:lvl4pPr marL="2436144" lvl="3" indent="-304518" algn="l">
              <a:lnSpc>
                <a:spcPct val="90000"/>
              </a:lnSpc>
              <a:spcBef>
                <a:spcPts val="500"/>
              </a:spcBef>
              <a:spcAft>
                <a:spcPts val="0"/>
              </a:spcAft>
              <a:buClr>
                <a:schemeClr val="dk2"/>
              </a:buClr>
              <a:buSzPts val="1200"/>
              <a:buFont typeface="Arial"/>
              <a:buNone/>
              <a:defRPr sz="1599" b="1"/>
            </a:lvl4pPr>
            <a:lvl5pPr marL="3045181" lvl="4" indent="-304518" algn="l">
              <a:lnSpc>
                <a:spcPct val="90000"/>
              </a:lnSpc>
              <a:spcBef>
                <a:spcPts val="500"/>
              </a:spcBef>
              <a:spcAft>
                <a:spcPts val="0"/>
              </a:spcAft>
              <a:buClr>
                <a:schemeClr val="dk2"/>
              </a:buClr>
              <a:buSzPts val="1200"/>
              <a:buFont typeface="Arial"/>
              <a:buNone/>
              <a:defRPr sz="1599" b="1"/>
            </a:lvl5pPr>
            <a:lvl6pPr marL="3654217" lvl="5" indent="-304518" algn="l">
              <a:lnSpc>
                <a:spcPct val="90000"/>
              </a:lnSpc>
              <a:spcBef>
                <a:spcPts val="500"/>
              </a:spcBef>
              <a:spcAft>
                <a:spcPts val="0"/>
              </a:spcAft>
              <a:buClr>
                <a:schemeClr val="dk1"/>
              </a:buClr>
              <a:buSzPts val="1200"/>
              <a:buNone/>
              <a:defRPr sz="1599" b="1"/>
            </a:lvl6pPr>
            <a:lvl7pPr marL="4263253" lvl="6" indent="-304518" algn="l">
              <a:lnSpc>
                <a:spcPct val="90000"/>
              </a:lnSpc>
              <a:spcBef>
                <a:spcPts val="500"/>
              </a:spcBef>
              <a:spcAft>
                <a:spcPts val="0"/>
              </a:spcAft>
              <a:buClr>
                <a:schemeClr val="dk1"/>
              </a:buClr>
              <a:buSzPts val="1200"/>
              <a:buNone/>
              <a:defRPr sz="1599" b="1"/>
            </a:lvl7pPr>
            <a:lvl8pPr marL="4872289" lvl="7" indent="-304518" algn="l">
              <a:lnSpc>
                <a:spcPct val="90000"/>
              </a:lnSpc>
              <a:spcBef>
                <a:spcPts val="500"/>
              </a:spcBef>
              <a:spcAft>
                <a:spcPts val="0"/>
              </a:spcAft>
              <a:buClr>
                <a:schemeClr val="dk1"/>
              </a:buClr>
              <a:buSzPts val="1200"/>
              <a:buNone/>
              <a:defRPr sz="1599" b="1"/>
            </a:lvl8pPr>
            <a:lvl9pPr marL="5481325" lvl="8" indent="-304518" algn="l">
              <a:lnSpc>
                <a:spcPct val="90000"/>
              </a:lnSpc>
              <a:spcBef>
                <a:spcPts val="500"/>
              </a:spcBef>
              <a:spcAft>
                <a:spcPts val="0"/>
              </a:spcAft>
              <a:buClr>
                <a:schemeClr val="dk1"/>
              </a:buClr>
              <a:buSzPts val="1200"/>
              <a:buNone/>
              <a:defRPr sz="1599" b="1"/>
            </a:lvl9pPr>
          </a:lstStyle>
          <a:p>
            <a:endParaRPr/>
          </a:p>
        </p:txBody>
      </p:sp>
      <p:sp>
        <p:nvSpPr>
          <p:cNvPr id="296" name="Google Shape;296;p40"/>
          <p:cNvSpPr txBox="1">
            <a:spLocks noGrp="1"/>
          </p:cNvSpPr>
          <p:nvPr>
            <p:ph type="body" idx="4"/>
          </p:nvPr>
        </p:nvSpPr>
        <p:spPr>
          <a:xfrm>
            <a:off x="6172201" y="2505075"/>
            <a:ext cx="5183188" cy="3684588"/>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800"/>
              <a:buNone/>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54015231"/>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matchingName="33. Two points">
  <p:cSld name="33. Two points">
    <p:spTree>
      <p:nvGrpSpPr>
        <p:cNvPr id="1" name="Shape 297"/>
        <p:cNvGrpSpPr/>
        <p:nvPr/>
      </p:nvGrpSpPr>
      <p:grpSpPr>
        <a:xfrm>
          <a:off x="0" y="0"/>
          <a:ext cx="0" cy="0"/>
          <a:chOff x="0" y="0"/>
          <a:chExt cx="0" cy="0"/>
        </a:xfrm>
      </p:grpSpPr>
      <p:sp>
        <p:nvSpPr>
          <p:cNvPr id="298" name="Google Shape;298;p41"/>
          <p:cNvSpPr/>
          <p:nvPr/>
        </p:nvSpPr>
        <p:spPr>
          <a:xfrm>
            <a:off x="6101715" y="3506396"/>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299" name="Google Shape;299;p41"/>
          <p:cNvSpPr/>
          <p:nvPr/>
        </p:nvSpPr>
        <p:spPr>
          <a:xfrm>
            <a:off x="6101715" y="2451570"/>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00" name="Google Shape;300;p41"/>
          <p:cNvSpPr txBox="1">
            <a:spLocks noGrp="1"/>
          </p:cNvSpPr>
          <p:nvPr>
            <p:ph type="title"/>
          </p:nvPr>
        </p:nvSpPr>
        <p:spPr>
          <a:xfrm>
            <a:off x="608395" y="2266950"/>
            <a:ext cx="4777600" cy="2324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9pPr>
          </a:lstStyle>
          <a:p>
            <a:endParaRPr/>
          </a:p>
        </p:txBody>
      </p:sp>
      <p:sp>
        <p:nvSpPr>
          <p:cNvPr id="301" name="Google Shape;301;p41"/>
          <p:cNvSpPr txBox="1">
            <a:spLocks noGrp="1"/>
          </p:cNvSpPr>
          <p:nvPr>
            <p:ph type="subTitle" idx="1"/>
          </p:nvPr>
        </p:nvSpPr>
        <p:spPr>
          <a:xfrm>
            <a:off x="6969760" y="2350081"/>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02" name="Google Shape;302;p41"/>
          <p:cNvSpPr txBox="1">
            <a:spLocks noGrp="1"/>
          </p:cNvSpPr>
          <p:nvPr>
            <p:ph type="subTitle" idx="2"/>
          </p:nvPr>
        </p:nvSpPr>
        <p:spPr>
          <a:xfrm>
            <a:off x="6969760" y="2764608"/>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03" name="Google Shape;303;p41"/>
          <p:cNvSpPr txBox="1">
            <a:spLocks noGrp="1"/>
          </p:cNvSpPr>
          <p:nvPr>
            <p:ph type="subTitle" idx="3"/>
          </p:nvPr>
        </p:nvSpPr>
        <p:spPr>
          <a:xfrm>
            <a:off x="6969760" y="3422976"/>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04" name="Google Shape;304;p41"/>
          <p:cNvSpPr txBox="1">
            <a:spLocks noGrp="1"/>
          </p:cNvSpPr>
          <p:nvPr>
            <p:ph type="subTitle" idx="4"/>
          </p:nvPr>
        </p:nvSpPr>
        <p:spPr>
          <a:xfrm>
            <a:off x="6969760" y="3837503"/>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05" name="Google Shape;305;p41"/>
          <p:cNvSpPr>
            <a:spLocks noGrp="1"/>
          </p:cNvSpPr>
          <p:nvPr>
            <p:ph type="pic" idx="5"/>
          </p:nvPr>
        </p:nvSpPr>
        <p:spPr>
          <a:xfrm>
            <a:off x="6254155" y="2604010"/>
            <a:ext cx="426720" cy="426720"/>
          </a:xfrm>
          <a:prstGeom prst="rect">
            <a:avLst/>
          </a:prstGeom>
          <a:noFill/>
          <a:ln>
            <a:noFill/>
          </a:ln>
        </p:spPr>
      </p:sp>
      <p:sp>
        <p:nvSpPr>
          <p:cNvPr id="306" name="Google Shape;306;p41"/>
          <p:cNvSpPr>
            <a:spLocks noGrp="1"/>
          </p:cNvSpPr>
          <p:nvPr>
            <p:ph type="pic" idx="6"/>
          </p:nvPr>
        </p:nvSpPr>
        <p:spPr>
          <a:xfrm>
            <a:off x="6254155" y="3658836"/>
            <a:ext cx="426720" cy="426720"/>
          </a:xfrm>
          <a:prstGeom prst="rect">
            <a:avLst/>
          </a:prstGeom>
          <a:noFill/>
          <a:ln>
            <a:noFill/>
          </a:ln>
        </p:spPr>
      </p:sp>
    </p:spTree>
    <p:extLst>
      <p:ext uri="{BB962C8B-B14F-4D97-AF65-F5344CB8AC3E}">
        <p14:creationId xmlns:p14="http://schemas.microsoft.com/office/powerpoint/2010/main" val="560171931"/>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matchingName="35. Four points">
  <p:cSld name="35. Four points">
    <p:spTree>
      <p:nvGrpSpPr>
        <p:cNvPr id="1" name="Shape 307"/>
        <p:cNvGrpSpPr/>
        <p:nvPr/>
      </p:nvGrpSpPr>
      <p:grpSpPr>
        <a:xfrm>
          <a:off x="0" y="0"/>
          <a:ext cx="0" cy="0"/>
          <a:chOff x="0" y="0"/>
          <a:chExt cx="0" cy="0"/>
        </a:xfrm>
      </p:grpSpPr>
      <p:sp>
        <p:nvSpPr>
          <p:cNvPr id="308" name="Google Shape;308;p42"/>
          <p:cNvSpPr/>
          <p:nvPr/>
        </p:nvSpPr>
        <p:spPr>
          <a:xfrm>
            <a:off x="6107431" y="1427076"/>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09" name="Google Shape;309;p42"/>
          <p:cNvSpPr/>
          <p:nvPr/>
        </p:nvSpPr>
        <p:spPr>
          <a:xfrm>
            <a:off x="6107431" y="2397639"/>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10" name="Google Shape;310;p42"/>
          <p:cNvSpPr/>
          <p:nvPr/>
        </p:nvSpPr>
        <p:spPr>
          <a:xfrm>
            <a:off x="6107431" y="3368200"/>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11" name="Google Shape;311;p42"/>
          <p:cNvSpPr/>
          <p:nvPr/>
        </p:nvSpPr>
        <p:spPr>
          <a:xfrm>
            <a:off x="6107431" y="4338763"/>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12" name="Google Shape;312;p42"/>
          <p:cNvSpPr txBox="1">
            <a:spLocks noGrp="1"/>
          </p:cNvSpPr>
          <p:nvPr>
            <p:ph type="subTitle" idx="1"/>
          </p:nvPr>
        </p:nvSpPr>
        <p:spPr>
          <a:xfrm>
            <a:off x="6969760" y="1327966"/>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13" name="Google Shape;313;p42"/>
          <p:cNvSpPr txBox="1">
            <a:spLocks noGrp="1"/>
          </p:cNvSpPr>
          <p:nvPr>
            <p:ph type="subTitle" idx="2"/>
          </p:nvPr>
        </p:nvSpPr>
        <p:spPr>
          <a:xfrm>
            <a:off x="6969760" y="1742493"/>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14" name="Google Shape;314;p42"/>
          <p:cNvSpPr txBox="1">
            <a:spLocks noGrp="1"/>
          </p:cNvSpPr>
          <p:nvPr>
            <p:ph type="subTitle" idx="3"/>
          </p:nvPr>
        </p:nvSpPr>
        <p:spPr>
          <a:xfrm>
            <a:off x="6969760" y="2299262"/>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15" name="Google Shape;315;p42"/>
          <p:cNvSpPr txBox="1">
            <a:spLocks noGrp="1"/>
          </p:cNvSpPr>
          <p:nvPr>
            <p:ph type="subTitle" idx="4"/>
          </p:nvPr>
        </p:nvSpPr>
        <p:spPr>
          <a:xfrm>
            <a:off x="6969760" y="2713789"/>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16" name="Google Shape;316;p42"/>
          <p:cNvSpPr txBox="1">
            <a:spLocks noGrp="1"/>
          </p:cNvSpPr>
          <p:nvPr>
            <p:ph type="subTitle" idx="5"/>
          </p:nvPr>
        </p:nvSpPr>
        <p:spPr>
          <a:xfrm>
            <a:off x="6969760" y="3270557"/>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17" name="Google Shape;317;p42"/>
          <p:cNvSpPr txBox="1">
            <a:spLocks noGrp="1"/>
          </p:cNvSpPr>
          <p:nvPr>
            <p:ph type="subTitle" idx="6"/>
          </p:nvPr>
        </p:nvSpPr>
        <p:spPr>
          <a:xfrm>
            <a:off x="6969760" y="3685085"/>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18" name="Google Shape;318;p42"/>
          <p:cNvSpPr txBox="1">
            <a:spLocks noGrp="1"/>
          </p:cNvSpPr>
          <p:nvPr>
            <p:ph type="subTitle" idx="7"/>
          </p:nvPr>
        </p:nvSpPr>
        <p:spPr>
          <a:xfrm>
            <a:off x="6969760" y="4241854"/>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19" name="Google Shape;319;p42"/>
          <p:cNvSpPr txBox="1">
            <a:spLocks noGrp="1"/>
          </p:cNvSpPr>
          <p:nvPr>
            <p:ph type="subTitle" idx="8"/>
          </p:nvPr>
        </p:nvSpPr>
        <p:spPr>
          <a:xfrm>
            <a:off x="6969760" y="4656381"/>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20" name="Google Shape;320;p42"/>
          <p:cNvSpPr txBox="1">
            <a:spLocks noGrp="1"/>
          </p:cNvSpPr>
          <p:nvPr>
            <p:ph type="title"/>
          </p:nvPr>
        </p:nvSpPr>
        <p:spPr>
          <a:xfrm>
            <a:off x="608395" y="2266950"/>
            <a:ext cx="4777600" cy="2324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9pPr>
          </a:lstStyle>
          <a:p>
            <a:endParaRPr/>
          </a:p>
        </p:txBody>
      </p:sp>
      <p:sp>
        <p:nvSpPr>
          <p:cNvPr id="321" name="Google Shape;321;p42"/>
          <p:cNvSpPr>
            <a:spLocks noGrp="1"/>
          </p:cNvSpPr>
          <p:nvPr>
            <p:ph type="pic" idx="9"/>
          </p:nvPr>
        </p:nvSpPr>
        <p:spPr>
          <a:xfrm>
            <a:off x="6259871" y="1577316"/>
            <a:ext cx="426720" cy="426720"/>
          </a:xfrm>
          <a:prstGeom prst="rect">
            <a:avLst/>
          </a:prstGeom>
          <a:noFill/>
          <a:ln>
            <a:noFill/>
          </a:ln>
        </p:spPr>
      </p:sp>
      <p:sp>
        <p:nvSpPr>
          <p:cNvPr id="322" name="Google Shape;322;p42"/>
          <p:cNvSpPr>
            <a:spLocks noGrp="1"/>
          </p:cNvSpPr>
          <p:nvPr>
            <p:ph type="pic" idx="13"/>
          </p:nvPr>
        </p:nvSpPr>
        <p:spPr>
          <a:xfrm>
            <a:off x="6259871" y="2547879"/>
            <a:ext cx="426720" cy="426720"/>
          </a:xfrm>
          <a:prstGeom prst="rect">
            <a:avLst/>
          </a:prstGeom>
          <a:noFill/>
          <a:ln>
            <a:noFill/>
          </a:ln>
        </p:spPr>
      </p:sp>
      <p:sp>
        <p:nvSpPr>
          <p:cNvPr id="323" name="Google Shape;323;p42"/>
          <p:cNvSpPr>
            <a:spLocks noGrp="1"/>
          </p:cNvSpPr>
          <p:nvPr>
            <p:ph type="pic" idx="14"/>
          </p:nvPr>
        </p:nvSpPr>
        <p:spPr>
          <a:xfrm>
            <a:off x="6259871" y="3518440"/>
            <a:ext cx="426720" cy="426720"/>
          </a:xfrm>
          <a:prstGeom prst="rect">
            <a:avLst/>
          </a:prstGeom>
          <a:noFill/>
          <a:ln>
            <a:noFill/>
          </a:ln>
        </p:spPr>
      </p:sp>
      <p:sp>
        <p:nvSpPr>
          <p:cNvPr id="324" name="Google Shape;324;p42"/>
          <p:cNvSpPr>
            <a:spLocks noGrp="1"/>
          </p:cNvSpPr>
          <p:nvPr>
            <p:ph type="pic" idx="15"/>
          </p:nvPr>
        </p:nvSpPr>
        <p:spPr>
          <a:xfrm>
            <a:off x="6259871" y="4489003"/>
            <a:ext cx="426720" cy="426720"/>
          </a:xfrm>
          <a:prstGeom prst="rect">
            <a:avLst/>
          </a:prstGeom>
          <a:noFill/>
          <a:ln>
            <a:noFill/>
          </a:ln>
        </p:spPr>
      </p:sp>
    </p:spTree>
    <p:extLst>
      <p:ext uri="{BB962C8B-B14F-4D97-AF65-F5344CB8AC3E}">
        <p14:creationId xmlns:p14="http://schemas.microsoft.com/office/powerpoint/2010/main" val="1803394716"/>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matchingName="37. Three points with large icon">
  <p:cSld name="37. Three points with large icon">
    <p:spTree>
      <p:nvGrpSpPr>
        <p:cNvPr id="1" name="Shape 325"/>
        <p:cNvGrpSpPr/>
        <p:nvPr/>
      </p:nvGrpSpPr>
      <p:grpSpPr>
        <a:xfrm>
          <a:off x="0" y="0"/>
          <a:ext cx="0" cy="0"/>
          <a:chOff x="0" y="0"/>
          <a:chExt cx="0" cy="0"/>
        </a:xfrm>
      </p:grpSpPr>
      <p:sp>
        <p:nvSpPr>
          <p:cNvPr id="326" name="Google Shape;326;p43"/>
          <p:cNvSpPr/>
          <p:nvPr/>
        </p:nvSpPr>
        <p:spPr>
          <a:xfrm>
            <a:off x="682925" y="1376484"/>
            <a:ext cx="1828800" cy="1828800"/>
          </a:xfrm>
          <a:prstGeom prst="ellipse">
            <a:avLst/>
          </a:prstGeom>
          <a:noFill/>
          <a:ln w="19050" cap="flat"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27" name="Google Shape;327;p43"/>
          <p:cNvSpPr/>
          <p:nvPr/>
        </p:nvSpPr>
        <p:spPr>
          <a:xfrm>
            <a:off x="6101715" y="2993858"/>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28" name="Google Shape;328;p43"/>
          <p:cNvSpPr/>
          <p:nvPr/>
        </p:nvSpPr>
        <p:spPr>
          <a:xfrm>
            <a:off x="6101715" y="1933065"/>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29" name="Google Shape;329;p43"/>
          <p:cNvSpPr txBox="1">
            <a:spLocks noGrp="1"/>
          </p:cNvSpPr>
          <p:nvPr>
            <p:ph type="subTitle" idx="1"/>
          </p:nvPr>
        </p:nvSpPr>
        <p:spPr>
          <a:xfrm>
            <a:off x="6969760" y="1856175"/>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30" name="Google Shape;330;p43"/>
          <p:cNvSpPr txBox="1">
            <a:spLocks noGrp="1"/>
          </p:cNvSpPr>
          <p:nvPr>
            <p:ph type="subTitle" idx="2"/>
          </p:nvPr>
        </p:nvSpPr>
        <p:spPr>
          <a:xfrm>
            <a:off x="6969760" y="2270702"/>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31" name="Google Shape;331;p43"/>
          <p:cNvSpPr txBox="1">
            <a:spLocks noGrp="1"/>
          </p:cNvSpPr>
          <p:nvPr>
            <p:ph type="subTitle" idx="3"/>
          </p:nvPr>
        </p:nvSpPr>
        <p:spPr>
          <a:xfrm>
            <a:off x="6969760" y="2929071"/>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32" name="Google Shape;332;p43"/>
          <p:cNvSpPr txBox="1">
            <a:spLocks noGrp="1"/>
          </p:cNvSpPr>
          <p:nvPr>
            <p:ph type="subTitle" idx="4"/>
          </p:nvPr>
        </p:nvSpPr>
        <p:spPr>
          <a:xfrm>
            <a:off x="6969760" y="3343598"/>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33" name="Google Shape;333;p43"/>
          <p:cNvSpPr/>
          <p:nvPr/>
        </p:nvSpPr>
        <p:spPr>
          <a:xfrm>
            <a:off x="6101715" y="4054651"/>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34" name="Google Shape;334;p43"/>
          <p:cNvSpPr txBox="1">
            <a:spLocks noGrp="1"/>
          </p:cNvSpPr>
          <p:nvPr>
            <p:ph type="subTitle" idx="5"/>
          </p:nvPr>
        </p:nvSpPr>
        <p:spPr>
          <a:xfrm>
            <a:off x="6969760" y="3970976"/>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35" name="Google Shape;335;p43"/>
          <p:cNvSpPr txBox="1">
            <a:spLocks noGrp="1"/>
          </p:cNvSpPr>
          <p:nvPr>
            <p:ph type="subTitle" idx="6"/>
          </p:nvPr>
        </p:nvSpPr>
        <p:spPr>
          <a:xfrm>
            <a:off x="6969760" y="4385503"/>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36" name="Google Shape;336;p43"/>
          <p:cNvSpPr txBox="1">
            <a:spLocks noGrp="1"/>
          </p:cNvSpPr>
          <p:nvPr>
            <p:ph type="title"/>
          </p:nvPr>
        </p:nvSpPr>
        <p:spPr>
          <a:xfrm>
            <a:off x="608395" y="2882709"/>
            <a:ext cx="4777600" cy="2324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9pPr>
          </a:lstStyle>
          <a:p>
            <a:endParaRPr/>
          </a:p>
        </p:txBody>
      </p:sp>
      <p:sp>
        <p:nvSpPr>
          <p:cNvPr id="337" name="Google Shape;337;p43"/>
          <p:cNvSpPr>
            <a:spLocks noGrp="1"/>
          </p:cNvSpPr>
          <p:nvPr>
            <p:ph type="pic" idx="7"/>
          </p:nvPr>
        </p:nvSpPr>
        <p:spPr>
          <a:xfrm>
            <a:off x="1079165" y="1831920"/>
            <a:ext cx="1036320" cy="1036320"/>
          </a:xfrm>
          <a:prstGeom prst="rect">
            <a:avLst/>
          </a:prstGeom>
          <a:noFill/>
          <a:ln>
            <a:noFill/>
          </a:ln>
        </p:spPr>
      </p:sp>
      <p:sp>
        <p:nvSpPr>
          <p:cNvPr id="338" name="Google Shape;338;p43"/>
          <p:cNvSpPr>
            <a:spLocks noGrp="1"/>
          </p:cNvSpPr>
          <p:nvPr>
            <p:ph type="pic" idx="8"/>
          </p:nvPr>
        </p:nvSpPr>
        <p:spPr>
          <a:xfrm>
            <a:off x="6254155" y="2083304"/>
            <a:ext cx="426720" cy="426720"/>
          </a:xfrm>
          <a:prstGeom prst="rect">
            <a:avLst/>
          </a:prstGeom>
          <a:noFill/>
          <a:ln>
            <a:noFill/>
          </a:ln>
        </p:spPr>
      </p:sp>
      <p:sp>
        <p:nvSpPr>
          <p:cNvPr id="339" name="Google Shape;339;p43"/>
          <p:cNvSpPr>
            <a:spLocks noGrp="1"/>
          </p:cNvSpPr>
          <p:nvPr>
            <p:ph type="pic" idx="9"/>
          </p:nvPr>
        </p:nvSpPr>
        <p:spPr>
          <a:xfrm>
            <a:off x="6246229" y="3144098"/>
            <a:ext cx="426720" cy="426720"/>
          </a:xfrm>
          <a:prstGeom prst="rect">
            <a:avLst/>
          </a:prstGeom>
          <a:noFill/>
          <a:ln>
            <a:noFill/>
          </a:ln>
        </p:spPr>
      </p:sp>
      <p:sp>
        <p:nvSpPr>
          <p:cNvPr id="340" name="Google Shape;340;p43"/>
          <p:cNvSpPr>
            <a:spLocks noGrp="1"/>
          </p:cNvSpPr>
          <p:nvPr>
            <p:ph type="pic" idx="13"/>
          </p:nvPr>
        </p:nvSpPr>
        <p:spPr>
          <a:xfrm>
            <a:off x="6261457" y="4204891"/>
            <a:ext cx="426720" cy="426720"/>
          </a:xfrm>
          <a:prstGeom prst="rect">
            <a:avLst/>
          </a:prstGeom>
          <a:noFill/>
          <a:ln>
            <a:noFill/>
          </a:ln>
        </p:spPr>
      </p:sp>
    </p:spTree>
    <p:extLst>
      <p:ext uri="{BB962C8B-B14F-4D97-AF65-F5344CB8AC3E}">
        <p14:creationId xmlns:p14="http://schemas.microsoft.com/office/powerpoint/2010/main" val="4097965806"/>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matchingName="38. Four points with large icon">
  <p:cSld name="38. Four points with large icon">
    <p:spTree>
      <p:nvGrpSpPr>
        <p:cNvPr id="1" name="Shape 341"/>
        <p:cNvGrpSpPr/>
        <p:nvPr/>
      </p:nvGrpSpPr>
      <p:grpSpPr>
        <a:xfrm>
          <a:off x="0" y="0"/>
          <a:ext cx="0" cy="0"/>
          <a:chOff x="0" y="0"/>
          <a:chExt cx="0" cy="0"/>
        </a:xfrm>
      </p:grpSpPr>
      <p:sp>
        <p:nvSpPr>
          <p:cNvPr id="342" name="Google Shape;342;p44"/>
          <p:cNvSpPr/>
          <p:nvPr/>
        </p:nvSpPr>
        <p:spPr>
          <a:xfrm>
            <a:off x="682925" y="1376484"/>
            <a:ext cx="1828800" cy="1828800"/>
          </a:xfrm>
          <a:prstGeom prst="ellipse">
            <a:avLst/>
          </a:prstGeom>
          <a:noFill/>
          <a:ln w="19050" cap="flat"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43" name="Google Shape;343;p44"/>
          <p:cNvSpPr/>
          <p:nvPr/>
        </p:nvSpPr>
        <p:spPr>
          <a:xfrm>
            <a:off x="6107431" y="1427076"/>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44" name="Google Shape;344;p44"/>
          <p:cNvSpPr/>
          <p:nvPr/>
        </p:nvSpPr>
        <p:spPr>
          <a:xfrm>
            <a:off x="6107431" y="2397639"/>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45" name="Google Shape;345;p44"/>
          <p:cNvSpPr/>
          <p:nvPr/>
        </p:nvSpPr>
        <p:spPr>
          <a:xfrm>
            <a:off x="6107431" y="3368200"/>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46" name="Google Shape;346;p44"/>
          <p:cNvSpPr/>
          <p:nvPr/>
        </p:nvSpPr>
        <p:spPr>
          <a:xfrm>
            <a:off x="6107431" y="4338763"/>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47" name="Google Shape;347;p44"/>
          <p:cNvSpPr txBox="1">
            <a:spLocks noGrp="1"/>
          </p:cNvSpPr>
          <p:nvPr>
            <p:ph type="subTitle" idx="1"/>
          </p:nvPr>
        </p:nvSpPr>
        <p:spPr>
          <a:xfrm>
            <a:off x="6969760" y="1327966"/>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48" name="Google Shape;348;p44"/>
          <p:cNvSpPr txBox="1">
            <a:spLocks noGrp="1"/>
          </p:cNvSpPr>
          <p:nvPr>
            <p:ph type="subTitle" idx="2"/>
          </p:nvPr>
        </p:nvSpPr>
        <p:spPr>
          <a:xfrm>
            <a:off x="6969760" y="1742493"/>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49" name="Google Shape;349;p44"/>
          <p:cNvSpPr txBox="1">
            <a:spLocks noGrp="1"/>
          </p:cNvSpPr>
          <p:nvPr>
            <p:ph type="subTitle" idx="3"/>
          </p:nvPr>
        </p:nvSpPr>
        <p:spPr>
          <a:xfrm>
            <a:off x="6969760" y="2299262"/>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50" name="Google Shape;350;p44"/>
          <p:cNvSpPr txBox="1">
            <a:spLocks noGrp="1"/>
          </p:cNvSpPr>
          <p:nvPr>
            <p:ph type="subTitle" idx="4"/>
          </p:nvPr>
        </p:nvSpPr>
        <p:spPr>
          <a:xfrm>
            <a:off x="6969760" y="2713789"/>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51" name="Google Shape;351;p44"/>
          <p:cNvSpPr txBox="1">
            <a:spLocks noGrp="1"/>
          </p:cNvSpPr>
          <p:nvPr>
            <p:ph type="subTitle" idx="5"/>
          </p:nvPr>
        </p:nvSpPr>
        <p:spPr>
          <a:xfrm>
            <a:off x="6969760" y="3270557"/>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52" name="Google Shape;352;p44"/>
          <p:cNvSpPr txBox="1">
            <a:spLocks noGrp="1"/>
          </p:cNvSpPr>
          <p:nvPr>
            <p:ph type="subTitle" idx="6"/>
          </p:nvPr>
        </p:nvSpPr>
        <p:spPr>
          <a:xfrm>
            <a:off x="6969760" y="3685085"/>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53" name="Google Shape;353;p44"/>
          <p:cNvSpPr txBox="1">
            <a:spLocks noGrp="1"/>
          </p:cNvSpPr>
          <p:nvPr>
            <p:ph type="subTitle" idx="7"/>
          </p:nvPr>
        </p:nvSpPr>
        <p:spPr>
          <a:xfrm>
            <a:off x="6969760" y="4241854"/>
            <a:ext cx="45720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54" name="Google Shape;354;p44"/>
          <p:cNvSpPr txBox="1">
            <a:spLocks noGrp="1"/>
          </p:cNvSpPr>
          <p:nvPr>
            <p:ph type="subTitle" idx="8"/>
          </p:nvPr>
        </p:nvSpPr>
        <p:spPr>
          <a:xfrm>
            <a:off x="6969760" y="4656381"/>
            <a:ext cx="4572000" cy="670401"/>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55" name="Google Shape;355;p44"/>
          <p:cNvSpPr txBox="1">
            <a:spLocks noGrp="1"/>
          </p:cNvSpPr>
          <p:nvPr>
            <p:ph type="title"/>
          </p:nvPr>
        </p:nvSpPr>
        <p:spPr>
          <a:xfrm>
            <a:off x="608395" y="2882709"/>
            <a:ext cx="4777600" cy="2324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9pPr>
          </a:lstStyle>
          <a:p>
            <a:endParaRPr/>
          </a:p>
        </p:txBody>
      </p:sp>
      <p:sp>
        <p:nvSpPr>
          <p:cNvPr id="356" name="Google Shape;356;p44"/>
          <p:cNvSpPr>
            <a:spLocks noGrp="1"/>
          </p:cNvSpPr>
          <p:nvPr>
            <p:ph type="pic" idx="9"/>
          </p:nvPr>
        </p:nvSpPr>
        <p:spPr>
          <a:xfrm>
            <a:off x="1079165" y="1831920"/>
            <a:ext cx="1036320" cy="1036320"/>
          </a:xfrm>
          <a:prstGeom prst="rect">
            <a:avLst/>
          </a:prstGeom>
          <a:noFill/>
          <a:ln>
            <a:noFill/>
          </a:ln>
        </p:spPr>
      </p:sp>
      <p:sp>
        <p:nvSpPr>
          <p:cNvPr id="357" name="Google Shape;357;p44"/>
          <p:cNvSpPr>
            <a:spLocks noGrp="1"/>
          </p:cNvSpPr>
          <p:nvPr>
            <p:ph type="pic" idx="13"/>
          </p:nvPr>
        </p:nvSpPr>
        <p:spPr>
          <a:xfrm>
            <a:off x="6259871" y="1577316"/>
            <a:ext cx="426720" cy="426720"/>
          </a:xfrm>
          <a:prstGeom prst="rect">
            <a:avLst/>
          </a:prstGeom>
          <a:noFill/>
          <a:ln>
            <a:noFill/>
          </a:ln>
        </p:spPr>
      </p:sp>
      <p:sp>
        <p:nvSpPr>
          <p:cNvPr id="358" name="Google Shape;358;p44"/>
          <p:cNvSpPr>
            <a:spLocks noGrp="1"/>
          </p:cNvSpPr>
          <p:nvPr>
            <p:ph type="pic" idx="14"/>
          </p:nvPr>
        </p:nvSpPr>
        <p:spPr>
          <a:xfrm>
            <a:off x="6259871" y="2547879"/>
            <a:ext cx="426720" cy="426720"/>
          </a:xfrm>
          <a:prstGeom prst="rect">
            <a:avLst/>
          </a:prstGeom>
          <a:noFill/>
          <a:ln>
            <a:noFill/>
          </a:ln>
        </p:spPr>
      </p:sp>
      <p:sp>
        <p:nvSpPr>
          <p:cNvPr id="359" name="Google Shape;359;p44"/>
          <p:cNvSpPr>
            <a:spLocks noGrp="1"/>
          </p:cNvSpPr>
          <p:nvPr>
            <p:ph type="pic" idx="15"/>
          </p:nvPr>
        </p:nvSpPr>
        <p:spPr>
          <a:xfrm>
            <a:off x="6259871" y="3518440"/>
            <a:ext cx="426720" cy="426720"/>
          </a:xfrm>
          <a:prstGeom prst="rect">
            <a:avLst/>
          </a:prstGeom>
          <a:noFill/>
          <a:ln>
            <a:noFill/>
          </a:ln>
        </p:spPr>
      </p:sp>
      <p:sp>
        <p:nvSpPr>
          <p:cNvPr id="360" name="Google Shape;360;p44"/>
          <p:cNvSpPr>
            <a:spLocks noGrp="1"/>
          </p:cNvSpPr>
          <p:nvPr>
            <p:ph type="pic" idx="16"/>
          </p:nvPr>
        </p:nvSpPr>
        <p:spPr>
          <a:xfrm>
            <a:off x="6259871" y="4489003"/>
            <a:ext cx="426720" cy="426720"/>
          </a:xfrm>
          <a:prstGeom prst="rect">
            <a:avLst/>
          </a:prstGeom>
          <a:noFill/>
          <a:ln>
            <a:noFill/>
          </a:ln>
        </p:spPr>
      </p:sp>
    </p:spTree>
    <p:extLst>
      <p:ext uri="{BB962C8B-B14F-4D97-AF65-F5344CB8AC3E}">
        <p14:creationId xmlns:p14="http://schemas.microsoft.com/office/powerpoint/2010/main" val="30922081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matchingName="39. Three points with title">
  <p:cSld name="39. Three points with title">
    <p:spTree>
      <p:nvGrpSpPr>
        <p:cNvPr id="1" name="Shape 361"/>
        <p:cNvGrpSpPr/>
        <p:nvPr/>
      </p:nvGrpSpPr>
      <p:grpSpPr>
        <a:xfrm>
          <a:off x="0" y="0"/>
          <a:ext cx="0" cy="0"/>
          <a:chOff x="0" y="0"/>
          <a:chExt cx="0" cy="0"/>
        </a:xfrm>
      </p:grpSpPr>
      <p:sp>
        <p:nvSpPr>
          <p:cNvPr id="362" name="Google Shape;362;p45"/>
          <p:cNvSpPr/>
          <p:nvPr/>
        </p:nvSpPr>
        <p:spPr>
          <a:xfrm>
            <a:off x="597884" y="2632711"/>
            <a:ext cx="727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63" name="Google Shape;363;p45"/>
          <p:cNvSpPr/>
          <p:nvPr/>
        </p:nvSpPr>
        <p:spPr>
          <a:xfrm>
            <a:off x="4499856" y="2632711"/>
            <a:ext cx="727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64" name="Google Shape;364;p45"/>
          <p:cNvSpPr/>
          <p:nvPr/>
        </p:nvSpPr>
        <p:spPr>
          <a:xfrm>
            <a:off x="8376728" y="2632711"/>
            <a:ext cx="727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65" name="Google Shape;365;p45"/>
          <p:cNvSpPr txBox="1">
            <a:spLocks noGrp="1"/>
          </p:cNvSpPr>
          <p:nvPr>
            <p:ph type="title"/>
          </p:nvPr>
        </p:nvSpPr>
        <p:spPr>
          <a:xfrm>
            <a:off x="482967" y="0"/>
            <a:ext cx="10414000" cy="2632801"/>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366" name="Google Shape;366;p45"/>
          <p:cNvSpPr txBox="1">
            <a:spLocks noGrp="1"/>
          </p:cNvSpPr>
          <p:nvPr>
            <p:ph type="subTitle" idx="1"/>
          </p:nvPr>
        </p:nvSpPr>
        <p:spPr>
          <a:xfrm>
            <a:off x="475488" y="3621025"/>
            <a:ext cx="34992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67" name="Google Shape;367;p45"/>
          <p:cNvSpPr txBox="1">
            <a:spLocks noGrp="1"/>
          </p:cNvSpPr>
          <p:nvPr>
            <p:ph type="subTitle" idx="2"/>
          </p:nvPr>
        </p:nvSpPr>
        <p:spPr>
          <a:xfrm>
            <a:off x="475488" y="4035553"/>
            <a:ext cx="3499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68" name="Google Shape;368;p45"/>
          <p:cNvSpPr txBox="1">
            <a:spLocks noGrp="1"/>
          </p:cNvSpPr>
          <p:nvPr>
            <p:ph type="subTitle" idx="3"/>
          </p:nvPr>
        </p:nvSpPr>
        <p:spPr>
          <a:xfrm>
            <a:off x="4340352" y="3621025"/>
            <a:ext cx="34992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69" name="Google Shape;369;p45"/>
          <p:cNvSpPr txBox="1">
            <a:spLocks noGrp="1"/>
          </p:cNvSpPr>
          <p:nvPr>
            <p:ph type="subTitle" idx="4"/>
          </p:nvPr>
        </p:nvSpPr>
        <p:spPr>
          <a:xfrm>
            <a:off x="4340352" y="4035553"/>
            <a:ext cx="3499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70" name="Google Shape;370;p45"/>
          <p:cNvSpPr txBox="1">
            <a:spLocks noGrp="1"/>
          </p:cNvSpPr>
          <p:nvPr>
            <p:ph type="subTitle" idx="5"/>
          </p:nvPr>
        </p:nvSpPr>
        <p:spPr>
          <a:xfrm>
            <a:off x="8205219" y="3621025"/>
            <a:ext cx="34992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71" name="Google Shape;371;p45"/>
          <p:cNvSpPr txBox="1">
            <a:spLocks noGrp="1"/>
          </p:cNvSpPr>
          <p:nvPr>
            <p:ph type="subTitle" idx="6"/>
          </p:nvPr>
        </p:nvSpPr>
        <p:spPr>
          <a:xfrm>
            <a:off x="8205219" y="4035553"/>
            <a:ext cx="3499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72" name="Google Shape;372;p45"/>
          <p:cNvSpPr>
            <a:spLocks noGrp="1"/>
          </p:cNvSpPr>
          <p:nvPr>
            <p:ph type="pic" idx="7"/>
          </p:nvPr>
        </p:nvSpPr>
        <p:spPr>
          <a:xfrm>
            <a:off x="748324" y="2785151"/>
            <a:ext cx="426720" cy="426720"/>
          </a:xfrm>
          <a:prstGeom prst="rect">
            <a:avLst/>
          </a:prstGeom>
          <a:noFill/>
          <a:ln>
            <a:noFill/>
          </a:ln>
        </p:spPr>
      </p:sp>
      <p:sp>
        <p:nvSpPr>
          <p:cNvPr id="373" name="Google Shape;373;p45"/>
          <p:cNvSpPr>
            <a:spLocks noGrp="1"/>
          </p:cNvSpPr>
          <p:nvPr>
            <p:ph type="pic" idx="8"/>
          </p:nvPr>
        </p:nvSpPr>
        <p:spPr>
          <a:xfrm>
            <a:off x="4650296" y="2790296"/>
            <a:ext cx="426720" cy="426720"/>
          </a:xfrm>
          <a:prstGeom prst="rect">
            <a:avLst/>
          </a:prstGeom>
          <a:noFill/>
          <a:ln>
            <a:noFill/>
          </a:ln>
        </p:spPr>
      </p:sp>
      <p:sp>
        <p:nvSpPr>
          <p:cNvPr id="374" name="Google Shape;374;p45"/>
          <p:cNvSpPr>
            <a:spLocks noGrp="1"/>
          </p:cNvSpPr>
          <p:nvPr>
            <p:ph type="pic" idx="9"/>
          </p:nvPr>
        </p:nvSpPr>
        <p:spPr>
          <a:xfrm>
            <a:off x="8527168" y="2785151"/>
            <a:ext cx="426720" cy="426720"/>
          </a:xfrm>
          <a:prstGeom prst="rect">
            <a:avLst/>
          </a:prstGeom>
          <a:noFill/>
          <a:ln>
            <a:noFill/>
          </a:ln>
        </p:spPr>
      </p:sp>
    </p:spTree>
    <p:extLst>
      <p:ext uri="{BB962C8B-B14F-4D97-AF65-F5344CB8AC3E}">
        <p14:creationId xmlns:p14="http://schemas.microsoft.com/office/powerpoint/2010/main" val="31585472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2"/>
          <a:srcRect l="10402" r="22948"/>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4A59EC0E-8AFD-4665-ABD0-22FCD76F606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8022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matchingName="40. Four points with title">
  <p:cSld name="40. Four points with title">
    <p:spTree>
      <p:nvGrpSpPr>
        <p:cNvPr id="1" name="Shape 375"/>
        <p:cNvGrpSpPr/>
        <p:nvPr/>
      </p:nvGrpSpPr>
      <p:grpSpPr>
        <a:xfrm>
          <a:off x="0" y="0"/>
          <a:ext cx="0" cy="0"/>
          <a:chOff x="0" y="0"/>
          <a:chExt cx="0" cy="0"/>
        </a:xfrm>
      </p:grpSpPr>
      <p:sp>
        <p:nvSpPr>
          <p:cNvPr id="376" name="Google Shape;376;p46"/>
          <p:cNvSpPr/>
          <p:nvPr/>
        </p:nvSpPr>
        <p:spPr>
          <a:xfrm>
            <a:off x="4497808" y="1084321"/>
            <a:ext cx="7272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77" name="Google Shape;377;p46"/>
          <p:cNvSpPr/>
          <p:nvPr/>
        </p:nvSpPr>
        <p:spPr>
          <a:xfrm>
            <a:off x="8376705" y="1084321"/>
            <a:ext cx="7272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78" name="Google Shape;378;p46"/>
          <p:cNvSpPr/>
          <p:nvPr/>
        </p:nvSpPr>
        <p:spPr>
          <a:xfrm>
            <a:off x="4497808" y="3798464"/>
            <a:ext cx="7272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79" name="Google Shape;379;p46"/>
          <p:cNvSpPr/>
          <p:nvPr/>
        </p:nvSpPr>
        <p:spPr>
          <a:xfrm>
            <a:off x="8427339" y="3798464"/>
            <a:ext cx="7272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380" name="Google Shape;380;p46"/>
          <p:cNvSpPr txBox="1">
            <a:spLocks noGrp="1"/>
          </p:cNvSpPr>
          <p:nvPr>
            <p:ph type="title"/>
          </p:nvPr>
        </p:nvSpPr>
        <p:spPr>
          <a:xfrm>
            <a:off x="501961" y="2266952"/>
            <a:ext cx="3402988" cy="23241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800"/>
              <a:buFont typeface="Arial"/>
              <a:buNone/>
              <a:defRPr sz="5062"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800"/>
              <a:buFont typeface="Arial"/>
              <a:buNone/>
              <a:defRPr sz="5062"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800"/>
              <a:buFont typeface="Arial"/>
              <a:buNone/>
              <a:defRPr sz="5062"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800"/>
              <a:buFont typeface="Arial"/>
              <a:buNone/>
              <a:defRPr sz="5062"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800"/>
              <a:buFont typeface="Arial"/>
              <a:buNone/>
              <a:defRPr sz="5062"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800"/>
              <a:buFont typeface="Arial"/>
              <a:buNone/>
              <a:defRPr sz="5062"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800"/>
              <a:buFont typeface="Arial"/>
              <a:buNone/>
              <a:defRPr sz="5062"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800"/>
              <a:buFont typeface="Arial"/>
              <a:buNone/>
              <a:defRPr sz="5062" b="1" i="0" u="none" strike="noStrike" cap="none">
                <a:solidFill>
                  <a:srgbClr val="F0F6FC"/>
                </a:solidFill>
                <a:latin typeface="Arial"/>
                <a:ea typeface="Arial"/>
                <a:cs typeface="Arial"/>
                <a:sym typeface="Arial"/>
              </a:defRPr>
            </a:lvl9pPr>
          </a:lstStyle>
          <a:p>
            <a:endParaRPr/>
          </a:p>
        </p:txBody>
      </p:sp>
      <p:sp>
        <p:nvSpPr>
          <p:cNvPr id="381" name="Google Shape;381;p46"/>
          <p:cNvSpPr txBox="1">
            <a:spLocks noGrp="1"/>
          </p:cNvSpPr>
          <p:nvPr>
            <p:ph type="subTitle" idx="1"/>
          </p:nvPr>
        </p:nvSpPr>
        <p:spPr>
          <a:xfrm>
            <a:off x="4354561" y="1937107"/>
            <a:ext cx="34992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82" name="Google Shape;382;p46"/>
          <p:cNvSpPr txBox="1">
            <a:spLocks noGrp="1"/>
          </p:cNvSpPr>
          <p:nvPr>
            <p:ph type="subTitle" idx="2"/>
          </p:nvPr>
        </p:nvSpPr>
        <p:spPr>
          <a:xfrm>
            <a:off x="4354561" y="2351635"/>
            <a:ext cx="3499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83" name="Google Shape;383;p46"/>
          <p:cNvSpPr txBox="1">
            <a:spLocks noGrp="1"/>
          </p:cNvSpPr>
          <p:nvPr>
            <p:ph type="subTitle" idx="3"/>
          </p:nvPr>
        </p:nvSpPr>
        <p:spPr>
          <a:xfrm>
            <a:off x="4354561" y="4558388"/>
            <a:ext cx="34992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84" name="Google Shape;384;p46"/>
          <p:cNvSpPr txBox="1">
            <a:spLocks noGrp="1"/>
          </p:cNvSpPr>
          <p:nvPr>
            <p:ph type="subTitle" idx="4"/>
          </p:nvPr>
        </p:nvSpPr>
        <p:spPr>
          <a:xfrm>
            <a:off x="4354561" y="4972916"/>
            <a:ext cx="3499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85" name="Google Shape;385;p46"/>
          <p:cNvSpPr txBox="1">
            <a:spLocks noGrp="1"/>
          </p:cNvSpPr>
          <p:nvPr>
            <p:ph type="subTitle" idx="5"/>
          </p:nvPr>
        </p:nvSpPr>
        <p:spPr>
          <a:xfrm>
            <a:off x="8304769" y="1937107"/>
            <a:ext cx="34992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86" name="Google Shape;386;p46"/>
          <p:cNvSpPr txBox="1">
            <a:spLocks noGrp="1"/>
          </p:cNvSpPr>
          <p:nvPr>
            <p:ph type="subTitle" idx="6"/>
          </p:nvPr>
        </p:nvSpPr>
        <p:spPr>
          <a:xfrm>
            <a:off x="8304769" y="2351635"/>
            <a:ext cx="3499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87" name="Google Shape;387;p46"/>
          <p:cNvSpPr txBox="1">
            <a:spLocks noGrp="1"/>
          </p:cNvSpPr>
          <p:nvPr>
            <p:ph type="subTitle" idx="7"/>
          </p:nvPr>
        </p:nvSpPr>
        <p:spPr>
          <a:xfrm>
            <a:off x="8304769" y="4558388"/>
            <a:ext cx="34992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388" name="Google Shape;388;p46"/>
          <p:cNvSpPr txBox="1">
            <a:spLocks noGrp="1"/>
          </p:cNvSpPr>
          <p:nvPr>
            <p:ph type="subTitle" idx="8"/>
          </p:nvPr>
        </p:nvSpPr>
        <p:spPr>
          <a:xfrm>
            <a:off x="8304769" y="4972916"/>
            <a:ext cx="3499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389" name="Google Shape;389;p46"/>
          <p:cNvSpPr>
            <a:spLocks noGrp="1"/>
          </p:cNvSpPr>
          <p:nvPr>
            <p:ph type="pic" idx="9"/>
          </p:nvPr>
        </p:nvSpPr>
        <p:spPr>
          <a:xfrm>
            <a:off x="4648048" y="1236761"/>
            <a:ext cx="426720" cy="426720"/>
          </a:xfrm>
          <a:prstGeom prst="rect">
            <a:avLst/>
          </a:prstGeom>
          <a:noFill/>
          <a:ln>
            <a:noFill/>
          </a:ln>
        </p:spPr>
      </p:sp>
      <p:sp>
        <p:nvSpPr>
          <p:cNvPr id="390" name="Google Shape;390;p46"/>
          <p:cNvSpPr>
            <a:spLocks noGrp="1"/>
          </p:cNvSpPr>
          <p:nvPr>
            <p:ph type="pic" idx="13"/>
          </p:nvPr>
        </p:nvSpPr>
        <p:spPr>
          <a:xfrm>
            <a:off x="8526945" y="1236761"/>
            <a:ext cx="426720" cy="426720"/>
          </a:xfrm>
          <a:prstGeom prst="rect">
            <a:avLst/>
          </a:prstGeom>
          <a:noFill/>
          <a:ln>
            <a:noFill/>
          </a:ln>
        </p:spPr>
      </p:sp>
      <p:sp>
        <p:nvSpPr>
          <p:cNvPr id="391" name="Google Shape;391;p46"/>
          <p:cNvSpPr>
            <a:spLocks noGrp="1"/>
          </p:cNvSpPr>
          <p:nvPr>
            <p:ph type="pic" idx="14"/>
          </p:nvPr>
        </p:nvSpPr>
        <p:spPr>
          <a:xfrm>
            <a:off x="4648048" y="3950904"/>
            <a:ext cx="426720" cy="426720"/>
          </a:xfrm>
          <a:prstGeom prst="rect">
            <a:avLst/>
          </a:prstGeom>
          <a:noFill/>
          <a:ln>
            <a:noFill/>
          </a:ln>
        </p:spPr>
      </p:sp>
      <p:sp>
        <p:nvSpPr>
          <p:cNvPr id="392" name="Google Shape;392;p46"/>
          <p:cNvSpPr>
            <a:spLocks noGrp="1"/>
          </p:cNvSpPr>
          <p:nvPr>
            <p:ph type="pic" idx="15"/>
          </p:nvPr>
        </p:nvSpPr>
        <p:spPr>
          <a:xfrm>
            <a:off x="8577579" y="3950904"/>
            <a:ext cx="426720" cy="426720"/>
          </a:xfrm>
          <a:prstGeom prst="rect">
            <a:avLst/>
          </a:prstGeom>
          <a:noFill/>
          <a:ln>
            <a:noFill/>
          </a:ln>
        </p:spPr>
      </p:sp>
    </p:spTree>
    <p:extLst>
      <p:ext uri="{BB962C8B-B14F-4D97-AF65-F5344CB8AC3E}">
        <p14:creationId xmlns:p14="http://schemas.microsoft.com/office/powerpoint/2010/main" val="203552929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matchingName="41. Linear process (4 steps)">
  <p:cSld name="41. Linear process (4 steps)">
    <p:spTree>
      <p:nvGrpSpPr>
        <p:cNvPr id="1" name="Shape 393"/>
        <p:cNvGrpSpPr/>
        <p:nvPr/>
      </p:nvGrpSpPr>
      <p:grpSpPr>
        <a:xfrm>
          <a:off x="0" y="0"/>
          <a:ext cx="0" cy="0"/>
          <a:chOff x="0" y="0"/>
          <a:chExt cx="0" cy="0"/>
        </a:xfrm>
      </p:grpSpPr>
      <p:cxnSp>
        <p:nvCxnSpPr>
          <p:cNvPr id="394" name="Google Shape;394;p47"/>
          <p:cNvCxnSpPr>
            <a:endCxn id="395" idx="4"/>
          </p:cNvCxnSpPr>
          <p:nvPr/>
        </p:nvCxnSpPr>
        <p:spPr>
          <a:xfrm>
            <a:off x="6262715" y="2313351"/>
            <a:ext cx="0" cy="2539648"/>
          </a:xfrm>
          <a:prstGeom prst="straightConnector1">
            <a:avLst/>
          </a:prstGeom>
          <a:noFill/>
          <a:ln w="19050" cap="flat" cmpd="sng">
            <a:solidFill>
              <a:schemeClr val="accent1"/>
            </a:solidFill>
            <a:prstDash val="solid"/>
            <a:round/>
            <a:headEnd type="none" w="sm" len="sm"/>
            <a:tailEnd type="none" w="sm" len="sm"/>
          </a:ln>
        </p:spPr>
      </p:cxnSp>
      <p:sp>
        <p:nvSpPr>
          <p:cNvPr id="396" name="Google Shape;396;p47"/>
          <p:cNvSpPr/>
          <p:nvPr/>
        </p:nvSpPr>
        <p:spPr>
          <a:xfrm>
            <a:off x="5975606" y="2103121"/>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1</a:t>
            </a:r>
            <a:endParaRPr sz="1865" b="1" i="0" u="none" strike="noStrike" cap="none">
              <a:solidFill>
                <a:schemeClr val="dk1"/>
              </a:solidFill>
              <a:latin typeface="Arial"/>
              <a:ea typeface="Arial"/>
              <a:cs typeface="Arial"/>
              <a:sym typeface="Arial"/>
            </a:endParaRPr>
          </a:p>
        </p:txBody>
      </p:sp>
      <p:sp>
        <p:nvSpPr>
          <p:cNvPr id="397" name="Google Shape;397;p47"/>
          <p:cNvSpPr/>
          <p:nvPr/>
        </p:nvSpPr>
        <p:spPr>
          <a:xfrm>
            <a:off x="5976965" y="2829900"/>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2</a:t>
            </a:r>
            <a:endParaRPr sz="1865" b="1" i="0" u="none" strike="noStrike" cap="none">
              <a:solidFill>
                <a:schemeClr val="dk1"/>
              </a:solidFill>
              <a:latin typeface="Arial"/>
              <a:ea typeface="Arial"/>
              <a:cs typeface="Arial"/>
              <a:sym typeface="Arial"/>
            </a:endParaRPr>
          </a:p>
        </p:txBody>
      </p:sp>
      <p:sp>
        <p:nvSpPr>
          <p:cNvPr id="398" name="Google Shape;398;p47"/>
          <p:cNvSpPr/>
          <p:nvPr/>
        </p:nvSpPr>
        <p:spPr>
          <a:xfrm>
            <a:off x="5976965" y="3555699"/>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3</a:t>
            </a:r>
            <a:endParaRPr sz="1865" b="1" i="0" u="none" strike="noStrike" cap="none">
              <a:solidFill>
                <a:schemeClr val="dk1"/>
              </a:solidFill>
              <a:latin typeface="Arial"/>
              <a:ea typeface="Arial"/>
              <a:cs typeface="Arial"/>
              <a:sym typeface="Arial"/>
            </a:endParaRPr>
          </a:p>
        </p:txBody>
      </p:sp>
      <p:sp>
        <p:nvSpPr>
          <p:cNvPr id="395" name="Google Shape;395;p47"/>
          <p:cNvSpPr/>
          <p:nvPr/>
        </p:nvSpPr>
        <p:spPr>
          <a:xfrm>
            <a:off x="5976965" y="4281499"/>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4</a:t>
            </a:r>
            <a:endParaRPr sz="1865" b="1" i="0" u="none" strike="noStrike" cap="none">
              <a:solidFill>
                <a:schemeClr val="dk1"/>
              </a:solidFill>
              <a:latin typeface="Arial"/>
              <a:ea typeface="Arial"/>
              <a:cs typeface="Arial"/>
              <a:sym typeface="Arial"/>
            </a:endParaRPr>
          </a:p>
        </p:txBody>
      </p:sp>
      <p:sp>
        <p:nvSpPr>
          <p:cNvPr id="399" name="Google Shape;399;p47"/>
          <p:cNvSpPr txBox="1">
            <a:spLocks noGrp="1"/>
          </p:cNvSpPr>
          <p:nvPr>
            <p:ph type="title"/>
          </p:nvPr>
        </p:nvSpPr>
        <p:spPr>
          <a:xfrm>
            <a:off x="608397" y="2266952"/>
            <a:ext cx="4777708" cy="23241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400" name="Google Shape;400;p47"/>
          <p:cNvSpPr txBox="1">
            <a:spLocks noGrp="1"/>
          </p:cNvSpPr>
          <p:nvPr>
            <p:ph type="subTitle" idx="1"/>
          </p:nvPr>
        </p:nvSpPr>
        <p:spPr>
          <a:xfrm>
            <a:off x="6803136" y="2194561"/>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01" name="Google Shape;401;p47"/>
          <p:cNvSpPr txBox="1">
            <a:spLocks noGrp="1"/>
          </p:cNvSpPr>
          <p:nvPr>
            <p:ph type="subTitle" idx="2"/>
          </p:nvPr>
        </p:nvSpPr>
        <p:spPr>
          <a:xfrm>
            <a:off x="6803136" y="2926080"/>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02" name="Google Shape;402;p47"/>
          <p:cNvSpPr txBox="1">
            <a:spLocks noGrp="1"/>
          </p:cNvSpPr>
          <p:nvPr>
            <p:ph type="subTitle" idx="3"/>
          </p:nvPr>
        </p:nvSpPr>
        <p:spPr>
          <a:xfrm>
            <a:off x="6803136" y="3645409"/>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03" name="Google Shape;403;p47"/>
          <p:cNvSpPr txBox="1">
            <a:spLocks noGrp="1"/>
          </p:cNvSpPr>
          <p:nvPr>
            <p:ph type="subTitle" idx="4"/>
          </p:nvPr>
        </p:nvSpPr>
        <p:spPr>
          <a:xfrm>
            <a:off x="6803136" y="4376929"/>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Tree>
    <p:extLst>
      <p:ext uri="{BB962C8B-B14F-4D97-AF65-F5344CB8AC3E}">
        <p14:creationId xmlns:p14="http://schemas.microsoft.com/office/powerpoint/2010/main" val="25939457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matchingName="42. Linear process (5 steps)">
  <p:cSld name="42. Linear process (5 steps)">
    <p:spTree>
      <p:nvGrpSpPr>
        <p:cNvPr id="1" name="Shape 404"/>
        <p:cNvGrpSpPr/>
        <p:nvPr/>
      </p:nvGrpSpPr>
      <p:grpSpPr>
        <a:xfrm>
          <a:off x="0" y="0"/>
          <a:ext cx="0" cy="0"/>
          <a:chOff x="0" y="0"/>
          <a:chExt cx="0" cy="0"/>
        </a:xfrm>
      </p:grpSpPr>
      <p:cxnSp>
        <p:nvCxnSpPr>
          <p:cNvPr id="405" name="Google Shape;405;p48"/>
          <p:cNvCxnSpPr>
            <a:endCxn id="406" idx="4"/>
          </p:cNvCxnSpPr>
          <p:nvPr/>
        </p:nvCxnSpPr>
        <p:spPr>
          <a:xfrm>
            <a:off x="6262715" y="1928703"/>
            <a:ext cx="0" cy="3265376"/>
          </a:xfrm>
          <a:prstGeom prst="straightConnector1">
            <a:avLst/>
          </a:prstGeom>
          <a:noFill/>
          <a:ln w="19050" cap="flat" cmpd="sng">
            <a:solidFill>
              <a:schemeClr val="accent1"/>
            </a:solidFill>
            <a:prstDash val="solid"/>
            <a:round/>
            <a:headEnd type="none" w="sm" len="sm"/>
            <a:tailEnd type="none" w="sm" len="sm"/>
          </a:ln>
        </p:spPr>
      </p:cxnSp>
      <p:sp>
        <p:nvSpPr>
          <p:cNvPr id="407" name="Google Shape;407;p48"/>
          <p:cNvSpPr/>
          <p:nvPr/>
        </p:nvSpPr>
        <p:spPr>
          <a:xfrm>
            <a:off x="5976965" y="1719380"/>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1</a:t>
            </a:r>
            <a:endParaRPr sz="1865" b="1" i="0" u="none" strike="noStrike" cap="none">
              <a:solidFill>
                <a:schemeClr val="dk1"/>
              </a:solidFill>
              <a:latin typeface="Arial"/>
              <a:ea typeface="Arial"/>
              <a:cs typeface="Arial"/>
              <a:sym typeface="Arial"/>
            </a:endParaRPr>
          </a:p>
        </p:txBody>
      </p:sp>
      <p:sp>
        <p:nvSpPr>
          <p:cNvPr id="408" name="Google Shape;408;p48"/>
          <p:cNvSpPr/>
          <p:nvPr/>
        </p:nvSpPr>
        <p:spPr>
          <a:xfrm>
            <a:off x="5976965" y="2445180"/>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2</a:t>
            </a:r>
            <a:endParaRPr sz="1865" b="1" i="0" u="none" strike="noStrike" cap="none">
              <a:solidFill>
                <a:schemeClr val="dk1"/>
              </a:solidFill>
              <a:latin typeface="Arial"/>
              <a:ea typeface="Arial"/>
              <a:cs typeface="Arial"/>
              <a:sym typeface="Arial"/>
            </a:endParaRPr>
          </a:p>
        </p:txBody>
      </p:sp>
      <p:sp>
        <p:nvSpPr>
          <p:cNvPr id="409" name="Google Shape;409;p48"/>
          <p:cNvSpPr/>
          <p:nvPr/>
        </p:nvSpPr>
        <p:spPr>
          <a:xfrm>
            <a:off x="5976965" y="3170980"/>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3</a:t>
            </a:r>
            <a:endParaRPr sz="1865" b="1" i="0" u="none" strike="noStrike" cap="none">
              <a:solidFill>
                <a:schemeClr val="dk1"/>
              </a:solidFill>
              <a:latin typeface="Arial"/>
              <a:ea typeface="Arial"/>
              <a:cs typeface="Arial"/>
              <a:sym typeface="Arial"/>
            </a:endParaRPr>
          </a:p>
        </p:txBody>
      </p:sp>
      <p:sp>
        <p:nvSpPr>
          <p:cNvPr id="410" name="Google Shape;410;p48"/>
          <p:cNvSpPr/>
          <p:nvPr/>
        </p:nvSpPr>
        <p:spPr>
          <a:xfrm>
            <a:off x="5976965" y="3896780"/>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4</a:t>
            </a:r>
            <a:endParaRPr sz="1865" b="1" i="0" u="none" strike="noStrike" cap="none">
              <a:solidFill>
                <a:schemeClr val="dk1"/>
              </a:solidFill>
              <a:latin typeface="Arial"/>
              <a:ea typeface="Arial"/>
              <a:cs typeface="Arial"/>
              <a:sym typeface="Arial"/>
            </a:endParaRPr>
          </a:p>
        </p:txBody>
      </p:sp>
      <p:sp>
        <p:nvSpPr>
          <p:cNvPr id="406" name="Google Shape;406;p48"/>
          <p:cNvSpPr/>
          <p:nvPr/>
        </p:nvSpPr>
        <p:spPr>
          <a:xfrm>
            <a:off x="5976965" y="4622579"/>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5</a:t>
            </a:r>
            <a:endParaRPr sz="1865" b="1" i="0" u="none" strike="noStrike" cap="none">
              <a:solidFill>
                <a:schemeClr val="dk1"/>
              </a:solidFill>
              <a:latin typeface="Arial"/>
              <a:ea typeface="Arial"/>
              <a:cs typeface="Arial"/>
              <a:sym typeface="Arial"/>
            </a:endParaRPr>
          </a:p>
        </p:txBody>
      </p:sp>
      <p:sp>
        <p:nvSpPr>
          <p:cNvPr id="411" name="Google Shape;411;p48"/>
          <p:cNvSpPr txBox="1">
            <a:spLocks noGrp="1"/>
          </p:cNvSpPr>
          <p:nvPr>
            <p:ph type="title"/>
          </p:nvPr>
        </p:nvSpPr>
        <p:spPr>
          <a:xfrm>
            <a:off x="608397" y="2266952"/>
            <a:ext cx="4777708" cy="23241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412" name="Google Shape;412;p48"/>
          <p:cNvSpPr txBox="1">
            <a:spLocks noGrp="1"/>
          </p:cNvSpPr>
          <p:nvPr>
            <p:ph type="subTitle" idx="1"/>
          </p:nvPr>
        </p:nvSpPr>
        <p:spPr>
          <a:xfrm>
            <a:off x="6803136" y="1792225"/>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13" name="Google Shape;413;p48"/>
          <p:cNvSpPr txBox="1">
            <a:spLocks noGrp="1"/>
          </p:cNvSpPr>
          <p:nvPr>
            <p:ph type="subTitle" idx="2"/>
          </p:nvPr>
        </p:nvSpPr>
        <p:spPr>
          <a:xfrm>
            <a:off x="6803136" y="2520701"/>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14" name="Google Shape;414;p48"/>
          <p:cNvSpPr txBox="1">
            <a:spLocks noGrp="1"/>
          </p:cNvSpPr>
          <p:nvPr>
            <p:ph type="subTitle" idx="3"/>
          </p:nvPr>
        </p:nvSpPr>
        <p:spPr>
          <a:xfrm>
            <a:off x="6803136" y="3249176"/>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15" name="Google Shape;415;p48"/>
          <p:cNvSpPr txBox="1">
            <a:spLocks noGrp="1"/>
          </p:cNvSpPr>
          <p:nvPr>
            <p:ph type="subTitle" idx="4"/>
          </p:nvPr>
        </p:nvSpPr>
        <p:spPr>
          <a:xfrm>
            <a:off x="6803136" y="3977651"/>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16" name="Google Shape;416;p48"/>
          <p:cNvSpPr txBox="1">
            <a:spLocks noGrp="1"/>
          </p:cNvSpPr>
          <p:nvPr>
            <p:ph type="subTitle" idx="5"/>
          </p:nvPr>
        </p:nvSpPr>
        <p:spPr>
          <a:xfrm>
            <a:off x="6803136" y="4706125"/>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Tree>
    <p:extLst>
      <p:ext uri="{BB962C8B-B14F-4D97-AF65-F5344CB8AC3E}">
        <p14:creationId xmlns:p14="http://schemas.microsoft.com/office/powerpoint/2010/main" val="528621739"/>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matchingName="43. Linear process (6 steps)">
  <p:cSld name="43. Linear process (6 steps)">
    <p:spTree>
      <p:nvGrpSpPr>
        <p:cNvPr id="1" name="Shape 417"/>
        <p:cNvGrpSpPr/>
        <p:nvPr/>
      </p:nvGrpSpPr>
      <p:grpSpPr>
        <a:xfrm>
          <a:off x="0" y="0"/>
          <a:ext cx="0" cy="0"/>
          <a:chOff x="0" y="0"/>
          <a:chExt cx="0" cy="0"/>
        </a:xfrm>
      </p:grpSpPr>
      <p:sp>
        <p:nvSpPr>
          <p:cNvPr id="418" name="Google Shape;418;p49"/>
          <p:cNvSpPr txBox="1">
            <a:spLocks noGrp="1"/>
          </p:cNvSpPr>
          <p:nvPr>
            <p:ph type="title"/>
          </p:nvPr>
        </p:nvSpPr>
        <p:spPr>
          <a:xfrm>
            <a:off x="608397" y="2266952"/>
            <a:ext cx="4777708" cy="23241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9pPr>
          </a:lstStyle>
          <a:p>
            <a:endParaRPr/>
          </a:p>
        </p:txBody>
      </p:sp>
      <p:cxnSp>
        <p:nvCxnSpPr>
          <p:cNvPr id="419" name="Google Shape;419;p49"/>
          <p:cNvCxnSpPr/>
          <p:nvPr/>
        </p:nvCxnSpPr>
        <p:spPr>
          <a:xfrm>
            <a:off x="6288787" y="1471307"/>
            <a:ext cx="0" cy="3705315"/>
          </a:xfrm>
          <a:prstGeom prst="straightConnector1">
            <a:avLst/>
          </a:prstGeom>
          <a:noFill/>
          <a:ln w="19050" cap="flat" cmpd="sng">
            <a:solidFill>
              <a:schemeClr val="accent1"/>
            </a:solidFill>
            <a:prstDash val="solid"/>
            <a:round/>
            <a:headEnd type="none" w="sm" len="sm"/>
            <a:tailEnd type="none" w="sm" len="sm"/>
          </a:ln>
        </p:spPr>
      </p:cxnSp>
      <p:sp>
        <p:nvSpPr>
          <p:cNvPr id="420" name="Google Shape;420;p49"/>
          <p:cNvSpPr/>
          <p:nvPr/>
        </p:nvSpPr>
        <p:spPr>
          <a:xfrm>
            <a:off x="6003038" y="1261873"/>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1</a:t>
            </a:r>
            <a:endParaRPr sz="1865" b="1" i="0" u="none" strike="noStrike" cap="none">
              <a:solidFill>
                <a:schemeClr val="dk1"/>
              </a:solidFill>
              <a:latin typeface="Arial"/>
              <a:ea typeface="Arial"/>
              <a:cs typeface="Arial"/>
              <a:sym typeface="Arial"/>
            </a:endParaRPr>
          </a:p>
        </p:txBody>
      </p:sp>
      <p:sp>
        <p:nvSpPr>
          <p:cNvPr id="421" name="Google Shape;421;p49"/>
          <p:cNvSpPr/>
          <p:nvPr/>
        </p:nvSpPr>
        <p:spPr>
          <a:xfrm>
            <a:off x="6003038" y="1987673"/>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2</a:t>
            </a:r>
            <a:endParaRPr sz="1865" b="1" i="0" u="none" strike="noStrike" cap="none">
              <a:solidFill>
                <a:schemeClr val="dk1"/>
              </a:solidFill>
              <a:latin typeface="Arial"/>
              <a:ea typeface="Arial"/>
              <a:cs typeface="Arial"/>
              <a:sym typeface="Arial"/>
            </a:endParaRPr>
          </a:p>
        </p:txBody>
      </p:sp>
      <p:sp>
        <p:nvSpPr>
          <p:cNvPr id="422" name="Google Shape;422;p49"/>
          <p:cNvSpPr/>
          <p:nvPr/>
        </p:nvSpPr>
        <p:spPr>
          <a:xfrm>
            <a:off x="6003038" y="2713473"/>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3</a:t>
            </a:r>
            <a:endParaRPr sz="1865" b="1" i="0" u="none" strike="noStrike" cap="none">
              <a:solidFill>
                <a:schemeClr val="dk1"/>
              </a:solidFill>
              <a:latin typeface="Arial"/>
              <a:ea typeface="Arial"/>
              <a:cs typeface="Arial"/>
              <a:sym typeface="Arial"/>
            </a:endParaRPr>
          </a:p>
        </p:txBody>
      </p:sp>
      <p:sp>
        <p:nvSpPr>
          <p:cNvPr id="423" name="Google Shape;423;p49"/>
          <p:cNvSpPr/>
          <p:nvPr/>
        </p:nvSpPr>
        <p:spPr>
          <a:xfrm>
            <a:off x="6003038" y="3439273"/>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4</a:t>
            </a:r>
            <a:endParaRPr sz="1865" b="1" i="0" u="none" strike="noStrike" cap="none">
              <a:solidFill>
                <a:schemeClr val="dk1"/>
              </a:solidFill>
              <a:latin typeface="Arial"/>
              <a:ea typeface="Arial"/>
              <a:cs typeface="Arial"/>
              <a:sym typeface="Arial"/>
            </a:endParaRPr>
          </a:p>
        </p:txBody>
      </p:sp>
      <p:sp>
        <p:nvSpPr>
          <p:cNvPr id="424" name="Google Shape;424;p49"/>
          <p:cNvSpPr/>
          <p:nvPr/>
        </p:nvSpPr>
        <p:spPr>
          <a:xfrm>
            <a:off x="6003038" y="4165072"/>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5</a:t>
            </a:r>
            <a:endParaRPr sz="1865" b="1" i="0" u="none" strike="noStrike" cap="none">
              <a:solidFill>
                <a:schemeClr val="dk1"/>
              </a:solidFill>
              <a:latin typeface="Arial"/>
              <a:ea typeface="Arial"/>
              <a:cs typeface="Arial"/>
              <a:sym typeface="Arial"/>
            </a:endParaRPr>
          </a:p>
        </p:txBody>
      </p:sp>
      <p:sp>
        <p:nvSpPr>
          <p:cNvPr id="425" name="Google Shape;425;p49"/>
          <p:cNvSpPr/>
          <p:nvPr/>
        </p:nvSpPr>
        <p:spPr>
          <a:xfrm>
            <a:off x="6003038" y="4890872"/>
            <a:ext cx="571500" cy="57150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b="1" i="0" u="none" strike="noStrike" cap="none">
                <a:solidFill>
                  <a:schemeClr val="dk1"/>
                </a:solidFill>
                <a:latin typeface="Arial"/>
                <a:ea typeface="Arial"/>
                <a:cs typeface="Arial"/>
                <a:sym typeface="Arial"/>
              </a:rPr>
              <a:t>6</a:t>
            </a:r>
            <a:endParaRPr sz="1865" b="1" i="0" u="none" strike="noStrike" cap="none">
              <a:solidFill>
                <a:schemeClr val="dk1"/>
              </a:solidFill>
              <a:latin typeface="Arial"/>
              <a:ea typeface="Arial"/>
              <a:cs typeface="Arial"/>
              <a:sym typeface="Arial"/>
            </a:endParaRPr>
          </a:p>
        </p:txBody>
      </p:sp>
      <p:sp>
        <p:nvSpPr>
          <p:cNvPr id="426" name="Google Shape;426;p49"/>
          <p:cNvSpPr txBox="1">
            <a:spLocks noGrp="1"/>
          </p:cNvSpPr>
          <p:nvPr>
            <p:ph type="subTitle" idx="1"/>
          </p:nvPr>
        </p:nvSpPr>
        <p:spPr>
          <a:xfrm>
            <a:off x="6803136" y="1341120"/>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27" name="Google Shape;427;p49"/>
          <p:cNvSpPr txBox="1">
            <a:spLocks noGrp="1"/>
          </p:cNvSpPr>
          <p:nvPr>
            <p:ph type="subTitle" idx="2"/>
          </p:nvPr>
        </p:nvSpPr>
        <p:spPr>
          <a:xfrm>
            <a:off x="6803136" y="2069596"/>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28" name="Google Shape;428;p49"/>
          <p:cNvSpPr txBox="1">
            <a:spLocks noGrp="1"/>
          </p:cNvSpPr>
          <p:nvPr>
            <p:ph type="subTitle" idx="3"/>
          </p:nvPr>
        </p:nvSpPr>
        <p:spPr>
          <a:xfrm>
            <a:off x="6803136" y="2798071"/>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29" name="Google Shape;429;p49"/>
          <p:cNvSpPr txBox="1">
            <a:spLocks noGrp="1"/>
          </p:cNvSpPr>
          <p:nvPr>
            <p:ph type="subTitle" idx="4"/>
          </p:nvPr>
        </p:nvSpPr>
        <p:spPr>
          <a:xfrm>
            <a:off x="6803136" y="3526547"/>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30" name="Google Shape;430;p49"/>
          <p:cNvSpPr txBox="1">
            <a:spLocks noGrp="1"/>
          </p:cNvSpPr>
          <p:nvPr>
            <p:ph type="subTitle" idx="5"/>
          </p:nvPr>
        </p:nvSpPr>
        <p:spPr>
          <a:xfrm>
            <a:off x="6803136" y="4255022"/>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31" name="Google Shape;431;p49"/>
          <p:cNvSpPr txBox="1">
            <a:spLocks noGrp="1"/>
          </p:cNvSpPr>
          <p:nvPr>
            <p:ph type="subTitle" idx="6"/>
          </p:nvPr>
        </p:nvSpPr>
        <p:spPr>
          <a:xfrm>
            <a:off x="6803136" y="4983489"/>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Tree>
    <p:extLst>
      <p:ext uri="{BB962C8B-B14F-4D97-AF65-F5344CB8AC3E}">
        <p14:creationId xmlns:p14="http://schemas.microsoft.com/office/powerpoint/2010/main" val="3684945563"/>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matchingName="44. Linear checklist (4 marks)">
  <p:cSld name="44. Linear checklist (4 marks)">
    <p:spTree>
      <p:nvGrpSpPr>
        <p:cNvPr id="1" name="Shape 432"/>
        <p:cNvGrpSpPr/>
        <p:nvPr/>
      </p:nvGrpSpPr>
      <p:grpSpPr>
        <a:xfrm>
          <a:off x="0" y="0"/>
          <a:ext cx="0" cy="0"/>
          <a:chOff x="0" y="0"/>
          <a:chExt cx="0" cy="0"/>
        </a:xfrm>
      </p:grpSpPr>
      <p:cxnSp>
        <p:nvCxnSpPr>
          <p:cNvPr id="433" name="Google Shape;433;p50"/>
          <p:cNvCxnSpPr/>
          <p:nvPr/>
        </p:nvCxnSpPr>
        <p:spPr>
          <a:xfrm>
            <a:off x="6288787" y="2325304"/>
            <a:ext cx="0" cy="2332459"/>
          </a:xfrm>
          <a:prstGeom prst="straightConnector1">
            <a:avLst/>
          </a:prstGeom>
          <a:noFill/>
          <a:ln w="19050" cap="flat" cmpd="sng">
            <a:solidFill>
              <a:schemeClr val="accent3"/>
            </a:solidFill>
            <a:prstDash val="solid"/>
            <a:round/>
            <a:headEnd type="none" w="sm" len="sm"/>
            <a:tailEnd type="none" w="sm" len="sm"/>
          </a:ln>
        </p:spPr>
      </p:cxnSp>
      <p:grpSp>
        <p:nvGrpSpPr>
          <p:cNvPr id="434" name="Google Shape;434;p50"/>
          <p:cNvGrpSpPr/>
          <p:nvPr/>
        </p:nvGrpSpPr>
        <p:grpSpPr>
          <a:xfrm>
            <a:off x="6003038" y="2103120"/>
            <a:ext cx="571500" cy="2748900"/>
            <a:chOff x="4502277" y="1577340"/>
            <a:chExt cx="428625" cy="2061675"/>
          </a:xfrm>
        </p:grpSpPr>
        <p:sp>
          <p:nvSpPr>
            <p:cNvPr id="435" name="Google Shape;435;p50"/>
            <p:cNvSpPr/>
            <p:nvPr/>
          </p:nvSpPr>
          <p:spPr>
            <a:xfrm>
              <a:off x="4502277" y="3210390"/>
              <a:ext cx="428625" cy="428625"/>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5" b="1" i="0" u="none" strike="noStrike" cap="none">
                <a:solidFill>
                  <a:schemeClr val="dk1"/>
                </a:solidFill>
                <a:latin typeface="Arial"/>
                <a:ea typeface="Arial"/>
                <a:cs typeface="Arial"/>
                <a:sym typeface="Arial"/>
              </a:endParaRPr>
            </a:p>
          </p:txBody>
        </p:sp>
        <p:sp>
          <p:nvSpPr>
            <p:cNvPr id="436" name="Google Shape;436;p50"/>
            <p:cNvSpPr/>
            <p:nvPr/>
          </p:nvSpPr>
          <p:spPr>
            <a:xfrm>
              <a:off x="4502277" y="2666040"/>
              <a:ext cx="428625" cy="428625"/>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5" b="1" i="0" u="none" strike="noStrike" cap="none">
                <a:solidFill>
                  <a:schemeClr val="dk1"/>
                </a:solidFill>
                <a:latin typeface="Arial"/>
                <a:ea typeface="Arial"/>
                <a:cs typeface="Arial"/>
                <a:sym typeface="Arial"/>
              </a:endParaRPr>
            </a:p>
          </p:txBody>
        </p:sp>
        <p:sp>
          <p:nvSpPr>
            <p:cNvPr id="437" name="Google Shape;437;p50"/>
            <p:cNvSpPr/>
            <p:nvPr/>
          </p:nvSpPr>
          <p:spPr>
            <a:xfrm>
              <a:off x="4502277" y="2121690"/>
              <a:ext cx="428625" cy="428625"/>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5" b="1" i="0" u="none" strike="noStrike" cap="none">
                <a:solidFill>
                  <a:schemeClr val="dk1"/>
                </a:solidFill>
                <a:latin typeface="Arial"/>
                <a:ea typeface="Arial"/>
                <a:cs typeface="Arial"/>
                <a:sym typeface="Arial"/>
              </a:endParaRPr>
            </a:p>
          </p:txBody>
        </p:sp>
        <p:sp>
          <p:nvSpPr>
            <p:cNvPr id="438" name="Google Shape;438;p50"/>
            <p:cNvSpPr/>
            <p:nvPr/>
          </p:nvSpPr>
          <p:spPr>
            <a:xfrm>
              <a:off x="4502277" y="1577340"/>
              <a:ext cx="428625" cy="428625"/>
            </a:xfrm>
            <a:prstGeom prst="ellipse">
              <a:avLst/>
            </a:prstGeom>
            <a:solidFill>
              <a:schemeClr val="accent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0F6FC"/>
                </a:buClr>
                <a:buSzPts val="1400"/>
                <a:buFont typeface="Arial"/>
                <a:buNone/>
              </a:pPr>
              <a:endParaRPr sz="1865" b="1" i="0" u="none" strike="noStrike" cap="none">
                <a:solidFill>
                  <a:schemeClr val="dk1"/>
                </a:solidFill>
                <a:latin typeface="Arial"/>
                <a:ea typeface="Arial"/>
                <a:cs typeface="Arial"/>
                <a:sym typeface="Arial"/>
              </a:endParaRPr>
            </a:p>
          </p:txBody>
        </p:sp>
        <p:pic>
          <p:nvPicPr>
            <p:cNvPr id="439" name="Google Shape;439;p50"/>
            <p:cNvPicPr preferRelativeResize="0"/>
            <p:nvPr/>
          </p:nvPicPr>
          <p:blipFill rotWithShape="1">
            <a:blip r:embed="rId2">
              <a:alphaModFix/>
            </a:blip>
            <a:srcRect/>
            <a:stretch/>
          </p:blipFill>
          <p:spPr>
            <a:xfrm>
              <a:off x="4630865" y="1729086"/>
              <a:ext cx="171450" cy="125133"/>
            </a:xfrm>
            <a:prstGeom prst="rect">
              <a:avLst/>
            </a:prstGeom>
            <a:noFill/>
            <a:ln>
              <a:noFill/>
            </a:ln>
          </p:spPr>
        </p:pic>
        <p:pic>
          <p:nvPicPr>
            <p:cNvPr id="440" name="Google Shape;440;p50"/>
            <p:cNvPicPr preferRelativeResize="0"/>
            <p:nvPr/>
          </p:nvPicPr>
          <p:blipFill rotWithShape="1">
            <a:blip r:embed="rId2">
              <a:alphaModFix/>
            </a:blip>
            <a:srcRect/>
            <a:stretch/>
          </p:blipFill>
          <p:spPr>
            <a:xfrm>
              <a:off x="4630865" y="2273436"/>
              <a:ext cx="171450" cy="125133"/>
            </a:xfrm>
            <a:prstGeom prst="rect">
              <a:avLst/>
            </a:prstGeom>
            <a:noFill/>
            <a:ln>
              <a:noFill/>
            </a:ln>
          </p:spPr>
        </p:pic>
        <p:pic>
          <p:nvPicPr>
            <p:cNvPr id="441" name="Google Shape;441;p50"/>
            <p:cNvPicPr preferRelativeResize="0"/>
            <p:nvPr/>
          </p:nvPicPr>
          <p:blipFill rotWithShape="1">
            <a:blip r:embed="rId2">
              <a:alphaModFix/>
            </a:blip>
            <a:srcRect/>
            <a:stretch/>
          </p:blipFill>
          <p:spPr>
            <a:xfrm>
              <a:off x="4630865" y="2817786"/>
              <a:ext cx="171450" cy="125133"/>
            </a:xfrm>
            <a:prstGeom prst="rect">
              <a:avLst/>
            </a:prstGeom>
            <a:noFill/>
            <a:ln>
              <a:noFill/>
            </a:ln>
          </p:spPr>
        </p:pic>
        <p:pic>
          <p:nvPicPr>
            <p:cNvPr id="442" name="Google Shape;442;p50"/>
            <p:cNvPicPr preferRelativeResize="0"/>
            <p:nvPr/>
          </p:nvPicPr>
          <p:blipFill rotWithShape="1">
            <a:blip r:embed="rId2">
              <a:alphaModFix/>
            </a:blip>
            <a:srcRect/>
            <a:stretch/>
          </p:blipFill>
          <p:spPr>
            <a:xfrm>
              <a:off x="4630865" y="3362136"/>
              <a:ext cx="171450" cy="125133"/>
            </a:xfrm>
            <a:prstGeom prst="rect">
              <a:avLst/>
            </a:prstGeom>
            <a:noFill/>
            <a:ln>
              <a:noFill/>
            </a:ln>
          </p:spPr>
        </p:pic>
      </p:grpSp>
      <p:sp>
        <p:nvSpPr>
          <p:cNvPr id="443" name="Google Shape;443;p50"/>
          <p:cNvSpPr txBox="1">
            <a:spLocks noGrp="1"/>
          </p:cNvSpPr>
          <p:nvPr>
            <p:ph type="title"/>
          </p:nvPr>
        </p:nvSpPr>
        <p:spPr>
          <a:xfrm>
            <a:off x="608395" y="2266950"/>
            <a:ext cx="4777600" cy="2324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444" name="Google Shape;444;p50"/>
          <p:cNvSpPr txBox="1">
            <a:spLocks noGrp="1"/>
          </p:cNvSpPr>
          <p:nvPr>
            <p:ph type="subTitle" idx="1"/>
          </p:nvPr>
        </p:nvSpPr>
        <p:spPr>
          <a:xfrm>
            <a:off x="6803136" y="2194561"/>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45" name="Google Shape;445;p50"/>
          <p:cNvSpPr txBox="1">
            <a:spLocks noGrp="1"/>
          </p:cNvSpPr>
          <p:nvPr>
            <p:ph type="subTitle" idx="2"/>
          </p:nvPr>
        </p:nvSpPr>
        <p:spPr>
          <a:xfrm>
            <a:off x="6803136" y="2926080"/>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46" name="Google Shape;446;p50"/>
          <p:cNvSpPr txBox="1">
            <a:spLocks noGrp="1"/>
          </p:cNvSpPr>
          <p:nvPr>
            <p:ph type="subTitle" idx="3"/>
          </p:nvPr>
        </p:nvSpPr>
        <p:spPr>
          <a:xfrm>
            <a:off x="6803136" y="3645409"/>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47" name="Google Shape;447;p50"/>
          <p:cNvSpPr txBox="1">
            <a:spLocks noGrp="1"/>
          </p:cNvSpPr>
          <p:nvPr>
            <p:ph type="subTitle" idx="4"/>
          </p:nvPr>
        </p:nvSpPr>
        <p:spPr>
          <a:xfrm>
            <a:off x="6803136" y="4376929"/>
            <a:ext cx="4572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Tree>
    <p:extLst>
      <p:ext uri="{BB962C8B-B14F-4D97-AF65-F5344CB8AC3E}">
        <p14:creationId xmlns:p14="http://schemas.microsoft.com/office/powerpoint/2010/main" val="298277311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matchingName="46. Title with three statements">
  <p:cSld name="46. Title with three statements">
    <p:spTree>
      <p:nvGrpSpPr>
        <p:cNvPr id="1" name="Shape 448"/>
        <p:cNvGrpSpPr/>
        <p:nvPr/>
      </p:nvGrpSpPr>
      <p:grpSpPr>
        <a:xfrm>
          <a:off x="0" y="0"/>
          <a:ext cx="0" cy="0"/>
          <a:chOff x="0" y="0"/>
          <a:chExt cx="0" cy="0"/>
        </a:xfrm>
      </p:grpSpPr>
      <p:sp>
        <p:nvSpPr>
          <p:cNvPr id="449" name="Google Shape;449;p51"/>
          <p:cNvSpPr/>
          <p:nvPr/>
        </p:nvSpPr>
        <p:spPr>
          <a:xfrm>
            <a:off x="596051" y="2074400"/>
            <a:ext cx="3486000" cy="3657600"/>
          </a:xfrm>
          <a:prstGeom prst="roundRect">
            <a:avLst>
              <a:gd name="adj" fmla="val 3738"/>
            </a:avLst>
          </a:prstGeom>
          <a:solidFill>
            <a:srgbClr val="0A0C10"/>
          </a:solidFill>
          <a:ln w="9525" cap="flat" cmpd="sng">
            <a:solidFill>
              <a:srgbClr val="282828"/>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450" name="Google Shape;450;p51"/>
          <p:cNvSpPr/>
          <p:nvPr/>
        </p:nvSpPr>
        <p:spPr>
          <a:xfrm>
            <a:off x="4336073" y="2074400"/>
            <a:ext cx="3564000" cy="3657600"/>
          </a:xfrm>
          <a:prstGeom prst="roundRect">
            <a:avLst>
              <a:gd name="adj" fmla="val 3738"/>
            </a:avLst>
          </a:prstGeom>
          <a:solidFill>
            <a:srgbClr val="0A0C10"/>
          </a:solidFill>
          <a:ln w="9525" cap="flat" cmpd="sng">
            <a:solidFill>
              <a:srgbClr val="282828"/>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451" name="Google Shape;451;p51"/>
          <p:cNvSpPr/>
          <p:nvPr/>
        </p:nvSpPr>
        <p:spPr>
          <a:xfrm>
            <a:off x="8121849" y="2074400"/>
            <a:ext cx="3486000" cy="3657600"/>
          </a:xfrm>
          <a:prstGeom prst="roundRect">
            <a:avLst>
              <a:gd name="adj" fmla="val 3738"/>
            </a:avLst>
          </a:prstGeom>
          <a:solidFill>
            <a:srgbClr val="0A0C10"/>
          </a:solidFill>
          <a:ln w="9525" cap="flat" cmpd="sng">
            <a:solidFill>
              <a:srgbClr val="282828"/>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452" name="Google Shape;452;p51"/>
          <p:cNvSpPr/>
          <p:nvPr/>
        </p:nvSpPr>
        <p:spPr>
          <a:xfrm rot="5400000">
            <a:off x="139152" y="2809800"/>
            <a:ext cx="914400" cy="24400"/>
          </a:xfrm>
          <a:prstGeom prst="roundRect">
            <a:avLst>
              <a:gd name="adj" fmla="val 50000"/>
            </a:avLst>
          </a:prstGeom>
          <a:gradFill>
            <a:gsLst>
              <a:gs pos="0">
                <a:srgbClr val="A371F7"/>
              </a:gs>
              <a:gs pos="100000">
                <a:srgbClr val="DB61A2"/>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453" name="Google Shape;453;p51"/>
          <p:cNvSpPr/>
          <p:nvPr/>
        </p:nvSpPr>
        <p:spPr>
          <a:xfrm rot="5400000">
            <a:off x="3879259" y="2911399"/>
            <a:ext cx="914400" cy="24400"/>
          </a:xfrm>
          <a:prstGeom prst="roundRect">
            <a:avLst>
              <a:gd name="adj" fmla="val 50000"/>
            </a:avLst>
          </a:prstGeom>
          <a:gradFill>
            <a:gsLst>
              <a:gs pos="0">
                <a:srgbClr val="388BFD"/>
              </a:gs>
              <a:gs pos="50000">
                <a:srgbClr val="797EF9"/>
              </a:gs>
              <a:gs pos="100000">
                <a:srgbClr val="A371F7"/>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454" name="Google Shape;454;p51"/>
          <p:cNvSpPr/>
          <p:nvPr/>
        </p:nvSpPr>
        <p:spPr>
          <a:xfrm rot="5400000">
            <a:off x="7665135" y="2911399"/>
            <a:ext cx="914400" cy="24400"/>
          </a:xfrm>
          <a:prstGeom prst="roundRect">
            <a:avLst>
              <a:gd name="adj" fmla="val 50000"/>
            </a:avLst>
          </a:prstGeom>
          <a:gradFill>
            <a:gsLst>
              <a:gs pos="0">
                <a:srgbClr val="57CCC5"/>
              </a:gs>
              <a:gs pos="100000">
                <a:srgbClr val="388BFD"/>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455" name="Google Shape;455;p51"/>
          <p:cNvSpPr txBox="1">
            <a:spLocks noGrp="1"/>
          </p:cNvSpPr>
          <p:nvPr>
            <p:ph type="title"/>
          </p:nvPr>
        </p:nvSpPr>
        <p:spPr>
          <a:xfrm>
            <a:off x="596067" y="-32632"/>
            <a:ext cx="11011600" cy="2107199"/>
          </a:xfrm>
          <a:prstGeom prst="rect">
            <a:avLst/>
          </a:prstGeom>
          <a:noFill/>
          <a:ln>
            <a:noFill/>
          </a:ln>
        </p:spPr>
        <p:txBody>
          <a:bodyPr spcFirstLastPara="1" wrap="square" lIns="34275" tIns="17150" rIns="34275" bIns="17150" anchor="ctr" anchorCtr="0">
            <a:noAutofit/>
          </a:bodyPr>
          <a:lstStyle>
            <a:lvl1pPr marR="0" lvl="0" algn="ctr">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456" name="Google Shape;456;p51"/>
          <p:cNvSpPr txBox="1">
            <a:spLocks noGrp="1"/>
          </p:cNvSpPr>
          <p:nvPr>
            <p:ph type="subTitle" idx="1"/>
          </p:nvPr>
        </p:nvSpPr>
        <p:spPr>
          <a:xfrm>
            <a:off x="869700" y="2381734"/>
            <a:ext cx="2863200" cy="897466"/>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20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2000"/>
              <a:buFont typeface="Arial"/>
              <a:buNone/>
              <a:defRPr sz="2664" b="1">
                <a:solidFill>
                  <a:schemeClr val="dk1"/>
                </a:solidFill>
              </a:defRPr>
            </a:lvl2pPr>
            <a:lvl3pPr lvl="2" algn="l">
              <a:lnSpc>
                <a:spcPct val="90000"/>
              </a:lnSpc>
              <a:spcBef>
                <a:spcPts val="0"/>
              </a:spcBef>
              <a:spcAft>
                <a:spcPts val="0"/>
              </a:spcAft>
              <a:buClr>
                <a:schemeClr val="dk1"/>
              </a:buClr>
              <a:buSzPts val="2000"/>
              <a:buFont typeface="Arial"/>
              <a:buNone/>
              <a:defRPr sz="2664" b="1">
                <a:solidFill>
                  <a:schemeClr val="dk1"/>
                </a:solidFill>
              </a:defRPr>
            </a:lvl3pPr>
            <a:lvl4pPr lvl="3" algn="l">
              <a:lnSpc>
                <a:spcPct val="90000"/>
              </a:lnSpc>
              <a:spcBef>
                <a:spcPts val="0"/>
              </a:spcBef>
              <a:spcAft>
                <a:spcPts val="0"/>
              </a:spcAft>
              <a:buClr>
                <a:schemeClr val="dk1"/>
              </a:buClr>
              <a:buSzPts val="2000"/>
              <a:buFont typeface="Arial"/>
              <a:buNone/>
              <a:defRPr sz="2664" b="1">
                <a:solidFill>
                  <a:schemeClr val="dk1"/>
                </a:solidFill>
              </a:defRPr>
            </a:lvl4pPr>
            <a:lvl5pPr lvl="4" algn="l">
              <a:lnSpc>
                <a:spcPct val="90000"/>
              </a:lnSpc>
              <a:spcBef>
                <a:spcPts val="0"/>
              </a:spcBef>
              <a:spcAft>
                <a:spcPts val="0"/>
              </a:spcAft>
              <a:buClr>
                <a:schemeClr val="dk1"/>
              </a:buClr>
              <a:buSzPts val="2000"/>
              <a:buFont typeface="Arial"/>
              <a:buNone/>
              <a:defRPr sz="2664" b="1">
                <a:solidFill>
                  <a:schemeClr val="dk1"/>
                </a:solidFill>
              </a:defRPr>
            </a:lvl5pPr>
            <a:lvl6pPr lvl="5" algn="l">
              <a:lnSpc>
                <a:spcPct val="90000"/>
              </a:lnSpc>
              <a:spcBef>
                <a:spcPts val="0"/>
              </a:spcBef>
              <a:spcAft>
                <a:spcPts val="0"/>
              </a:spcAft>
              <a:buClr>
                <a:schemeClr val="dk1"/>
              </a:buClr>
              <a:buSzPts val="2000"/>
              <a:buNone/>
              <a:defRPr sz="2664" b="1">
                <a:solidFill>
                  <a:schemeClr val="dk1"/>
                </a:solidFill>
              </a:defRPr>
            </a:lvl6pPr>
            <a:lvl7pPr lvl="6" algn="l">
              <a:lnSpc>
                <a:spcPct val="90000"/>
              </a:lnSpc>
              <a:spcBef>
                <a:spcPts val="0"/>
              </a:spcBef>
              <a:spcAft>
                <a:spcPts val="0"/>
              </a:spcAft>
              <a:buClr>
                <a:schemeClr val="dk1"/>
              </a:buClr>
              <a:buSzPts val="2000"/>
              <a:buNone/>
              <a:defRPr sz="2664" b="1">
                <a:solidFill>
                  <a:schemeClr val="dk1"/>
                </a:solidFill>
              </a:defRPr>
            </a:lvl7pPr>
            <a:lvl8pPr lvl="7" algn="l">
              <a:lnSpc>
                <a:spcPct val="90000"/>
              </a:lnSpc>
              <a:spcBef>
                <a:spcPts val="0"/>
              </a:spcBef>
              <a:spcAft>
                <a:spcPts val="0"/>
              </a:spcAft>
              <a:buClr>
                <a:schemeClr val="dk1"/>
              </a:buClr>
              <a:buSzPts val="2000"/>
              <a:buNone/>
              <a:defRPr sz="2664" b="1">
                <a:solidFill>
                  <a:schemeClr val="dk1"/>
                </a:solidFill>
              </a:defRPr>
            </a:lvl8pPr>
            <a:lvl9pPr lvl="8" algn="l">
              <a:lnSpc>
                <a:spcPct val="90000"/>
              </a:lnSpc>
              <a:spcBef>
                <a:spcPts val="0"/>
              </a:spcBef>
              <a:spcAft>
                <a:spcPts val="0"/>
              </a:spcAft>
              <a:buClr>
                <a:schemeClr val="dk1"/>
              </a:buClr>
              <a:buSzPts val="2000"/>
              <a:buNone/>
              <a:defRPr sz="2664" b="1">
                <a:solidFill>
                  <a:schemeClr val="dk1"/>
                </a:solidFill>
              </a:defRPr>
            </a:lvl9pPr>
          </a:lstStyle>
          <a:p>
            <a:endParaRPr/>
          </a:p>
        </p:txBody>
      </p:sp>
      <p:sp>
        <p:nvSpPr>
          <p:cNvPr id="457" name="Google Shape;457;p51"/>
          <p:cNvSpPr txBox="1">
            <a:spLocks noGrp="1"/>
          </p:cNvSpPr>
          <p:nvPr>
            <p:ph type="subTitle" idx="2"/>
          </p:nvPr>
        </p:nvSpPr>
        <p:spPr>
          <a:xfrm>
            <a:off x="869701" y="3312167"/>
            <a:ext cx="2863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458" name="Google Shape;458;p51"/>
          <p:cNvSpPr txBox="1">
            <a:spLocks noGrp="1"/>
          </p:cNvSpPr>
          <p:nvPr>
            <p:ph type="subTitle" idx="3"/>
          </p:nvPr>
        </p:nvSpPr>
        <p:spPr>
          <a:xfrm>
            <a:off x="4628600" y="2381734"/>
            <a:ext cx="2940000" cy="897466"/>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20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2000"/>
              <a:buFont typeface="Arial"/>
              <a:buNone/>
              <a:defRPr sz="2664" b="1">
                <a:solidFill>
                  <a:schemeClr val="dk1"/>
                </a:solidFill>
              </a:defRPr>
            </a:lvl2pPr>
            <a:lvl3pPr lvl="2" algn="l">
              <a:lnSpc>
                <a:spcPct val="90000"/>
              </a:lnSpc>
              <a:spcBef>
                <a:spcPts val="0"/>
              </a:spcBef>
              <a:spcAft>
                <a:spcPts val="0"/>
              </a:spcAft>
              <a:buClr>
                <a:schemeClr val="dk1"/>
              </a:buClr>
              <a:buSzPts val="2000"/>
              <a:buFont typeface="Arial"/>
              <a:buNone/>
              <a:defRPr sz="2664" b="1">
                <a:solidFill>
                  <a:schemeClr val="dk1"/>
                </a:solidFill>
              </a:defRPr>
            </a:lvl3pPr>
            <a:lvl4pPr lvl="3" algn="l">
              <a:lnSpc>
                <a:spcPct val="90000"/>
              </a:lnSpc>
              <a:spcBef>
                <a:spcPts val="0"/>
              </a:spcBef>
              <a:spcAft>
                <a:spcPts val="0"/>
              </a:spcAft>
              <a:buClr>
                <a:schemeClr val="dk1"/>
              </a:buClr>
              <a:buSzPts val="2000"/>
              <a:buFont typeface="Arial"/>
              <a:buNone/>
              <a:defRPr sz="2664" b="1">
                <a:solidFill>
                  <a:schemeClr val="dk1"/>
                </a:solidFill>
              </a:defRPr>
            </a:lvl4pPr>
            <a:lvl5pPr lvl="4" algn="l">
              <a:lnSpc>
                <a:spcPct val="90000"/>
              </a:lnSpc>
              <a:spcBef>
                <a:spcPts val="0"/>
              </a:spcBef>
              <a:spcAft>
                <a:spcPts val="0"/>
              </a:spcAft>
              <a:buClr>
                <a:schemeClr val="dk1"/>
              </a:buClr>
              <a:buSzPts val="2000"/>
              <a:buFont typeface="Arial"/>
              <a:buNone/>
              <a:defRPr sz="2664" b="1">
                <a:solidFill>
                  <a:schemeClr val="dk1"/>
                </a:solidFill>
              </a:defRPr>
            </a:lvl5pPr>
            <a:lvl6pPr lvl="5" algn="l">
              <a:lnSpc>
                <a:spcPct val="90000"/>
              </a:lnSpc>
              <a:spcBef>
                <a:spcPts val="0"/>
              </a:spcBef>
              <a:spcAft>
                <a:spcPts val="0"/>
              </a:spcAft>
              <a:buClr>
                <a:schemeClr val="dk1"/>
              </a:buClr>
              <a:buSzPts val="2000"/>
              <a:buNone/>
              <a:defRPr sz="2664" b="1">
                <a:solidFill>
                  <a:schemeClr val="dk1"/>
                </a:solidFill>
              </a:defRPr>
            </a:lvl6pPr>
            <a:lvl7pPr lvl="6" algn="l">
              <a:lnSpc>
                <a:spcPct val="90000"/>
              </a:lnSpc>
              <a:spcBef>
                <a:spcPts val="0"/>
              </a:spcBef>
              <a:spcAft>
                <a:spcPts val="0"/>
              </a:spcAft>
              <a:buClr>
                <a:schemeClr val="dk1"/>
              </a:buClr>
              <a:buSzPts val="2000"/>
              <a:buNone/>
              <a:defRPr sz="2664" b="1">
                <a:solidFill>
                  <a:schemeClr val="dk1"/>
                </a:solidFill>
              </a:defRPr>
            </a:lvl7pPr>
            <a:lvl8pPr lvl="7" algn="l">
              <a:lnSpc>
                <a:spcPct val="90000"/>
              </a:lnSpc>
              <a:spcBef>
                <a:spcPts val="0"/>
              </a:spcBef>
              <a:spcAft>
                <a:spcPts val="0"/>
              </a:spcAft>
              <a:buClr>
                <a:schemeClr val="dk1"/>
              </a:buClr>
              <a:buSzPts val="2000"/>
              <a:buNone/>
              <a:defRPr sz="2664" b="1">
                <a:solidFill>
                  <a:schemeClr val="dk1"/>
                </a:solidFill>
              </a:defRPr>
            </a:lvl8pPr>
            <a:lvl9pPr lvl="8" algn="l">
              <a:lnSpc>
                <a:spcPct val="90000"/>
              </a:lnSpc>
              <a:spcBef>
                <a:spcPts val="0"/>
              </a:spcBef>
              <a:spcAft>
                <a:spcPts val="0"/>
              </a:spcAft>
              <a:buClr>
                <a:schemeClr val="dk1"/>
              </a:buClr>
              <a:buSzPts val="2000"/>
              <a:buNone/>
              <a:defRPr sz="2664" b="1">
                <a:solidFill>
                  <a:schemeClr val="dk1"/>
                </a:solidFill>
              </a:defRPr>
            </a:lvl9pPr>
          </a:lstStyle>
          <a:p>
            <a:endParaRPr/>
          </a:p>
        </p:txBody>
      </p:sp>
      <p:sp>
        <p:nvSpPr>
          <p:cNvPr id="459" name="Google Shape;459;p51"/>
          <p:cNvSpPr txBox="1">
            <a:spLocks noGrp="1"/>
          </p:cNvSpPr>
          <p:nvPr>
            <p:ph type="subTitle" idx="4"/>
          </p:nvPr>
        </p:nvSpPr>
        <p:spPr>
          <a:xfrm>
            <a:off x="4628597" y="3312167"/>
            <a:ext cx="29400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460" name="Google Shape;460;p51"/>
          <p:cNvSpPr txBox="1">
            <a:spLocks noGrp="1"/>
          </p:cNvSpPr>
          <p:nvPr>
            <p:ph type="subTitle" idx="5"/>
          </p:nvPr>
        </p:nvSpPr>
        <p:spPr>
          <a:xfrm>
            <a:off x="8384633" y="2381734"/>
            <a:ext cx="2863200" cy="897466"/>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20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2000"/>
              <a:buFont typeface="Arial"/>
              <a:buNone/>
              <a:defRPr sz="2664" b="1">
                <a:solidFill>
                  <a:schemeClr val="dk1"/>
                </a:solidFill>
              </a:defRPr>
            </a:lvl2pPr>
            <a:lvl3pPr lvl="2" algn="l">
              <a:lnSpc>
                <a:spcPct val="90000"/>
              </a:lnSpc>
              <a:spcBef>
                <a:spcPts val="0"/>
              </a:spcBef>
              <a:spcAft>
                <a:spcPts val="0"/>
              </a:spcAft>
              <a:buClr>
                <a:schemeClr val="dk1"/>
              </a:buClr>
              <a:buSzPts val="2000"/>
              <a:buFont typeface="Arial"/>
              <a:buNone/>
              <a:defRPr sz="2664" b="1">
                <a:solidFill>
                  <a:schemeClr val="dk1"/>
                </a:solidFill>
              </a:defRPr>
            </a:lvl3pPr>
            <a:lvl4pPr lvl="3" algn="l">
              <a:lnSpc>
                <a:spcPct val="90000"/>
              </a:lnSpc>
              <a:spcBef>
                <a:spcPts val="0"/>
              </a:spcBef>
              <a:spcAft>
                <a:spcPts val="0"/>
              </a:spcAft>
              <a:buClr>
                <a:schemeClr val="dk1"/>
              </a:buClr>
              <a:buSzPts val="2000"/>
              <a:buFont typeface="Arial"/>
              <a:buNone/>
              <a:defRPr sz="2664" b="1">
                <a:solidFill>
                  <a:schemeClr val="dk1"/>
                </a:solidFill>
              </a:defRPr>
            </a:lvl4pPr>
            <a:lvl5pPr lvl="4" algn="l">
              <a:lnSpc>
                <a:spcPct val="90000"/>
              </a:lnSpc>
              <a:spcBef>
                <a:spcPts val="0"/>
              </a:spcBef>
              <a:spcAft>
                <a:spcPts val="0"/>
              </a:spcAft>
              <a:buClr>
                <a:schemeClr val="dk1"/>
              </a:buClr>
              <a:buSzPts val="2000"/>
              <a:buFont typeface="Arial"/>
              <a:buNone/>
              <a:defRPr sz="2664" b="1">
                <a:solidFill>
                  <a:schemeClr val="dk1"/>
                </a:solidFill>
              </a:defRPr>
            </a:lvl5pPr>
            <a:lvl6pPr lvl="5" algn="l">
              <a:lnSpc>
                <a:spcPct val="90000"/>
              </a:lnSpc>
              <a:spcBef>
                <a:spcPts val="0"/>
              </a:spcBef>
              <a:spcAft>
                <a:spcPts val="0"/>
              </a:spcAft>
              <a:buClr>
                <a:schemeClr val="dk1"/>
              </a:buClr>
              <a:buSzPts val="2000"/>
              <a:buNone/>
              <a:defRPr sz="2664" b="1">
                <a:solidFill>
                  <a:schemeClr val="dk1"/>
                </a:solidFill>
              </a:defRPr>
            </a:lvl6pPr>
            <a:lvl7pPr lvl="6" algn="l">
              <a:lnSpc>
                <a:spcPct val="90000"/>
              </a:lnSpc>
              <a:spcBef>
                <a:spcPts val="0"/>
              </a:spcBef>
              <a:spcAft>
                <a:spcPts val="0"/>
              </a:spcAft>
              <a:buClr>
                <a:schemeClr val="dk1"/>
              </a:buClr>
              <a:buSzPts val="2000"/>
              <a:buNone/>
              <a:defRPr sz="2664" b="1">
                <a:solidFill>
                  <a:schemeClr val="dk1"/>
                </a:solidFill>
              </a:defRPr>
            </a:lvl7pPr>
            <a:lvl8pPr lvl="7" algn="l">
              <a:lnSpc>
                <a:spcPct val="90000"/>
              </a:lnSpc>
              <a:spcBef>
                <a:spcPts val="0"/>
              </a:spcBef>
              <a:spcAft>
                <a:spcPts val="0"/>
              </a:spcAft>
              <a:buClr>
                <a:schemeClr val="dk1"/>
              </a:buClr>
              <a:buSzPts val="2000"/>
              <a:buNone/>
              <a:defRPr sz="2664" b="1">
                <a:solidFill>
                  <a:schemeClr val="dk1"/>
                </a:solidFill>
              </a:defRPr>
            </a:lvl8pPr>
            <a:lvl9pPr lvl="8" algn="l">
              <a:lnSpc>
                <a:spcPct val="90000"/>
              </a:lnSpc>
              <a:spcBef>
                <a:spcPts val="0"/>
              </a:spcBef>
              <a:spcAft>
                <a:spcPts val="0"/>
              </a:spcAft>
              <a:buClr>
                <a:schemeClr val="dk1"/>
              </a:buClr>
              <a:buSzPts val="2000"/>
              <a:buNone/>
              <a:defRPr sz="2664" b="1">
                <a:solidFill>
                  <a:schemeClr val="dk1"/>
                </a:solidFill>
              </a:defRPr>
            </a:lvl9pPr>
          </a:lstStyle>
          <a:p>
            <a:endParaRPr/>
          </a:p>
        </p:txBody>
      </p:sp>
      <p:sp>
        <p:nvSpPr>
          <p:cNvPr id="461" name="Google Shape;461;p51"/>
          <p:cNvSpPr txBox="1">
            <a:spLocks noGrp="1"/>
          </p:cNvSpPr>
          <p:nvPr>
            <p:ph type="subTitle" idx="6"/>
          </p:nvPr>
        </p:nvSpPr>
        <p:spPr>
          <a:xfrm>
            <a:off x="8384635" y="3312167"/>
            <a:ext cx="2863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Tree>
    <p:extLst>
      <p:ext uri="{BB962C8B-B14F-4D97-AF65-F5344CB8AC3E}">
        <p14:creationId xmlns:p14="http://schemas.microsoft.com/office/powerpoint/2010/main" val="796446452"/>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matchingName="47. Two photos, two statements 1">
  <p:cSld name="47. Two photos, two statements 1">
    <p:spTree>
      <p:nvGrpSpPr>
        <p:cNvPr id="1" name="Shape 462"/>
        <p:cNvGrpSpPr/>
        <p:nvPr/>
      </p:nvGrpSpPr>
      <p:grpSpPr>
        <a:xfrm>
          <a:off x="0" y="0"/>
          <a:ext cx="0" cy="0"/>
          <a:chOff x="0" y="0"/>
          <a:chExt cx="0" cy="0"/>
        </a:xfrm>
      </p:grpSpPr>
      <p:sp>
        <p:nvSpPr>
          <p:cNvPr id="463" name="Google Shape;463;p52"/>
          <p:cNvSpPr txBox="1">
            <a:spLocks noGrp="1"/>
          </p:cNvSpPr>
          <p:nvPr>
            <p:ph type="title"/>
          </p:nvPr>
        </p:nvSpPr>
        <p:spPr>
          <a:xfrm>
            <a:off x="663772" y="2848001"/>
            <a:ext cx="3930800" cy="1162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464" name="Google Shape;464;p52"/>
          <p:cNvSpPr/>
          <p:nvPr/>
        </p:nvSpPr>
        <p:spPr>
          <a:xfrm>
            <a:off x="8607612" y="642938"/>
            <a:ext cx="2972000" cy="2514400"/>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i="0" u="none" strike="noStrike" cap="none">
              <a:solidFill>
                <a:schemeClr val="dk1"/>
              </a:solidFill>
              <a:latin typeface="Calibri"/>
              <a:ea typeface="Calibri"/>
              <a:cs typeface="Calibri"/>
              <a:sym typeface="Calibri"/>
            </a:endParaRPr>
          </a:p>
        </p:txBody>
      </p:sp>
      <p:sp>
        <p:nvSpPr>
          <p:cNvPr id="465" name="Google Shape;465;p52"/>
          <p:cNvSpPr/>
          <p:nvPr/>
        </p:nvSpPr>
        <p:spPr>
          <a:xfrm>
            <a:off x="8607612" y="3461790"/>
            <a:ext cx="2972000" cy="2514400"/>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i="0" u="none" strike="noStrike" cap="none">
              <a:solidFill>
                <a:schemeClr val="dk1"/>
              </a:solidFill>
              <a:latin typeface="Calibri"/>
              <a:ea typeface="Calibri"/>
              <a:cs typeface="Calibri"/>
              <a:sym typeface="Calibri"/>
            </a:endParaRPr>
          </a:p>
        </p:txBody>
      </p:sp>
      <p:sp>
        <p:nvSpPr>
          <p:cNvPr id="466" name="Google Shape;466;p52"/>
          <p:cNvSpPr txBox="1">
            <a:spLocks noGrp="1"/>
          </p:cNvSpPr>
          <p:nvPr>
            <p:ph type="subTitle" idx="1"/>
          </p:nvPr>
        </p:nvSpPr>
        <p:spPr>
          <a:xfrm>
            <a:off x="8821500" y="778668"/>
            <a:ext cx="2340800" cy="1058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67" name="Google Shape;467;p52"/>
          <p:cNvSpPr txBox="1">
            <a:spLocks noGrp="1"/>
          </p:cNvSpPr>
          <p:nvPr>
            <p:ph type="subTitle" idx="2"/>
          </p:nvPr>
        </p:nvSpPr>
        <p:spPr>
          <a:xfrm>
            <a:off x="8821496" y="1836260"/>
            <a:ext cx="23408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468" name="Google Shape;468;p52"/>
          <p:cNvSpPr txBox="1">
            <a:spLocks noGrp="1"/>
          </p:cNvSpPr>
          <p:nvPr>
            <p:ph type="subTitle" idx="3"/>
          </p:nvPr>
        </p:nvSpPr>
        <p:spPr>
          <a:xfrm>
            <a:off x="8821500" y="3720323"/>
            <a:ext cx="2340800" cy="997238"/>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69" name="Google Shape;469;p52"/>
          <p:cNvSpPr txBox="1">
            <a:spLocks noGrp="1"/>
          </p:cNvSpPr>
          <p:nvPr>
            <p:ph type="subTitle" idx="4"/>
          </p:nvPr>
        </p:nvSpPr>
        <p:spPr>
          <a:xfrm>
            <a:off x="8821496" y="4717561"/>
            <a:ext cx="23408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470" name="Google Shape;470;p52"/>
          <p:cNvSpPr/>
          <p:nvPr/>
        </p:nvSpPr>
        <p:spPr>
          <a:xfrm>
            <a:off x="5337979" y="642938"/>
            <a:ext cx="2972000" cy="2514400"/>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i="0" u="none" strike="noStrike" cap="none">
              <a:solidFill>
                <a:schemeClr val="dk1"/>
              </a:solidFill>
              <a:latin typeface="Calibri"/>
              <a:ea typeface="Calibri"/>
              <a:cs typeface="Calibri"/>
              <a:sym typeface="Calibri"/>
            </a:endParaRPr>
          </a:p>
        </p:txBody>
      </p:sp>
      <p:sp>
        <p:nvSpPr>
          <p:cNvPr id="471" name="Google Shape;471;p52"/>
          <p:cNvSpPr/>
          <p:nvPr/>
        </p:nvSpPr>
        <p:spPr>
          <a:xfrm>
            <a:off x="5337979" y="3461790"/>
            <a:ext cx="2972000" cy="2514400"/>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i="0" u="none" strike="noStrike" cap="none">
              <a:solidFill>
                <a:schemeClr val="dk1"/>
              </a:solidFill>
              <a:latin typeface="Calibri"/>
              <a:ea typeface="Calibri"/>
              <a:cs typeface="Calibri"/>
              <a:sym typeface="Calibri"/>
            </a:endParaRPr>
          </a:p>
        </p:txBody>
      </p:sp>
      <p:sp>
        <p:nvSpPr>
          <p:cNvPr id="472" name="Google Shape;472;p52"/>
          <p:cNvSpPr txBox="1">
            <a:spLocks noGrp="1"/>
          </p:cNvSpPr>
          <p:nvPr>
            <p:ph type="subTitle" idx="5"/>
          </p:nvPr>
        </p:nvSpPr>
        <p:spPr>
          <a:xfrm>
            <a:off x="5551867" y="778668"/>
            <a:ext cx="2340800" cy="1058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73" name="Google Shape;473;p52"/>
          <p:cNvSpPr txBox="1">
            <a:spLocks noGrp="1"/>
          </p:cNvSpPr>
          <p:nvPr>
            <p:ph type="subTitle" idx="6"/>
          </p:nvPr>
        </p:nvSpPr>
        <p:spPr>
          <a:xfrm>
            <a:off x="5551863" y="1836260"/>
            <a:ext cx="23408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474" name="Google Shape;474;p52"/>
          <p:cNvSpPr txBox="1">
            <a:spLocks noGrp="1"/>
          </p:cNvSpPr>
          <p:nvPr>
            <p:ph type="subTitle" idx="7"/>
          </p:nvPr>
        </p:nvSpPr>
        <p:spPr>
          <a:xfrm>
            <a:off x="5551867" y="3720323"/>
            <a:ext cx="2340800" cy="997238"/>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75" name="Google Shape;475;p52"/>
          <p:cNvSpPr txBox="1">
            <a:spLocks noGrp="1"/>
          </p:cNvSpPr>
          <p:nvPr>
            <p:ph type="subTitle" idx="8"/>
          </p:nvPr>
        </p:nvSpPr>
        <p:spPr>
          <a:xfrm>
            <a:off x="5551863" y="4717561"/>
            <a:ext cx="23408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476" name="Google Shape;476;p52"/>
          <p:cNvSpPr/>
          <p:nvPr/>
        </p:nvSpPr>
        <p:spPr>
          <a:xfrm rot="-5400000" flipH="1">
            <a:off x="4881068" y="1358110"/>
            <a:ext cx="914400" cy="24400"/>
          </a:xfrm>
          <a:prstGeom prst="roundRect">
            <a:avLst>
              <a:gd name="adj" fmla="val 50000"/>
            </a:avLst>
          </a:prstGeom>
          <a:gradFill>
            <a:gsLst>
              <a:gs pos="0">
                <a:srgbClr val="A371F7"/>
              </a:gs>
              <a:gs pos="100000">
                <a:srgbClr val="DB61A2"/>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477" name="Google Shape;477;p52"/>
          <p:cNvSpPr/>
          <p:nvPr/>
        </p:nvSpPr>
        <p:spPr>
          <a:xfrm rot="5400000">
            <a:off x="4881069" y="4165324"/>
            <a:ext cx="914400" cy="24400"/>
          </a:xfrm>
          <a:prstGeom prst="roundRect">
            <a:avLst>
              <a:gd name="adj" fmla="val 50000"/>
            </a:avLst>
          </a:prstGeom>
          <a:gradFill>
            <a:gsLst>
              <a:gs pos="0">
                <a:srgbClr val="57CCC5"/>
              </a:gs>
              <a:gs pos="100000">
                <a:srgbClr val="388BFD"/>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478" name="Google Shape;478;p52"/>
          <p:cNvSpPr/>
          <p:nvPr/>
        </p:nvSpPr>
        <p:spPr>
          <a:xfrm rot="-5400000">
            <a:off x="8149195" y="4165324"/>
            <a:ext cx="914400" cy="24400"/>
          </a:xfrm>
          <a:prstGeom prst="roundRect">
            <a:avLst>
              <a:gd name="adj" fmla="val 50000"/>
            </a:avLst>
          </a:prstGeom>
          <a:gradFill>
            <a:gsLst>
              <a:gs pos="0">
                <a:srgbClr val="57CCC5"/>
              </a:gs>
              <a:gs pos="100000">
                <a:srgbClr val="56D364"/>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479" name="Google Shape;479;p52"/>
          <p:cNvSpPr/>
          <p:nvPr/>
        </p:nvSpPr>
        <p:spPr>
          <a:xfrm rot="5400000" flipH="1">
            <a:off x="8149195" y="1358110"/>
            <a:ext cx="914400" cy="24400"/>
          </a:xfrm>
          <a:prstGeom prst="roundRect">
            <a:avLst>
              <a:gd name="adj" fmla="val 50000"/>
            </a:avLst>
          </a:prstGeom>
          <a:gradFill>
            <a:gsLst>
              <a:gs pos="0">
                <a:srgbClr val="797EF9"/>
              </a:gs>
              <a:gs pos="100000">
                <a:srgbClr val="A371F7"/>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29554348"/>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matchingName="48. Two photos, two statements">
  <p:cSld name="48. Two photos, two statements">
    <p:spTree>
      <p:nvGrpSpPr>
        <p:cNvPr id="1" name="Shape 480"/>
        <p:cNvGrpSpPr/>
        <p:nvPr/>
      </p:nvGrpSpPr>
      <p:grpSpPr>
        <a:xfrm>
          <a:off x="0" y="0"/>
          <a:ext cx="0" cy="0"/>
          <a:chOff x="0" y="0"/>
          <a:chExt cx="0" cy="0"/>
        </a:xfrm>
      </p:grpSpPr>
      <p:pic>
        <p:nvPicPr>
          <p:cNvPr id="481" name="Google Shape;481;p53"/>
          <p:cNvPicPr preferRelativeResize="0"/>
          <p:nvPr/>
        </p:nvPicPr>
        <p:blipFill rotWithShape="1">
          <a:blip r:embed="rId2">
            <a:alphaModFix/>
          </a:blip>
          <a:srcRect/>
          <a:stretch/>
        </p:blipFill>
        <p:spPr>
          <a:xfrm>
            <a:off x="-274593" y="-1734700"/>
            <a:ext cx="6858000" cy="6858000"/>
          </a:xfrm>
          <a:prstGeom prst="rect">
            <a:avLst/>
          </a:prstGeom>
          <a:noFill/>
          <a:ln>
            <a:noFill/>
          </a:ln>
        </p:spPr>
      </p:pic>
      <p:sp>
        <p:nvSpPr>
          <p:cNvPr id="482" name="Google Shape;482;p53"/>
          <p:cNvSpPr>
            <a:spLocks noGrp="1"/>
          </p:cNvSpPr>
          <p:nvPr>
            <p:ph type="pic" idx="2"/>
          </p:nvPr>
        </p:nvSpPr>
        <p:spPr>
          <a:xfrm>
            <a:off x="2956112" y="3442658"/>
            <a:ext cx="2971800" cy="2514599"/>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sy="-100000" algn="bl" rotWithShape="0"/>
          </a:effectLst>
        </p:spPr>
      </p:sp>
      <p:sp>
        <p:nvSpPr>
          <p:cNvPr id="483" name="Google Shape;483;p53"/>
          <p:cNvSpPr>
            <a:spLocks noGrp="1"/>
          </p:cNvSpPr>
          <p:nvPr>
            <p:ph type="pic" idx="3"/>
          </p:nvPr>
        </p:nvSpPr>
        <p:spPr>
          <a:xfrm>
            <a:off x="2956112" y="642938"/>
            <a:ext cx="2971800" cy="2514599"/>
          </a:xfrm>
          <a:prstGeom prst="roundRect">
            <a:avLst>
              <a:gd name="adj" fmla="val 4636"/>
            </a:avLst>
          </a:prstGeom>
          <a:solidFill>
            <a:srgbClr val="0A0C10"/>
          </a:solidFill>
          <a:ln w="9525" cap="flat" cmpd="sng">
            <a:solidFill>
              <a:srgbClr val="21262D"/>
            </a:solidFill>
            <a:prstDash val="solid"/>
            <a:round/>
            <a:headEnd type="none" w="sm" len="sm"/>
            <a:tailEnd type="none" w="sm" len="sm"/>
          </a:ln>
        </p:spPr>
      </p:sp>
      <p:sp>
        <p:nvSpPr>
          <p:cNvPr id="484" name="Google Shape;484;p53"/>
          <p:cNvSpPr/>
          <p:nvPr/>
        </p:nvSpPr>
        <p:spPr>
          <a:xfrm>
            <a:off x="6270812" y="642938"/>
            <a:ext cx="2971800" cy="2514599"/>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i="0" u="none" strike="noStrike" cap="none">
              <a:solidFill>
                <a:schemeClr val="dk1"/>
              </a:solidFill>
              <a:latin typeface="Calibri"/>
              <a:ea typeface="Calibri"/>
              <a:cs typeface="Calibri"/>
              <a:sym typeface="Calibri"/>
            </a:endParaRPr>
          </a:p>
        </p:txBody>
      </p:sp>
      <p:sp>
        <p:nvSpPr>
          <p:cNvPr id="485" name="Google Shape;485;p53"/>
          <p:cNvSpPr/>
          <p:nvPr/>
        </p:nvSpPr>
        <p:spPr>
          <a:xfrm>
            <a:off x="6270812" y="3461791"/>
            <a:ext cx="2971800" cy="2514599"/>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i="0" u="none" strike="noStrike" cap="none">
              <a:solidFill>
                <a:schemeClr val="dk1"/>
              </a:solidFill>
              <a:latin typeface="Calibri"/>
              <a:ea typeface="Calibri"/>
              <a:cs typeface="Calibri"/>
              <a:sym typeface="Calibri"/>
            </a:endParaRPr>
          </a:p>
        </p:txBody>
      </p:sp>
      <p:sp>
        <p:nvSpPr>
          <p:cNvPr id="486" name="Google Shape;486;p53"/>
          <p:cNvSpPr txBox="1">
            <a:spLocks noGrp="1"/>
          </p:cNvSpPr>
          <p:nvPr>
            <p:ph type="subTitle" idx="1"/>
          </p:nvPr>
        </p:nvSpPr>
        <p:spPr>
          <a:xfrm>
            <a:off x="6408505" y="880267"/>
            <a:ext cx="2583200" cy="752795"/>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87" name="Google Shape;487;p53"/>
          <p:cNvSpPr txBox="1">
            <a:spLocks noGrp="1"/>
          </p:cNvSpPr>
          <p:nvPr>
            <p:ph type="subTitle" idx="4"/>
          </p:nvPr>
        </p:nvSpPr>
        <p:spPr>
          <a:xfrm>
            <a:off x="6408500" y="1633062"/>
            <a:ext cx="2583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488" name="Google Shape;488;p53"/>
          <p:cNvSpPr txBox="1">
            <a:spLocks noGrp="1"/>
          </p:cNvSpPr>
          <p:nvPr>
            <p:ph type="subTitle" idx="5"/>
          </p:nvPr>
        </p:nvSpPr>
        <p:spPr>
          <a:xfrm>
            <a:off x="6408505" y="3720328"/>
            <a:ext cx="2583200" cy="794038"/>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89" name="Google Shape;489;p53"/>
          <p:cNvSpPr txBox="1">
            <a:spLocks noGrp="1"/>
          </p:cNvSpPr>
          <p:nvPr>
            <p:ph type="subTitle" idx="6"/>
          </p:nvPr>
        </p:nvSpPr>
        <p:spPr>
          <a:xfrm>
            <a:off x="6408500" y="4514365"/>
            <a:ext cx="2583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490" name="Google Shape;490;p53"/>
          <p:cNvSpPr/>
          <p:nvPr/>
        </p:nvSpPr>
        <p:spPr>
          <a:xfrm rot="-5400000" flipH="1">
            <a:off x="5812601" y="1325276"/>
            <a:ext cx="914400" cy="24400"/>
          </a:xfrm>
          <a:prstGeom prst="roundRect">
            <a:avLst>
              <a:gd name="adj" fmla="val 50000"/>
            </a:avLst>
          </a:prstGeom>
          <a:gradFill>
            <a:gsLst>
              <a:gs pos="0">
                <a:srgbClr val="A371F7"/>
              </a:gs>
              <a:gs pos="100000">
                <a:srgbClr val="DB61A2"/>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491" name="Google Shape;491;p53"/>
          <p:cNvSpPr/>
          <p:nvPr/>
        </p:nvSpPr>
        <p:spPr>
          <a:xfrm rot="5400000">
            <a:off x="5812603" y="4132491"/>
            <a:ext cx="914400" cy="24400"/>
          </a:xfrm>
          <a:prstGeom prst="roundRect">
            <a:avLst>
              <a:gd name="adj" fmla="val 50000"/>
            </a:avLst>
          </a:prstGeom>
          <a:gradFill>
            <a:gsLst>
              <a:gs pos="0">
                <a:srgbClr val="57CCC5"/>
              </a:gs>
              <a:gs pos="100000">
                <a:srgbClr val="388BFD"/>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32139038"/>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matchingName="49. One photo, one statement with title">
  <p:cSld name="49. One photo, one statement with title">
    <p:spTree>
      <p:nvGrpSpPr>
        <p:cNvPr id="1" name="Shape 492"/>
        <p:cNvGrpSpPr/>
        <p:nvPr/>
      </p:nvGrpSpPr>
      <p:grpSpPr>
        <a:xfrm>
          <a:off x="0" y="0"/>
          <a:ext cx="0" cy="0"/>
          <a:chOff x="0" y="0"/>
          <a:chExt cx="0" cy="0"/>
        </a:xfrm>
      </p:grpSpPr>
      <p:pic>
        <p:nvPicPr>
          <p:cNvPr id="493" name="Google Shape;493;p54"/>
          <p:cNvPicPr preferRelativeResize="0"/>
          <p:nvPr/>
        </p:nvPicPr>
        <p:blipFill rotWithShape="1">
          <a:blip r:embed="rId2">
            <a:alphaModFix/>
          </a:blip>
          <a:srcRect/>
          <a:stretch/>
        </p:blipFill>
        <p:spPr>
          <a:xfrm>
            <a:off x="2523951" y="-978108"/>
            <a:ext cx="6858000" cy="6858000"/>
          </a:xfrm>
          <a:prstGeom prst="rect">
            <a:avLst/>
          </a:prstGeom>
          <a:noFill/>
          <a:ln>
            <a:noFill/>
          </a:ln>
        </p:spPr>
      </p:pic>
      <p:sp>
        <p:nvSpPr>
          <p:cNvPr id="494" name="Google Shape;494;p54"/>
          <p:cNvSpPr>
            <a:spLocks noGrp="1"/>
          </p:cNvSpPr>
          <p:nvPr>
            <p:ph type="pic" idx="2"/>
          </p:nvPr>
        </p:nvSpPr>
        <p:spPr>
          <a:xfrm>
            <a:off x="684860" y="914401"/>
            <a:ext cx="5943600" cy="5029200"/>
          </a:xfrm>
          <a:prstGeom prst="roundRect">
            <a:avLst>
              <a:gd name="adj" fmla="val 2522"/>
            </a:avLst>
          </a:prstGeom>
          <a:solidFill>
            <a:srgbClr val="090C0F"/>
          </a:solidFill>
          <a:ln w="9525" cap="flat" cmpd="sng">
            <a:solidFill>
              <a:srgbClr val="21262D"/>
            </a:solidFill>
            <a:prstDash val="solid"/>
            <a:round/>
            <a:headEnd type="none" w="sm" len="sm"/>
            <a:tailEnd type="none" w="sm" len="sm"/>
          </a:ln>
          <a:effectLst>
            <a:reflection stA="20000" endPos="25000" dist="50800" dir="5400000" fadeDir="5400012" sy="-100000" algn="bl" rotWithShape="0"/>
          </a:effectLst>
        </p:spPr>
      </p:sp>
      <p:sp>
        <p:nvSpPr>
          <p:cNvPr id="495" name="Google Shape;495;p54"/>
          <p:cNvSpPr txBox="1">
            <a:spLocks noGrp="1"/>
          </p:cNvSpPr>
          <p:nvPr>
            <p:ph type="subTitle" idx="1"/>
          </p:nvPr>
        </p:nvSpPr>
        <p:spPr>
          <a:xfrm>
            <a:off x="7124200" y="33528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496" name="Google Shape;496;p54"/>
          <p:cNvSpPr txBox="1">
            <a:spLocks noGrp="1"/>
          </p:cNvSpPr>
          <p:nvPr>
            <p:ph type="title"/>
          </p:nvPr>
        </p:nvSpPr>
        <p:spPr>
          <a:xfrm>
            <a:off x="7124201" y="2117435"/>
            <a:ext cx="4597200" cy="1162000"/>
          </a:xfrm>
          <a:prstGeom prst="rect">
            <a:avLst/>
          </a:prstGeom>
          <a:noFill/>
          <a:ln>
            <a:noFill/>
          </a:ln>
        </p:spPr>
        <p:txBody>
          <a:bodyPr spcFirstLastPara="1" wrap="square" lIns="34275" tIns="17150" rIns="34275" bIns="17150" anchor="b"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9pPr>
          </a:lstStyle>
          <a:p>
            <a:endParaRPr/>
          </a:p>
        </p:txBody>
      </p:sp>
      <p:sp>
        <p:nvSpPr>
          <p:cNvPr id="497" name="Google Shape;497;p54"/>
          <p:cNvSpPr txBox="1">
            <a:spLocks noGrp="1"/>
          </p:cNvSpPr>
          <p:nvPr>
            <p:ph type="subTitle" idx="3"/>
          </p:nvPr>
        </p:nvSpPr>
        <p:spPr>
          <a:xfrm>
            <a:off x="7124200" y="37719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Tree>
    <p:extLst>
      <p:ext uri="{BB962C8B-B14F-4D97-AF65-F5344CB8AC3E}">
        <p14:creationId xmlns:p14="http://schemas.microsoft.com/office/powerpoint/2010/main" val="3479325725"/>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matchingName="50. One photo, one statement with large title">
  <p:cSld name="50. One photo, one statement with large title">
    <p:spTree>
      <p:nvGrpSpPr>
        <p:cNvPr id="1" name="Shape 498"/>
        <p:cNvGrpSpPr/>
        <p:nvPr/>
      </p:nvGrpSpPr>
      <p:grpSpPr>
        <a:xfrm>
          <a:off x="0" y="0"/>
          <a:ext cx="0" cy="0"/>
          <a:chOff x="0" y="0"/>
          <a:chExt cx="0" cy="0"/>
        </a:xfrm>
      </p:grpSpPr>
      <p:pic>
        <p:nvPicPr>
          <p:cNvPr id="499" name="Google Shape;499;p55"/>
          <p:cNvPicPr preferRelativeResize="0"/>
          <p:nvPr/>
        </p:nvPicPr>
        <p:blipFill rotWithShape="1">
          <a:blip r:embed="rId2">
            <a:alphaModFix/>
          </a:blip>
          <a:srcRect/>
          <a:stretch/>
        </p:blipFill>
        <p:spPr>
          <a:xfrm>
            <a:off x="6130707" y="-1503532"/>
            <a:ext cx="6858000" cy="6858000"/>
          </a:xfrm>
          <a:prstGeom prst="rect">
            <a:avLst/>
          </a:prstGeom>
          <a:noFill/>
          <a:ln>
            <a:noFill/>
          </a:ln>
        </p:spPr>
      </p:pic>
      <p:sp>
        <p:nvSpPr>
          <p:cNvPr id="500" name="Google Shape;500;p55"/>
          <p:cNvSpPr txBox="1">
            <a:spLocks noGrp="1"/>
          </p:cNvSpPr>
          <p:nvPr>
            <p:ph type="subTitle" idx="1"/>
          </p:nvPr>
        </p:nvSpPr>
        <p:spPr>
          <a:xfrm>
            <a:off x="456700" y="33528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01" name="Google Shape;501;p55"/>
          <p:cNvSpPr txBox="1">
            <a:spLocks noGrp="1"/>
          </p:cNvSpPr>
          <p:nvPr>
            <p:ph type="title"/>
          </p:nvPr>
        </p:nvSpPr>
        <p:spPr>
          <a:xfrm>
            <a:off x="456700" y="2117435"/>
            <a:ext cx="4597200" cy="1162000"/>
          </a:xfrm>
          <a:prstGeom prst="rect">
            <a:avLst/>
          </a:prstGeom>
          <a:noFill/>
          <a:ln>
            <a:noFill/>
          </a:ln>
        </p:spPr>
        <p:txBody>
          <a:bodyPr spcFirstLastPara="1" wrap="square" lIns="34275" tIns="17150" rIns="34275" bIns="17150" anchor="b"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9pPr>
          </a:lstStyle>
          <a:p>
            <a:endParaRPr/>
          </a:p>
        </p:txBody>
      </p:sp>
      <p:sp>
        <p:nvSpPr>
          <p:cNvPr id="502" name="Google Shape;502;p55"/>
          <p:cNvSpPr txBox="1">
            <a:spLocks noGrp="1"/>
          </p:cNvSpPr>
          <p:nvPr>
            <p:ph type="subTitle" idx="2"/>
          </p:nvPr>
        </p:nvSpPr>
        <p:spPr>
          <a:xfrm>
            <a:off x="456700" y="37719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03" name="Google Shape;503;p55"/>
          <p:cNvSpPr>
            <a:spLocks noGrp="1"/>
          </p:cNvSpPr>
          <p:nvPr>
            <p:ph type="pic" idx="3"/>
          </p:nvPr>
        </p:nvSpPr>
        <p:spPr>
          <a:xfrm>
            <a:off x="5426193" y="914401"/>
            <a:ext cx="5943600" cy="5029200"/>
          </a:xfrm>
          <a:prstGeom prst="roundRect">
            <a:avLst>
              <a:gd name="adj" fmla="val 2522"/>
            </a:avLst>
          </a:prstGeom>
          <a:solidFill>
            <a:srgbClr val="090C0F"/>
          </a:solidFill>
          <a:ln w="9525" cap="flat" cmpd="sng">
            <a:solidFill>
              <a:srgbClr val="21262D"/>
            </a:solidFill>
            <a:prstDash val="solid"/>
            <a:round/>
            <a:headEnd type="none" w="sm" len="sm"/>
            <a:tailEnd type="none" w="sm" len="sm"/>
          </a:ln>
          <a:effectLst>
            <a:reflection stA="20000" endPos="25000" dist="50800" dir="5400000" sy="-100000" algn="bl" rotWithShape="0"/>
          </a:effectLst>
        </p:spPr>
      </p:sp>
    </p:spTree>
    <p:extLst>
      <p:ext uri="{BB962C8B-B14F-4D97-AF65-F5344CB8AC3E}">
        <p14:creationId xmlns:p14="http://schemas.microsoft.com/office/powerpoint/2010/main" val="2393625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a:srcRect l="22384" r="10867"/>
          <a:stretch/>
        </p:blipFill>
        <p:spPr bwMode="ltGray">
          <a:xfrm>
            <a:off x="5334000" y="0"/>
            <a:ext cx="6858000" cy="6858000"/>
          </a:xfrm>
          <a:prstGeom prst="rect">
            <a:avLst/>
          </a:prstGeom>
        </p:spPr>
      </p:pic>
    </p:spTree>
    <p:extLst>
      <p:ext uri="{BB962C8B-B14F-4D97-AF65-F5344CB8AC3E}">
        <p14:creationId xmlns:p14="http://schemas.microsoft.com/office/powerpoint/2010/main" val="22415836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matchingName="51. One photo, two statements">
  <p:cSld name="51. One photo, two statements">
    <p:spTree>
      <p:nvGrpSpPr>
        <p:cNvPr id="1" name="Shape 504"/>
        <p:cNvGrpSpPr/>
        <p:nvPr/>
      </p:nvGrpSpPr>
      <p:grpSpPr>
        <a:xfrm>
          <a:off x="0" y="0"/>
          <a:ext cx="0" cy="0"/>
          <a:chOff x="0" y="0"/>
          <a:chExt cx="0" cy="0"/>
        </a:xfrm>
      </p:grpSpPr>
      <p:pic>
        <p:nvPicPr>
          <p:cNvPr id="505" name="Google Shape;505;p56"/>
          <p:cNvPicPr preferRelativeResize="0"/>
          <p:nvPr/>
        </p:nvPicPr>
        <p:blipFill rotWithShape="1">
          <a:blip r:embed="rId2">
            <a:alphaModFix/>
          </a:blip>
          <a:srcRect/>
          <a:stretch/>
        </p:blipFill>
        <p:spPr>
          <a:xfrm>
            <a:off x="2523951" y="-914399"/>
            <a:ext cx="6858000" cy="6858000"/>
          </a:xfrm>
          <a:prstGeom prst="rect">
            <a:avLst/>
          </a:prstGeom>
          <a:noFill/>
          <a:ln>
            <a:noFill/>
          </a:ln>
        </p:spPr>
      </p:pic>
      <p:sp>
        <p:nvSpPr>
          <p:cNvPr id="506" name="Google Shape;506;p56"/>
          <p:cNvSpPr/>
          <p:nvPr/>
        </p:nvSpPr>
        <p:spPr>
          <a:xfrm>
            <a:off x="7725577" y="1041321"/>
            <a:ext cx="723200" cy="728001"/>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507" name="Google Shape;507;p56"/>
          <p:cNvSpPr/>
          <p:nvPr/>
        </p:nvSpPr>
        <p:spPr>
          <a:xfrm>
            <a:off x="7725604" y="3578974"/>
            <a:ext cx="723200" cy="728001"/>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508" name="Google Shape;508;p56"/>
          <p:cNvSpPr>
            <a:spLocks noGrp="1"/>
          </p:cNvSpPr>
          <p:nvPr>
            <p:ph type="pic" idx="2"/>
          </p:nvPr>
        </p:nvSpPr>
        <p:spPr>
          <a:xfrm>
            <a:off x="684860" y="914401"/>
            <a:ext cx="5943600" cy="5029200"/>
          </a:xfrm>
          <a:prstGeom prst="roundRect">
            <a:avLst>
              <a:gd name="adj" fmla="val 2522"/>
            </a:avLst>
          </a:prstGeom>
          <a:solidFill>
            <a:srgbClr val="090C0F"/>
          </a:solidFill>
          <a:ln w="9525" cap="flat" cmpd="sng">
            <a:solidFill>
              <a:srgbClr val="21262D"/>
            </a:solidFill>
            <a:prstDash val="solid"/>
            <a:round/>
            <a:headEnd type="none" w="sm" len="sm"/>
            <a:tailEnd type="none" w="sm" len="sm"/>
          </a:ln>
          <a:effectLst>
            <a:reflection stA="20000" endPos="25000" dist="50800" dir="5400000" sy="-100000" algn="bl" rotWithShape="0"/>
          </a:effectLst>
        </p:spPr>
      </p:sp>
      <p:sp>
        <p:nvSpPr>
          <p:cNvPr id="509" name="Google Shape;509;p56"/>
          <p:cNvSpPr txBox="1">
            <a:spLocks noGrp="1"/>
          </p:cNvSpPr>
          <p:nvPr>
            <p:ph type="subTitle" idx="1"/>
          </p:nvPr>
        </p:nvSpPr>
        <p:spPr>
          <a:xfrm>
            <a:off x="7632192" y="1932748"/>
            <a:ext cx="3998800" cy="490647"/>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10" name="Google Shape;510;p56"/>
          <p:cNvSpPr txBox="1">
            <a:spLocks noGrp="1"/>
          </p:cNvSpPr>
          <p:nvPr>
            <p:ph type="subTitle" idx="3"/>
          </p:nvPr>
        </p:nvSpPr>
        <p:spPr>
          <a:xfrm>
            <a:off x="7632192" y="2256753"/>
            <a:ext cx="39988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11" name="Google Shape;511;p56"/>
          <p:cNvSpPr txBox="1">
            <a:spLocks noGrp="1"/>
          </p:cNvSpPr>
          <p:nvPr>
            <p:ph type="subTitle" idx="4"/>
          </p:nvPr>
        </p:nvSpPr>
        <p:spPr>
          <a:xfrm>
            <a:off x="7632192" y="4470401"/>
            <a:ext cx="3998800" cy="48893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12" name="Google Shape;512;p56"/>
          <p:cNvSpPr txBox="1">
            <a:spLocks noGrp="1"/>
          </p:cNvSpPr>
          <p:nvPr>
            <p:ph type="subTitle" idx="5"/>
          </p:nvPr>
        </p:nvSpPr>
        <p:spPr>
          <a:xfrm>
            <a:off x="7632192" y="4792690"/>
            <a:ext cx="39988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13" name="Google Shape;513;p56"/>
          <p:cNvSpPr>
            <a:spLocks noGrp="1"/>
          </p:cNvSpPr>
          <p:nvPr>
            <p:ph type="pic" idx="6"/>
          </p:nvPr>
        </p:nvSpPr>
        <p:spPr>
          <a:xfrm>
            <a:off x="7873817" y="1191961"/>
            <a:ext cx="426720" cy="426720"/>
          </a:xfrm>
          <a:prstGeom prst="rect">
            <a:avLst/>
          </a:prstGeom>
          <a:noFill/>
          <a:ln>
            <a:noFill/>
          </a:ln>
        </p:spPr>
      </p:sp>
      <p:sp>
        <p:nvSpPr>
          <p:cNvPr id="514" name="Google Shape;514;p56"/>
          <p:cNvSpPr>
            <a:spLocks noGrp="1"/>
          </p:cNvSpPr>
          <p:nvPr>
            <p:ph type="pic" idx="7"/>
          </p:nvPr>
        </p:nvSpPr>
        <p:spPr>
          <a:xfrm>
            <a:off x="7873817" y="3729614"/>
            <a:ext cx="426720" cy="426720"/>
          </a:xfrm>
          <a:prstGeom prst="rect">
            <a:avLst/>
          </a:prstGeom>
          <a:noFill/>
          <a:ln>
            <a:noFill/>
          </a:ln>
        </p:spPr>
      </p:sp>
    </p:spTree>
    <p:extLst>
      <p:ext uri="{BB962C8B-B14F-4D97-AF65-F5344CB8AC3E}">
        <p14:creationId xmlns:p14="http://schemas.microsoft.com/office/powerpoint/2010/main" val="379585747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matchingName="52. Three photos, three statements">
  <p:cSld name="52. Three photos, three statements">
    <p:spTree>
      <p:nvGrpSpPr>
        <p:cNvPr id="1" name="Shape 515"/>
        <p:cNvGrpSpPr/>
        <p:nvPr/>
      </p:nvGrpSpPr>
      <p:grpSpPr>
        <a:xfrm>
          <a:off x="0" y="0"/>
          <a:ext cx="0" cy="0"/>
          <a:chOff x="0" y="0"/>
          <a:chExt cx="0" cy="0"/>
        </a:xfrm>
      </p:grpSpPr>
      <p:sp>
        <p:nvSpPr>
          <p:cNvPr id="516" name="Google Shape;516;p57"/>
          <p:cNvSpPr/>
          <p:nvPr/>
        </p:nvSpPr>
        <p:spPr>
          <a:xfrm>
            <a:off x="1081577" y="3683328"/>
            <a:ext cx="7280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pic>
        <p:nvPicPr>
          <p:cNvPr id="517" name="Google Shape;517;p57"/>
          <p:cNvPicPr preferRelativeResize="0"/>
          <p:nvPr/>
        </p:nvPicPr>
        <p:blipFill rotWithShape="1">
          <a:blip r:embed="rId2">
            <a:alphaModFix/>
          </a:blip>
          <a:srcRect/>
          <a:stretch/>
        </p:blipFill>
        <p:spPr>
          <a:xfrm>
            <a:off x="7274606" y="-1263327"/>
            <a:ext cx="5490821" cy="5490821"/>
          </a:xfrm>
          <a:prstGeom prst="rect">
            <a:avLst/>
          </a:prstGeom>
          <a:noFill/>
          <a:ln>
            <a:noFill/>
          </a:ln>
        </p:spPr>
      </p:pic>
      <p:sp>
        <p:nvSpPr>
          <p:cNvPr id="518" name="Google Shape;518;p57"/>
          <p:cNvSpPr>
            <a:spLocks noGrp="1"/>
          </p:cNvSpPr>
          <p:nvPr>
            <p:ph type="pic" idx="2"/>
          </p:nvPr>
        </p:nvSpPr>
        <p:spPr>
          <a:xfrm>
            <a:off x="1079824" y="890338"/>
            <a:ext cx="2971800" cy="2514599"/>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sy="-100000" algn="bl" rotWithShape="0"/>
          </a:effectLst>
        </p:spPr>
      </p:sp>
      <p:sp>
        <p:nvSpPr>
          <p:cNvPr id="519" name="Google Shape;519;p57"/>
          <p:cNvSpPr>
            <a:spLocks noGrp="1"/>
          </p:cNvSpPr>
          <p:nvPr>
            <p:ph type="pic" idx="3"/>
          </p:nvPr>
        </p:nvSpPr>
        <p:spPr>
          <a:xfrm>
            <a:off x="4610100" y="890338"/>
            <a:ext cx="2971800" cy="2514599"/>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sy="-100000" algn="bl" rotWithShape="0"/>
          </a:effectLst>
        </p:spPr>
      </p:sp>
      <p:sp>
        <p:nvSpPr>
          <p:cNvPr id="520" name="Google Shape;520;p57"/>
          <p:cNvSpPr>
            <a:spLocks noGrp="1"/>
          </p:cNvSpPr>
          <p:nvPr>
            <p:ph type="pic" idx="4"/>
          </p:nvPr>
        </p:nvSpPr>
        <p:spPr>
          <a:xfrm>
            <a:off x="8140376" y="890338"/>
            <a:ext cx="2971800" cy="2514599"/>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sy="-100000" algn="bl" rotWithShape="0"/>
          </a:effectLst>
        </p:spPr>
      </p:sp>
      <p:sp>
        <p:nvSpPr>
          <p:cNvPr id="521" name="Google Shape;521;p57"/>
          <p:cNvSpPr/>
          <p:nvPr/>
        </p:nvSpPr>
        <p:spPr>
          <a:xfrm>
            <a:off x="4608569" y="3679562"/>
            <a:ext cx="7280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522" name="Google Shape;522;p57"/>
          <p:cNvSpPr/>
          <p:nvPr/>
        </p:nvSpPr>
        <p:spPr>
          <a:xfrm>
            <a:off x="8135568" y="3679562"/>
            <a:ext cx="7280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523" name="Google Shape;523;p57"/>
          <p:cNvSpPr txBox="1">
            <a:spLocks noGrp="1"/>
          </p:cNvSpPr>
          <p:nvPr>
            <p:ph type="subTitle" idx="1"/>
          </p:nvPr>
        </p:nvSpPr>
        <p:spPr>
          <a:xfrm>
            <a:off x="983500" y="4482312"/>
            <a:ext cx="2974800" cy="83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24" name="Google Shape;524;p57"/>
          <p:cNvSpPr txBox="1">
            <a:spLocks noGrp="1"/>
          </p:cNvSpPr>
          <p:nvPr>
            <p:ph type="subTitle" idx="5"/>
          </p:nvPr>
        </p:nvSpPr>
        <p:spPr>
          <a:xfrm>
            <a:off x="983488" y="5140961"/>
            <a:ext cx="2974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25" name="Google Shape;525;p57"/>
          <p:cNvSpPr txBox="1">
            <a:spLocks noGrp="1"/>
          </p:cNvSpPr>
          <p:nvPr>
            <p:ph type="subTitle" idx="6"/>
          </p:nvPr>
        </p:nvSpPr>
        <p:spPr>
          <a:xfrm>
            <a:off x="4506967" y="4482212"/>
            <a:ext cx="2974800" cy="83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26" name="Google Shape;526;p57"/>
          <p:cNvSpPr txBox="1">
            <a:spLocks noGrp="1"/>
          </p:cNvSpPr>
          <p:nvPr>
            <p:ph type="subTitle" idx="7"/>
          </p:nvPr>
        </p:nvSpPr>
        <p:spPr>
          <a:xfrm>
            <a:off x="4506976" y="5140961"/>
            <a:ext cx="2974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27" name="Google Shape;527;p57"/>
          <p:cNvSpPr txBox="1">
            <a:spLocks noGrp="1"/>
          </p:cNvSpPr>
          <p:nvPr>
            <p:ph type="subTitle" idx="8"/>
          </p:nvPr>
        </p:nvSpPr>
        <p:spPr>
          <a:xfrm>
            <a:off x="8042667" y="4482212"/>
            <a:ext cx="2974800" cy="83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28" name="Google Shape;528;p57"/>
          <p:cNvSpPr txBox="1">
            <a:spLocks noGrp="1"/>
          </p:cNvSpPr>
          <p:nvPr>
            <p:ph type="subTitle" idx="9"/>
          </p:nvPr>
        </p:nvSpPr>
        <p:spPr>
          <a:xfrm>
            <a:off x="8042656" y="5140961"/>
            <a:ext cx="2974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29" name="Google Shape;529;p57"/>
          <p:cNvSpPr>
            <a:spLocks noGrp="1"/>
          </p:cNvSpPr>
          <p:nvPr>
            <p:ph type="pic" idx="13"/>
          </p:nvPr>
        </p:nvSpPr>
        <p:spPr>
          <a:xfrm>
            <a:off x="4759209" y="3832276"/>
            <a:ext cx="426720" cy="426720"/>
          </a:xfrm>
          <a:prstGeom prst="rect">
            <a:avLst/>
          </a:prstGeom>
          <a:noFill/>
          <a:ln>
            <a:noFill/>
          </a:ln>
        </p:spPr>
      </p:sp>
      <p:sp>
        <p:nvSpPr>
          <p:cNvPr id="530" name="Google Shape;530;p57"/>
          <p:cNvSpPr>
            <a:spLocks noGrp="1"/>
          </p:cNvSpPr>
          <p:nvPr>
            <p:ph type="pic" idx="14"/>
          </p:nvPr>
        </p:nvSpPr>
        <p:spPr>
          <a:xfrm>
            <a:off x="1232217" y="3832002"/>
            <a:ext cx="426720" cy="426720"/>
          </a:xfrm>
          <a:prstGeom prst="rect">
            <a:avLst/>
          </a:prstGeom>
          <a:noFill/>
          <a:ln>
            <a:noFill/>
          </a:ln>
        </p:spPr>
      </p:sp>
      <p:sp>
        <p:nvSpPr>
          <p:cNvPr id="531" name="Google Shape;531;p57"/>
          <p:cNvSpPr>
            <a:spLocks noGrp="1"/>
          </p:cNvSpPr>
          <p:nvPr>
            <p:ph type="pic" idx="15"/>
          </p:nvPr>
        </p:nvSpPr>
        <p:spPr>
          <a:xfrm>
            <a:off x="8286208" y="3832002"/>
            <a:ext cx="426720" cy="426720"/>
          </a:xfrm>
          <a:prstGeom prst="rect">
            <a:avLst/>
          </a:prstGeom>
          <a:noFill/>
          <a:ln>
            <a:noFill/>
          </a:ln>
        </p:spPr>
      </p:sp>
    </p:spTree>
    <p:extLst>
      <p:ext uri="{BB962C8B-B14F-4D97-AF65-F5344CB8AC3E}">
        <p14:creationId xmlns:p14="http://schemas.microsoft.com/office/powerpoint/2010/main" val="568359467"/>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matchingName="53. Three photos, three statements, title">
  <p:cSld name="53. Three photos, three statements, title">
    <p:spTree>
      <p:nvGrpSpPr>
        <p:cNvPr id="1" name="Shape 532"/>
        <p:cNvGrpSpPr/>
        <p:nvPr/>
      </p:nvGrpSpPr>
      <p:grpSpPr>
        <a:xfrm>
          <a:off x="0" y="0"/>
          <a:ext cx="0" cy="0"/>
          <a:chOff x="0" y="0"/>
          <a:chExt cx="0" cy="0"/>
        </a:xfrm>
      </p:grpSpPr>
      <p:sp>
        <p:nvSpPr>
          <p:cNvPr id="533" name="Google Shape;533;p58"/>
          <p:cNvSpPr>
            <a:spLocks noGrp="1"/>
          </p:cNvSpPr>
          <p:nvPr>
            <p:ph type="pic" idx="2"/>
          </p:nvPr>
        </p:nvSpPr>
        <p:spPr>
          <a:xfrm>
            <a:off x="1079824" y="1732829"/>
            <a:ext cx="2971800" cy="2514599"/>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sy="-100000" algn="bl" rotWithShape="0"/>
          </a:effectLst>
        </p:spPr>
      </p:sp>
      <p:sp>
        <p:nvSpPr>
          <p:cNvPr id="534" name="Google Shape;534;p58"/>
          <p:cNvSpPr>
            <a:spLocks noGrp="1"/>
          </p:cNvSpPr>
          <p:nvPr>
            <p:ph type="pic" idx="3"/>
          </p:nvPr>
        </p:nvSpPr>
        <p:spPr>
          <a:xfrm>
            <a:off x="4610100" y="1732829"/>
            <a:ext cx="2971800" cy="2514599"/>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sy="-100000" algn="bl" rotWithShape="0"/>
          </a:effectLst>
        </p:spPr>
      </p:sp>
      <p:sp>
        <p:nvSpPr>
          <p:cNvPr id="535" name="Google Shape;535;p58"/>
          <p:cNvSpPr>
            <a:spLocks noGrp="1"/>
          </p:cNvSpPr>
          <p:nvPr>
            <p:ph type="pic" idx="4"/>
          </p:nvPr>
        </p:nvSpPr>
        <p:spPr>
          <a:xfrm>
            <a:off x="8140376" y="1732829"/>
            <a:ext cx="2971800" cy="2514599"/>
          </a:xfrm>
          <a:prstGeom prst="roundRect">
            <a:avLst>
              <a:gd name="adj" fmla="val 4636"/>
            </a:avLst>
          </a:prstGeom>
          <a:solidFill>
            <a:srgbClr val="090C0F"/>
          </a:solidFill>
          <a:ln w="9525" cap="flat" cmpd="sng">
            <a:solidFill>
              <a:srgbClr val="21262D"/>
            </a:solidFill>
            <a:prstDash val="solid"/>
            <a:round/>
            <a:headEnd type="none" w="sm" len="sm"/>
            <a:tailEnd type="none" w="sm" len="sm"/>
          </a:ln>
          <a:effectLst>
            <a:reflection stA="20000" endPos="25000" dist="50800" dir="5400000" sy="-100000" algn="bl" rotWithShape="0"/>
          </a:effectLst>
        </p:spPr>
      </p:sp>
      <p:sp>
        <p:nvSpPr>
          <p:cNvPr id="536" name="Google Shape;536;p58"/>
          <p:cNvSpPr txBox="1">
            <a:spLocks noGrp="1"/>
          </p:cNvSpPr>
          <p:nvPr>
            <p:ph type="title"/>
          </p:nvPr>
        </p:nvSpPr>
        <p:spPr>
          <a:xfrm>
            <a:off x="1079824" y="369378"/>
            <a:ext cx="9144000" cy="1162137"/>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537" name="Google Shape;537;p58"/>
          <p:cNvSpPr txBox="1">
            <a:spLocks noGrp="1"/>
          </p:cNvSpPr>
          <p:nvPr>
            <p:ph type="subTitle" idx="1"/>
          </p:nvPr>
        </p:nvSpPr>
        <p:spPr>
          <a:xfrm>
            <a:off x="1086633" y="4448842"/>
            <a:ext cx="2974800" cy="83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38" name="Google Shape;538;p58"/>
          <p:cNvSpPr txBox="1">
            <a:spLocks noGrp="1"/>
          </p:cNvSpPr>
          <p:nvPr>
            <p:ph type="subTitle" idx="5"/>
          </p:nvPr>
        </p:nvSpPr>
        <p:spPr>
          <a:xfrm>
            <a:off x="1086621" y="5107490"/>
            <a:ext cx="2974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39" name="Google Shape;539;p58"/>
          <p:cNvSpPr txBox="1">
            <a:spLocks noGrp="1"/>
          </p:cNvSpPr>
          <p:nvPr>
            <p:ph type="subTitle" idx="6"/>
          </p:nvPr>
        </p:nvSpPr>
        <p:spPr>
          <a:xfrm>
            <a:off x="4610100" y="4448742"/>
            <a:ext cx="2974800" cy="83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40" name="Google Shape;540;p58"/>
          <p:cNvSpPr txBox="1">
            <a:spLocks noGrp="1"/>
          </p:cNvSpPr>
          <p:nvPr>
            <p:ph type="subTitle" idx="7"/>
          </p:nvPr>
        </p:nvSpPr>
        <p:spPr>
          <a:xfrm>
            <a:off x="4610109" y="5107490"/>
            <a:ext cx="2974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41" name="Google Shape;541;p58"/>
          <p:cNvSpPr txBox="1">
            <a:spLocks noGrp="1"/>
          </p:cNvSpPr>
          <p:nvPr>
            <p:ph type="subTitle" idx="8"/>
          </p:nvPr>
        </p:nvSpPr>
        <p:spPr>
          <a:xfrm>
            <a:off x="8145800" y="4448742"/>
            <a:ext cx="2974800" cy="83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42" name="Google Shape;542;p58"/>
          <p:cNvSpPr txBox="1">
            <a:spLocks noGrp="1"/>
          </p:cNvSpPr>
          <p:nvPr>
            <p:ph type="subTitle" idx="9"/>
          </p:nvPr>
        </p:nvSpPr>
        <p:spPr>
          <a:xfrm>
            <a:off x="8145789" y="5107490"/>
            <a:ext cx="2974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Tree>
    <p:extLst>
      <p:ext uri="{BB962C8B-B14F-4D97-AF65-F5344CB8AC3E}">
        <p14:creationId xmlns:p14="http://schemas.microsoft.com/office/powerpoint/2010/main" val="1410419897"/>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matchingName="54. Screenshot, two statements_1">
  <p:cSld name="54. Screenshot, two statements_1">
    <p:spTree>
      <p:nvGrpSpPr>
        <p:cNvPr id="1" name="Shape 543"/>
        <p:cNvGrpSpPr/>
        <p:nvPr/>
      </p:nvGrpSpPr>
      <p:grpSpPr>
        <a:xfrm>
          <a:off x="0" y="0"/>
          <a:ext cx="0" cy="0"/>
          <a:chOff x="0" y="0"/>
          <a:chExt cx="0" cy="0"/>
        </a:xfrm>
      </p:grpSpPr>
      <p:sp>
        <p:nvSpPr>
          <p:cNvPr id="544" name="Google Shape;544;p59"/>
          <p:cNvSpPr>
            <a:spLocks noGrp="1"/>
          </p:cNvSpPr>
          <p:nvPr>
            <p:ph type="pic" idx="2"/>
          </p:nvPr>
        </p:nvSpPr>
        <p:spPr>
          <a:xfrm>
            <a:off x="3951633" y="1000568"/>
            <a:ext cx="8302000" cy="4968400"/>
          </a:xfrm>
          <a:prstGeom prst="roundRect">
            <a:avLst>
              <a:gd name="adj" fmla="val 0"/>
            </a:avLst>
          </a:prstGeom>
          <a:solidFill>
            <a:srgbClr val="0A0C10"/>
          </a:solidFill>
          <a:ln>
            <a:noFill/>
          </a:ln>
          <a:effectLst>
            <a:reflection stA="20000" endPos="20000" dist="38100" dir="5400000" sy="-100000" algn="bl" rotWithShape="0"/>
          </a:effectLst>
        </p:spPr>
      </p:sp>
      <p:pic>
        <p:nvPicPr>
          <p:cNvPr id="545" name="Google Shape;545;p59"/>
          <p:cNvPicPr preferRelativeResize="0"/>
          <p:nvPr/>
        </p:nvPicPr>
        <p:blipFill rotWithShape="1">
          <a:blip r:embed="rId2">
            <a:alphaModFix/>
          </a:blip>
          <a:srcRect/>
          <a:stretch/>
        </p:blipFill>
        <p:spPr>
          <a:xfrm>
            <a:off x="3951645" y="598164"/>
            <a:ext cx="9637776" cy="402411"/>
          </a:xfrm>
          <a:prstGeom prst="rect">
            <a:avLst/>
          </a:prstGeom>
          <a:noFill/>
          <a:ln>
            <a:noFill/>
          </a:ln>
        </p:spPr>
      </p:pic>
      <p:sp>
        <p:nvSpPr>
          <p:cNvPr id="546" name="Google Shape;546;p59"/>
          <p:cNvSpPr/>
          <p:nvPr/>
        </p:nvSpPr>
        <p:spPr>
          <a:xfrm>
            <a:off x="483300" y="598167"/>
            <a:ext cx="2972000" cy="2564000"/>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547" name="Google Shape;547;p59"/>
          <p:cNvSpPr/>
          <p:nvPr/>
        </p:nvSpPr>
        <p:spPr>
          <a:xfrm>
            <a:off x="483500" y="3409034"/>
            <a:ext cx="2971600" cy="2560400"/>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548" name="Google Shape;548;p59"/>
          <p:cNvSpPr txBox="1">
            <a:spLocks noGrp="1"/>
          </p:cNvSpPr>
          <p:nvPr>
            <p:ph type="subTitle" idx="1"/>
          </p:nvPr>
        </p:nvSpPr>
        <p:spPr>
          <a:xfrm>
            <a:off x="673167" y="988400"/>
            <a:ext cx="2553600" cy="83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49" name="Google Shape;549;p59"/>
          <p:cNvSpPr txBox="1">
            <a:spLocks noGrp="1"/>
          </p:cNvSpPr>
          <p:nvPr>
            <p:ph type="subTitle" idx="3"/>
          </p:nvPr>
        </p:nvSpPr>
        <p:spPr>
          <a:xfrm>
            <a:off x="673175" y="1647141"/>
            <a:ext cx="25536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50" name="Google Shape;550;p59"/>
          <p:cNvSpPr txBox="1">
            <a:spLocks noGrp="1"/>
          </p:cNvSpPr>
          <p:nvPr>
            <p:ph type="subTitle" idx="4"/>
          </p:nvPr>
        </p:nvSpPr>
        <p:spPr>
          <a:xfrm>
            <a:off x="692500" y="3731701"/>
            <a:ext cx="2553600" cy="83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51" name="Google Shape;551;p59"/>
          <p:cNvSpPr txBox="1">
            <a:spLocks noGrp="1"/>
          </p:cNvSpPr>
          <p:nvPr>
            <p:ph type="subTitle" idx="5"/>
          </p:nvPr>
        </p:nvSpPr>
        <p:spPr>
          <a:xfrm>
            <a:off x="692508" y="4390440"/>
            <a:ext cx="25536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52" name="Google Shape;552;p59"/>
          <p:cNvSpPr/>
          <p:nvPr/>
        </p:nvSpPr>
        <p:spPr>
          <a:xfrm rot="5400000">
            <a:off x="25603" y="4290024"/>
            <a:ext cx="914400" cy="24400"/>
          </a:xfrm>
          <a:prstGeom prst="roundRect">
            <a:avLst>
              <a:gd name="adj" fmla="val 50000"/>
            </a:avLst>
          </a:prstGeom>
          <a:gradFill>
            <a:gsLst>
              <a:gs pos="0">
                <a:srgbClr val="57CCC5"/>
              </a:gs>
              <a:gs pos="100000">
                <a:srgbClr val="388BFD"/>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553" name="Google Shape;553;p59"/>
          <p:cNvSpPr/>
          <p:nvPr/>
        </p:nvSpPr>
        <p:spPr>
          <a:xfrm rot="5400000">
            <a:off x="25595" y="1533610"/>
            <a:ext cx="914400" cy="24400"/>
          </a:xfrm>
          <a:prstGeom prst="roundRect">
            <a:avLst>
              <a:gd name="adj" fmla="val 50000"/>
            </a:avLst>
          </a:prstGeom>
          <a:gradFill>
            <a:gsLst>
              <a:gs pos="0">
                <a:srgbClr val="797EF9"/>
              </a:gs>
              <a:gs pos="100000">
                <a:srgbClr val="A371F7"/>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8025725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matchingName="55. Screenshot, two statements_2">
  <p:cSld name="55. Screenshot, two statements_2">
    <p:spTree>
      <p:nvGrpSpPr>
        <p:cNvPr id="1" name="Shape 554"/>
        <p:cNvGrpSpPr/>
        <p:nvPr/>
      </p:nvGrpSpPr>
      <p:grpSpPr>
        <a:xfrm>
          <a:off x="0" y="0"/>
          <a:ext cx="0" cy="0"/>
          <a:chOff x="0" y="0"/>
          <a:chExt cx="0" cy="0"/>
        </a:xfrm>
      </p:grpSpPr>
      <p:sp>
        <p:nvSpPr>
          <p:cNvPr id="555" name="Google Shape;555;p60"/>
          <p:cNvSpPr/>
          <p:nvPr/>
        </p:nvSpPr>
        <p:spPr>
          <a:xfrm>
            <a:off x="8814500" y="598167"/>
            <a:ext cx="2972000" cy="2564000"/>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556" name="Google Shape;556;p60"/>
          <p:cNvSpPr/>
          <p:nvPr/>
        </p:nvSpPr>
        <p:spPr>
          <a:xfrm>
            <a:off x="8814700" y="3409034"/>
            <a:ext cx="2971600" cy="2560400"/>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557" name="Google Shape;557;p60"/>
          <p:cNvSpPr txBox="1">
            <a:spLocks noGrp="1"/>
          </p:cNvSpPr>
          <p:nvPr>
            <p:ph type="subTitle" idx="1"/>
          </p:nvPr>
        </p:nvSpPr>
        <p:spPr>
          <a:xfrm>
            <a:off x="9004367" y="988400"/>
            <a:ext cx="2553600" cy="8376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58" name="Google Shape;558;p60"/>
          <p:cNvSpPr txBox="1">
            <a:spLocks noGrp="1"/>
          </p:cNvSpPr>
          <p:nvPr>
            <p:ph type="subTitle" idx="2"/>
          </p:nvPr>
        </p:nvSpPr>
        <p:spPr>
          <a:xfrm>
            <a:off x="9004375" y="1647141"/>
            <a:ext cx="25536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59" name="Google Shape;559;p60"/>
          <p:cNvSpPr txBox="1">
            <a:spLocks noGrp="1"/>
          </p:cNvSpPr>
          <p:nvPr>
            <p:ph type="subTitle" idx="3"/>
          </p:nvPr>
        </p:nvSpPr>
        <p:spPr>
          <a:xfrm>
            <a:off x="9023700" y="3731701"/>
            <a:ext cx="2553600" cy="8376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60" name="Google Shape;560;p60"/>
          <p:cNvSpPr txBox="1">
            <a:spLocks noGrp="1"/>
          </p:cNvSpPr>
          <p:nvPr>
            <p:ph type="subTitle" idx="4"/>
          </p:nvPr>
        </p:nvSpPr>
        <p:spPr>
          <a:xfrm>
            <a:off x="9023708" y="4390440"/>
            <a:ext cx="25536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b="0" i="0">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561" name="Google Shape;561;p60"/>
          <p:cNvSpPr/>
          <p:nvPr/>
        </p:nvSpPr>
        <p:spPr>
          <a:xfrm rot="5400000">
            <a:off x="8356803" y="4290024"/>
            <a:ext cx="914400" cy="24400"/>
          </a:xfrm>
          <a:prstGeom prst="roundRect">
            <a:avLst>
              <a:gd name="adj" fmla="val 50000"/>
            </a:avLst>
          </a:prstGeom>
          <a:gradFill>
            <a:gsLst>
              <a:gs pos="0">
                <a:srgbClr val="57CCC5"/>
              </a:gs>
              <a:gs pos="100000">
                <a:srgbClr val="388BFD"/>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562" name="Google Shape;562;p60"/>
          <p:cNvSpPr/>
          <p:nvPr/>
        </p:nvSpPr>
        <p:spPr>
          <a:xfrm rot="5400000">
            <a:off x="8356795" y="1533610"/>
            <a:ext cx="914400" cy="24400"/>
          </a:xfrm>
          <a:prstGeom prst="roundRect">
            <a:avLst>
              <a:gd name="adj" fmla="val 50000"/>
            </a:avLst>
          </a:prstGeom>
          <a:gradFill>
            <a:gsLst>
              <a:gs pos="0">
                <a:srgbClr val="797EF9"/>
              </a:gs>
              <a:gs pos="100000">
                <a:srgbClr val="A371F7"/>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563" name="Google Shape;563;p60"/>
          <p:cNvSpPr>
            <a:spLocks noGrp="1"/>
          </p:cNvSpPr>
          <p:nvPr>
            <p:ph type="pic" idx="5"/>
          </p:nvPr>
        </p:nvSpPr>
        <p:spPr>
          <a:xfrm>
            <a:off x="4220" y="1000568"/>
            <a:ext cx="8302000" cy="4968400"/>
          </a:xfrm>
          <a:prstGeom prst="roundRect">
            <a:avLst>
              <a:gd name="adj" fmla="val 0"/>
            </a:avLst>
          </a:prstGeom>
          <a:solidFill>
            <a:srgbClr val="0A0C10"/>
          </a:solidFill>
          <a:ln>
            <a:noFill/>
          </a:ln>
          <a:effectLst>
            <a:reflection stA="20000" endPos="20000" dist="38100" dir="5400000" fadeDir="5400012" sy="-100000" algn="bl" rotWithShape="0"/>
          </a:effectLst>
        </p:spPr>
      </p:sp>
      <p:pic>
        <p:nvPicPr>
          <p:cNvPr id="564" name="Google Shape;564;p60"/>
          <p:cNvPicPr preferRelativeResize="0"/>
          <p:nvPr/>
        </p:nvPicPr>
        <p:blipFill rotWithShape="1">
          <a:blip r:embed="rId2">
            <a:alphaModFix/>
          </a:blip>
          <a:srcRect/>
          <a:stretch/>
        </p:blipFill>
        <p:spPr>
          <a:xfrm>
            <a:off x="-1331554" y="598164"/>
            <a:ext cx="9637775" cy="402411"/>
          </a:xfrm>
          <a:prstGeom prst="rect">
            <a:avLst/>
          </a:prstGeom>
          <a:noFill/>
          <a:ln>
            <a:noFill/>
          </a:ln>
        </p:spPr>
      </p:pic>
    </p:spTree>
    <p:extLst>
      <p:ext uri="{BB962C8B-B14F-4D97-AF65-F5344CB8AC3E}">
        <p14:creationId xmlns:p14="http://schemas.microsoft.com/office/powerpoint/2010/main" val="2486173399"/>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matchingName="56. Screenshot_one statement_with icon">
  <p:cSld name="56. Screenshot_one statement_with icon">
    <p:spTree>
      <p:nvGrpSpPr>
        <p:cNvPr id="1" name="Shape 565"/>
        <p:cNvGrpSpPr/>
        <p:nvPr/>
      </p:nvGrpSpPr>
      <p:grpSpPr>
        <a:xfrm>
          <a:off x="0" y="0"/>
          <a:ext cx="0" cy="0"/>
          <a:chOff x="0" y="0"/>
          <a:chExt cx="0" cy="0"/>
        </a:xfrm>
      </p:grpSpPr>
      <p:sp>
        <p:nvSpPr>
          <p:cNvPr id="566" name="Google Shape;566;p61"/>
          <p:cNvSpPr/>
          <p:nvPr/>
        </p:nvSpPr>
        <p:spPr>
          <a:xfrm>
            <a:off x="1090359" y="2180435"/>
            <a:ext cx="731600" cy="7316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pic>
        <p:nvPicPr>
          <p:cNvPr id="567" name="Google Shape;567;p61"/>
          <p:cNvPicPr preferRelativeResize="0"/>
          <p:nvPr/>
        </p:nvPicPr>
        <p:blipFill rotWithShape="1">
          <a:blip r:embed="rId2">
            <a:alphaModFix/>
          </a:blip>
          <a:srcRect/>
          <a:stretch/>
        </p:blipFill>
        <p:spPr>
          <a:xfrm>
            <a:off x="2797735" y="-1337992"/>
            <a:ext cx="6858000" cy="6858000"/>
          </a:xfrm>
          <a:prstGeom prst="rect">
            <a:avLst/>
          </a:prstGeom>
          <a:noFill/>
          <a:ln>
            <a:noFill/>
          </a:ln>
        </p:spPr>
      </p:pic>
      <p:sp>
        <p:nvSpPr>
          <p:cNvPr id="568" name="Google Shape;568;p61"/>
          <p:cNvSpPr>
            <a:spLocks noGrp="1"/>
          </p:cNvSpPr>
          <p:nvPr>
            <p:ph type="pic" idx="2"/>
          </p:nvPr>
        </p:nvSpPr>
        <p:spPr>
          <a:xfrm>
            <a:off x="5628037" y="972867"/>
            <a:ext cx="6625600" cy="4968400"/>
          </a:xfrm>
          <a:prstGeom prst="roundRect">
            <a:avLst>
              <a:gd name="adj" fmla="val 0"/>
            </a:avLst>
          </a:prstGeom>
          <a:solidFill>
            <a:srgbClr val="090C0F"/>
          </a:solidFill>
          <a:ln>
            <a:noFill/>
          </a:ln>
          <a:effectLst>
            <a:reflection stA="20000" endPos="20000" dist="28575" dir="5400000" sy="-100000" algn="bl" rotWithShape="0"/>
          </a:effectLst>
        </p:spPr>
      </p:sp>
      <p:pic>
        <p:nvPicPr>
          <p:cNvPr id="569" name="Google Shape;569;p61"/>
          <p:cNvPicPr preferRelativeResize="0"/>
          <p:nvPr/>
        </p:nvPicPr>
        <p:blipFill rotWithShape="1">
          <a:blip r:embed="rId3">
            <a:alphaModFix/>
          </a:blip>
          <a:srcRect/>
          <a:stretch/>
        </p:blipFill>
        <p:spPr>
          <a:xfrm>
            <a:off x="5628045" y="570456"/>
            <a:ext cx="9637776" cy="402411"/>
          </a:xfrm>
          <a:prstGeom prst="rect">
            <a:avLst/>
          </a:prstGeom>
          <a:noFill/>
          <a:ln>
            <a:noFill/>
          </a:ln>
        </p:spPr>
      </p:pic>
      <p:sp>
        <p:nvSpPr>
          <p:cNvPr id="570" name="Google Shape;570;p61"/>
          <p:cNvSpPr txBox="1">
            <a:spLocks noGrp="1"/>
          </p:cNvSpPr>
          <p:nvPr>
            <p:ph type="subTitle" idx="1"/>
          </p:nvPr>
        </p:nvSpPr>
        <p:spPr>
          <a:xfrm>
            <a:off x="977967" y="2940353"/>
            <a:ext cx="3498800" cy="83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2"/>
              </a:buClr>
              <a:buSzPts val="1600"/>
              <a:buFont typeface="Arial"/>
              <a:buNone/>
              <a:defRPr sz="2131"/>
            </a:lvl2pPr>
            <a:lvl3pPr lvl="2" algn="l">
              <a:lnSpc>
                <a:spcPct val="90000"/>
              </a:lnSpc>
              <a:spcBef>
                <a:spcPts val="0"/>
              </a:spcBef>
              <a:spcAft>
                <a:spcPts val="0"/>
              </a:spcAft>
              <a:buClr>
                <a:schemeClr val="dk2"/>
              </a:buClr>
              <a:buSzPts val="1600"/>
              <a:buFont typeface="Arial"/>
              <a:buNone/>
              <a:defRPr sz="2131"/>
            </a:lvl3pPr>
            <a:lvl4pPr lvl="3" algn="l">
              <a:lnSpc>
                <a:spcPct val="90000"/>
              </a:lnSpc>
              <a:spcBef>
                <a:spcPts val="0"/>
              </a:spcBef>
              <a:spcAft>
                <a:spcPts val="0"/>
              </a:spcAft>
              <a:buClr>
                <a:schemeClr val="dk2"/>
              </a:buClr>
              <a:buSzPts val="1600"/>
              <a:buFont typeface="Arial"/>
              <a:buNone/>
              <a:defRPr sz="2131"/>
            </a:lvl4pPr>
            <a:lvl5pPr lvl="4" algn="l">
              <a:lnSpc>
                <a:spcPct val="90000"/>
              </a:lnSpc>
              <a:spcBef>
                <a:spcPts val="0"/>
              </a:spcBef>
              <a:spcAft>
                <a:spcPts val="0"/>
              </a:spcAft>
              <a:buClr>
                <a:schemeClr val="dk2"/>
              </a:buClr>
              <a:buSzPts val="1600"/>
              <a:buFont typeface="Arial"/>
              <a:buNone/>
              <a:defRPr sz="2131"/>
            </a:lvl5pPr>
            <a:lvl6pPr lvl="5" algn="l">
              <a:lnSpc>
                <a:spcPct val="90000"/>
              </a:lnSpc>
              <a:spcBef>
                <a:spcPts val="0"/>
              </a:spcBef>
              <a:spcAft>
                <a:spcPts val="0"/>
              </a:spcAft>
              <a:buClr>
                <a:schemeClr val="dk1"/>
              </a:buClr>
              <a:buSzPts val="1600"/>
              <a:buNone/>
              <a:defRPr sz="2131"/>
            </a:lvl6pPr>
            <a:lvl7pPr lvl="6" algn="l">
              <a:lnSpc>
                <a:spcPct val="90000"/>
              </a:lnSpc>
              <a:spcBef>
                <a:spcPts val="0"/>
              </a:spcBef>
              <a:spcAft>
                <a:spcPts val="0"/>
              </a:spcAft>
              <a:buClr>
                <a:schemeClr val="dk1"/>
              </a:buClr>
              <a:buSzPts val="1600"/>
              <a:buNone/>
              <a:defRPr sz="2131"/>
            </a:lvl7pPr>
            <a:lvl8pPr lvl="7" algn="l">
              <a:lnSpc>
                <a:spcPct val="90000"/>
              </a:lnSpc>
              <a:spcBef>
                <a:spcPts val="0"/>
              </a:spcBef>
              <a:spcAft>
                <a:spcPts val="0"/>
              </a:spcAft>
              <a:buClr>
                <a:schemeClr val="dk1"/>
              </a:buClr>
              <a:buSzPts val="1600"/>
              <a:buNone/>
              <a:defRPr sz="2131"/>
            </a:lvl8pPr>
            <a:lvl9pPr lvl="8" algn="l">
              <a:lnSpc>
                <a:spcPct val="90000"/>
              </a:lnSpc>
              <a:spcBef>
                <a:spcPts val="0"/>
              </a:spcBef>
              <a:spcAft>
                <a:spcPts val="0"/>
              </a:spcAft>
              <a:buClr>
                <a:schemeClr val="dk1"/>
              </a:buClr>
              <a:buSzPts val="1600"/>
              <a:buNone/>
              <a:defRPr sz="2131"/>
            </a:lvl9pPr>
          </a:lstStyle>
          <a:p>
            <a:endParaRPr/>
          </a:p>
        </p:txBody>
      </p:sp>
      <p:sp>
        <p:nvSpPr>
          <p:cNvPr id="571" name="Google Shape;571;p61"/>
          <p:cNvSpPr txBox="1">
            <a:spLocks noGrp="1"/>
          </p:cNvSpPr>
          <p:nvPr>
            <p:ph type="subTitle" idx="3"/>
          </p:nvPr>
        </p:nvSpPr>
        <p:spPr>
          <a:xfrm>
            <a:off x="977964" y="3700687"/>
            <a:ext cx="3498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572" name="Google Shape;572;p61"/>
          <p:cNvSpPr>
            <a:spLocks noGrp="1"/>
          </p:cNvSpPr>
          <p:nvPr>
            <p:ph type="pic" idx="4"/>
          </p:nvPr>
        </p:nvSpPr>
        <p:spPr>
          <a:xfrm>
            <a:off x="1242799" y="2332875"/>
            <a:ext cx="426720" cy="426720"/>
          </a:xfrm>
          <a:prstGeom prst="rect">
            <a:avLst/>
          </a:prstGeom>
          <a:noFill/>
          <a:ln>
            <a:noFill/>
          </a:ln>
        </p:spPr>
      </p:sp>
    </p:spTree>
    <p:extLst>
      <p:ext uri="{BB962C8B-B14F-4D97-AF65-F5344CB8AC3E}">
        <p14:creationId xmlns:p14="http://schemas.microsoft.com/office/powerpoint/2010/main" val="3366129138"/>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matchingName="57. Screenshot_one statement_with icon">
  <p:cSld name="57. Screenshot_one statement_with icon">
    <p:spTree>
      <p:nvGrpSpPr>
        <p:cNvPr id="1" name="Shape 573"/>
        <p:cNvGrpSpPr/>
        <p:nvPr/>
      </p:nvGrpSpPr>
      <p:grpSpPr>
        <a:xfrm>
          <a:off x="0" y="0"/>
          <a:ext cx="0" cy="0"/>
          <a:chOff x="0" y="0"/>
          <a:chExt cx="0" cy="0"/>
        </a:xfrm>
      </p:grpSpPr>
      <p:pic>
        <p:nvPicPr>
          <p:cNvPr id="574" name="Google Shape;574;p62"/>
          <p:cNvPicPr preferRelativeResize="0"/>
          <p:nvPr/>
        </p:nvPicPr>
        <p:blipFill rotWithShape="1">
          <a:blip r:embed="rId2">
            <a:alphaModFix/>
          </a:blip>
          <a:srcRect/>
          <a:stretch/>
        </p:blipFill>
        <p:spPr>
          <a:xfrm>
            <a:off x="3113315" y="-1687285"/>
            <a:ext cx="6858000" cy="6858000"/>
          </a:xfrm>
          <a:prstGeom prst="rect">
            <a:avLst/>
          </a:prstGeom>
          <a:noFill/>
          <a:ln>
            <a:noFill/>
          </a:ln>
        </p:spPr>
      </p:pic>
      <p:sp>
        <p:nvSpPr>
          <p:cNvPr id="575" name="Google Shape;575;p62"/>
          <p:cNvSpPr>
            <a:spLocks noGrp="1"/>
          </p:cNvSpPr>
          <p:nvPr>
            <p:ph type="pic" idx="2"/>
          </p:nvPr>
        </p:nvSpPr>
        <p:spPr>
          <a:xfrm>
            <a:off x="0" y="1218734"/>
            <a:ext cx="7040800" cy="4850400"/>
          </a:xfrm>
          <a:prstGeom prst="roundRect">
            <a:avLst>
              <a:gd name="adj" fmla="val 0"/>
            </a:avLst>
          </a:prstGeom>
          <a:solidFill>
            <a:srgbClr val="090C0F"/>
          </a:solidFill>
          <a:ln>
            <a:noFill/>
          </a:ln>
          <a:effectLst>
            <a:reflection stA="20000" endPos="20000" dist="28575" dir="5400000" sy="-100000" algn="bl" rotWithShape="0"/>
          </a:effectLst>
        </p:spPr>
      </p:sp>
      <p:pic>
        <p:nvPicPr>
          <p:cNvPr id="576" name="Google Shape;576;p62"/>
          <p:cNvPicPr preferRelativeResize="0"/>
          <p:nvPr/>
        </p:nvPicPr>
        <p:blipFill rotWithShape="1">
          <a:blip r:embed="rId3">
            <a:alphaModFix/>
          </a:blip>
          <a:srcRect/>
          <a:stretch/>
        </p:blipFill>
        <p:spPr>
          <a:xfrm>
            <a:off x="-2597045" y="802033"/>
            <a:ext cx="9637776" cy="402411"/>
          </a:xfrm>
          <a:prstGeom prst="rect">
            <a:avLst/>
          </a:prstGeom>
          <a:noFill/>
          <a:ln>
            <a:noFill/>
          </a:ln>
        </p:spPr>
      </p:pic>
      <p:sp>
        <p:nvSpPr>
          <p:cNvPr id="577" name="Google Shape;577;p62"/>
          <p:cNvSpPr/>
          <p:nvPr/>
        </p:nvSpPr>
        <p:spPr>
          <a:xfrm>
            <a:off x="7999159" y="2180435"/>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578" name="Google Shape;578;p62"/>
          <p:cNvSpPr txBox="1">
            <a:spLocks noGrp="1"/>
          </p:cNvSpPr>
          <p:nvPr>
            <p:ph type="subTitle" idx="1"/>
          </p:nvPr>
        </p:nvSpPr>
        <p:spPr>
          <a:xfrm>
            <a:off x="7886767" y="2952669"/>
            <a:ext cx="3498800" cy="83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2"/>
              </a:buClr>
              <a:buSzPts val="1600"/>
              <a:buFont typeface="Arial"/>
              <a:buNone/>
              <a:defRPr sz="2131"/>
            </a:lvl2pPr>
            <a:lvl3pPr lvl="2" algn="l">
              <a:lnSpc>
                <a:spcPct val="90000"/>
              </a:lnSpc>
              <a:spcBef>
                <a:spcPts val="0"/>
              </a:spcBef>
              <a:spcAft>
                <a:spcPts val="0"/>
              </a:spcAft>
              <a:buClr>
                <a:schemeClr val="dk2"/>
              </a:buClr>
              <a:buSzPts val="1600"/>
              <a:buFont typeface="Arial"/>
              <a:buNone/>
              <a:defRPr sz="2131"/>
            </a:lvl3pPr>
            <a:lvl4pPr lvl="3" algn="l">
              <a:lnSpc>
                <a:spcPct val="90000"/>
              </a:lnSpc>
              <a:spcBef>
                <a:spcPts val="0"/>
              </a:spcBef>
              <a:spcAft>
                <a:spcPts val="0"/>
              </a:spcAft>
              <a:buClr>
                <a:schemeClr val="dk2"/>
              </a:buClr>
              <a:buSzPts val="1600"/>
              <a:buFont typeface="Arial"/>
              <a:buNone/>
              <a:defRPr sz="2131"/>
            </a:lvl4pPr>
            <a:lvl5pPr lvl="4" algn="l">
              <a:lnSpc>
                <a:spcPct val="90000"/>
              </a:lnSpc>
              <a:spcBef>
                <a:spcPts val="0"/>
              </a:spcBef>
              <a:spcAft>
                <a:spcPts val="0"/>
              </a:spcAft>
              <a:buClr>
                <a:schemeClr val="dk2"/>
              </a:buClr>
              <a:buSzPts val="1600"/>
              <a:buFont typeface="Arial"/>
              <a:buNone/>
              <a:defRPr sz="2131"/>
            </a:lvl5pPr>
            <a:lvl6pPr lvl="5" algn="l">
              <a:lnSpc>
                <a:spcPct val="90000"/>
              </a:lnSpc>
              <a:spcBef>
                <a:spcPts val="0"/>
              </a:spcBef>
              <a:spcAft>
                <a:spcPts val="0"/>
              </a:spcAft>
              <a:buClr>
                <a:schemeClr val="dk1"/>
              </a:buClr>
              <a:buSzPts val="1600"/>
              <a:buNone/>
              <a:defRPr sz="2131"/>
            </a:lvl6pPr>
            <a:lvl7pPr lvl="6" algn="l">
              <a:lnSpc>
                <a:spcPct val="90000"/>
              </a:lnSpc>
              <a:spcBef>
                <a:spcPts val="0"/>
              </a:spcBef>
              <a:spcAft>
                <a:spcPts val="0"/>
              </a:spcAft>
              <a:buClr>
                <a:schemeClr val="dk1"/>
              </a:buClr>
              <a:buSzPts val="1600"/>
              <a:buNone/>
              <a:defRPr sz="2131"/>
            </a:lvl7pPr>
            <a:lvl8pPr lvl="7" algn="l">
              <a:lnSpc>
                <a:spcPct val="90000"/>
              </a:lnSpc>
              <a:spcBef>
                <a:spcPts val="0"/>
              </a:spcBef>
              <a:spcAft>
                <a:spcPts val="0"/>
              </a:spcAft>
              <a:buClr>
                <a:schemeClr val="dk1"/>
              </a:buClr>
              <a:buSzPts val="1600"/>
              <a:buNone/>
              <a:defRPr sz="2131"/>
            </a:lvl8pPr>
            <a:lvl9pPr lvl="8" algn="l">
              <a:lnSpc>
                <a:spcPct val="90000"/>
              </a:lnSpc>
              <a:spcBef>
                <a:spcPts val="0"/>
              </a:spcBef>
              <a:spcAft>
                <a:spcPts val="0"/>
              </a:spcAft>
              <a:buClr>
                <a:schemeClr val="dk1"/>
              </a:buClr>
              <a:buSzPts val="1600"/>
              <a:buNone/>
              <a:defRPr sz="2131"/>
            </a:lvl9pPr>
          </a:lstStyle>
          <a:p>
            <a:endParaRPr/>
          </a:p>
        </p:txBody>
      </p:sp>
      <p:sp>
        <p:nvSpPr>
          <p:cNvPr id="579" name="Google Shape;579;p62"/>
          <p:cNvSpPr txBox="1">
            <a:spLocks noGrp="1"/>
          </p:cNvSpPr>
          <p:nvPr>
            <p:ph type="subTitle" idx="3"/>
          </p:nvPr>
        </p:nvSpPr>
        <p:spPr>
          <a:xfrm>
            <a:off x="7886764" y="3713002"/>
            <a:ext cx="3498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580" name="Google Shape;580;p62"/>
          <p:cNvSpPr>
            <a:spLocks noGrp="1"/>
          </p:cNvSpPr>
          <p:nvPr>
            <p:ph type="pic" idx="4"/>
          </p:nvPr>
        </p:nvSpPr>
        <p:spPr>
          <a:xfrm>
            <a:off x="8151599" y="2332875"/>
            <a:ext cx="426720" cy="426720"/>
          </a:xfrm>
          <a:prstGeom prst="rect">
            <a:avLst/>
          </a:prstGeom>
          <a:noFill/>
          <a:ln>
            <a:noFill/>
          </a:ln>
        </p:spPr>
      </p:sp>
    </p:spTree>
    <p:extLst>
      <p:ext uri="{BB962C8B-B14F-4D97-AF65-F5344CB8AC3E}">
        <p14:creationId xmlns:p14="http://schemas.microsoft.com/office/powerpoint/2010/main" val="1974898988"/>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matchingName="58. Screenshot_one statement with title">
  <p:cSld name="58. Screenshot_one statement with title">
    <p:spTree>
      <p:nvGrpSpPr>
        <p:cNvPr id="1" name="Shape 581"/>
        <p:cNvGrpSpPr/>
        <p:nvPr/>
      </p:nvGrpSpPr>
      <p:grpSpPr>
        <a:xfrm>
          <a:off x="0" y="0"/>
          <a:ext cx="0" cy="0"/>
          <a:chOff x="0" y="0"/>
          <a:chExt cx="0" cy="0"/>
        </a:xfrm>
      </p:grpSpPr>
      <p:pic>
        <p:nvPicPr>
          <p:cNvPr id="582" name="Google Shape;582;p63"/>
          <p:cNvPicPr preferRelativeResize="0"/>
          <p:nvPr/>
        </p:nvPicPr>
        <p:blipFill rotWithShape="1">
          <a:blip r:embed="rId2">
            <a:alphaModFix/>
          </a:blip>
          <a:srcRect/>
          <a:stretch/>
        </p:blipFill>
        <p:spPr>
          <a:xfrm>
            <a:off x="2797735" y="-1337992"/>
            <a:ext cx="6858000" cy="6858000"/>
          </a:xfrm>
          <a:prstGeom prst="rect">
            <a:avLst/>
          </a:prstGeom>
          <a:noFill/>
          <a:ln>
            <a:noFill/>
          </a:ln>
        </p:spPr>
      </p:pic>
      <p:sp>
        <p:nvSpPr>
          <p:cNvPr id="583" name="Google Shape;583;p63"/>
          <p:cNvSpPr>
            <a:spLocks noGrp="1"/>
          </p:cNvSpPr>
          <p:nvPr>
            <p:ph type="pic" idx="2"/>
          </p:nvPr>
        </p:nvSpPr>
        <p:spPr>
          <a:xfrm>
            <a:off x="5628033" y="972867"/>
            <a:ext cx="6564000" cy="4968400"/>
          </a:xfrm>
          <a:prstGeom prst="roundRect">
            <a:avLst>
              <a:gd name="adj" fmla="val 0"/>
            </a:avLst>
          </a:prstGeom>
          <a:solidFill>
            <a:srgbClr val="090C0F"/>
          </a:solidFill>
          <a:ln>
            <a:noFill/>
          </a:ln>
          <a:effectLst>
            <a:reflection stA="20000" endPos="20000" dist="28575" dir="5400000" fadeDir="5400012" sy="-100000" algn="bl" rotWithShape="0"/>
          </a:effectLst>
        </p:spPr>
      </p:sp>
      <p:pic>
        <p:nvPicPr>
          <p:cNvPr id="584" name="Google Shape;584;p63"/>
          <p:cNvPicPr preferRelativeResize="0"/>
          <p:nvPr/>
        </p:nvPicPr>
        <p:blipFill rotWithShape="1">
          <a:blip r:embed="rId3">
            <a:alphaModFix/>
          </a:blip>
          <a:srcRect/>
          <a:stretch/>
        </p:blipFill>
        <p:spPr>
          <a:xfrm>
            <a:off x="5628047" y="570456"/>
            <a:ext cx="9637775" cy="402411"/>
          </a:xfrm>
          <a:prstGeom prst="rect">
            <a:avLst/>
          </a:prstGeom>
          <a:noFill/>
          <a:ln>
            <a:noFill/>
          </a:ln>
        </p:spPr>
      </p:pic>
      <p:sp>
        <p:nvSpPr>
          <p:cNvPr id="585" name="Google Shape;585;p63"/>
          <p:cNvSpPr txBox="1">
            <a:spLocks noGrp="1"/>
          </p:cNvSpPr>
          <p:nvPr>
            <p:ph type="subTitle" idx="1"/>
          </p:nvPr>
        </p:nvSpPr>
        <p:spPr>
          <a:xfrm>
            <a:off x="456700" y="33528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86" name="Google Shape;586;p63"/>
          <p:cNvSpPr txBox="1">
            <a:spLocks noGrp="1"/>
          </p:cNvSpPr>
          <p:nvPr>
            <p:ph type="title"/>
          </p:nvPr>
        </p:nvSpPr>
        <p:spPr>
          <a:xfrm>
            <a:off x="456700" y="2117435"/>
            <a:ext cx="4597200" cy="1162000"/>
          </a:xfrm>
          <a:prstGeom prst="rect">
            <a:avLst/>
          </a:prstGeom>
          <a:noFill/>
          <a:ln>
            <a:noFill/>
          </a:ln>
        </p:spPr>
        <p:txBody>
          <a:bodyPr spcFirstLastPara="1" wrap="square" lIns="34275" tIns="17150" rIns="34275" bIns="17150" anchor="b"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9pPr>
          </a:lstStyle>
          <a:p>
            <a:endParaRPr/>
          </a:p>
        </p:txBody>
      </p:sp>
      <p:sp>
        <p:nvSpPr>
          <p:cNvPr id="587" name="Google Shape;587;p63"/>
          <p:cNvSpPr txBox="1">
            <a:spLocks noGrp="1"/>
          </p:cNvSpPr>
          <p:nvPr>
            <p:ph type="subTitle" idx="3"/>
          </p:nvPr>
        </p:nvSpPr>
        <p:spPr>
          <a:xfrm>
            <a:off x="456700" y="37719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Tree>
    <p:extLst>
      <p:ext uri="{BB962C8B-B14F-4D97-AF65-F5344CB8AC3E}">
        <p14:creationId xmlns:p14="http://schemas.microsoft.com/office/powerpoint/2010/main" val="1592332277"/>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matchingName="59. Screenshot_one statement_with title">
  <p:cSld name="59. Screenshot_one statement_with title">
    <p:spTree>
      <p:nvGrpSpPr>
        <p:cNvPr id="1" name="Shape 588"/>
        <p:cNvGrpSpPr/>
        <p:nvPr/>
      </p:nvGrpSpPr>
      <p:grpSpPr>
        <a:xfrm>
          <a:off x="0" y="0"/>
          <a:ext cx="0" cy="0"/>
          <a:chOff x="0" y="0"/>
          <a:chExt cx="0" cy="0"/>
        </a:xfrm>
      </p:grpSpPr>
      <p:sp>
        <p:nvSpPr>
          <p:cNvPr id="589" name="Google Shape;589;p64"/>
          <p:cNvSpPr txBox="1">
            <a:spLocks noGrp="1"/>
          </p:cNvSpPr>
          <p:nvPr>
            <p:ph type="title"/>
          </p:nvPr>
        </p:nvSpPr>
        <p:spPr>
          <a:xfrm>
            <a:off x="7124201" y="2117435"/>
            <a:ext cx="4597200" cy="1162000"/>
          </a:xfrm>
          <a:prstGeom prst="rect">
            <a:avLst/>
          </a:prstGeom>
          <a:noFill/>
          <a:ln>
            <a:noFill/>
          </a:ln>
        </p:spPr>
        <p:txBody>
          <a:bodyPr spcFirstLastPara="1" wrap="square" lIns="34275" tIns="17150" rIns="34275" bIns="17150" anchor="b"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9pPr>
          </a:lstStyle>
          <a:p>
            <a:endParaRPr/>
          </a:p>
        </p:txBody>
      </p:sp>
      <p:pic>
        <p:nvPicPr>
          <p:cNvPr id="590" name="Google Shape;590;p64"/>
          <p:cNvPicPr preferRelativeResize="0"/>
          <p:nvPr/>
        </p:nvPicPr>
        <p:blipFill rotWithShape="1">
          <a:blip r:embed="rId2">
            <a:alphaModFix/>
          </a:blip>
          <a:srcRect/>
          <a:stretch/>
        </p:blipFill>
        <p:spPr>
          <a:xfrm>
            <a:off x="3113315" y="-1687285"/>
            <a:ext cx="6858000" cy="6858000"/>
          </a:xfrm>
          <a:prstGeom prst="rect">
            <a:avLst/>
          </a:prstGeom>
          <a:noFill/>
          <a:ln>
            <a:noFill/>
          </a:ln>
        </p:spPr>
      </p:pic>
      <p:sp>
        <p:nvSpPr>
          <p:cNvPr id="591" name="Google Shape;591;p64"/>
          <p:cNvSpPr>
            <a:spLocks noGrp="1"/>
          </p:cNvSpPr>
          <p:nvPr>
            <p:ph type="pic" idx="2"/>
          </p:nvPr>
        </p:nvSpPr>
        <p:spPr>
          <a:xfrm>
            <a:off x="0" y="1218734"/>
            <a:ext cx="6735600" cy="4850400"/>
          </a:xfrm>
          <a:prstGeom prst="roundRect">
            <a:avLst>
              <a:gd name="adj" fmla="val 0"/>
            </a:avLst>
          </a:prstGeom>
          <a:solidFill>
            <a:srgbClr val="090C0F"/>
          </a:solidFill>
          <a:ln>
            <a:noFill/>
          </a:ln>
          <a:effectLst>
            <a:reflection stA="20000" endPos="20000" dist="28575" dir="5400000" fadeDir="5400012" sy="-100000" algn="bl" rotWithShape="0"/>
          </a:effectLst>
        </p:spPr>
      </p:sp>
      <p:pic>
        <p:nvPicPr>
          <p:cNvPr id="592" name="Google Shape;592;p64"/>
          <p:cNvPicPr preferRelativeResize="0"/>
          <p:nvPr/>
        </p:nvPicPr>
        <p:blipFill rotWithShape="1">
          <a:blip r:embed="rId3">
            <a:alphaModFix/>
          </a:blip>
          <a:srcRect/>
          <a:stretch/>
        </p:blipFill>
        <p:spPr>
          <a:xfrm>
            <a:off x="-2901845" y="802033"/>
            <a:ext cx="9637775" cy="402411"/>
          </a:xfrm>
          <a:prstGeom prst="rect">
            <a:avLst/>
          </a:prstGeom>
          <a:noFill/>
          <a:ln>
            <a:noFill/>
          </a:ln>
        </p:spPr>
      </p:pic>
      <p:sp>
        <p:nvSpPr>
          <p:cNvPr id="593" name="Google Shape;593;p64"/>
          <p:cNvSpPr txBox="1">
            <a:spLocks noGrp="1"/>
          </p:cNvSpPr>
          <p:nvPr>
            <p:ph type="subTitle" idx="1"/>
          </p:nvPr>
        </p:nvSpPr>
        <p:spPr>
          <a:xfrm>
            <a:off x="7124200" y="33528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594" name="Google Shape;594;p64"/>
          <p:cNvSpPr txBox="1">
            <a:spLocks noGrp="1"/>
          </p:cNvSpPr>
          <p:nvPr>
            <p:ph type="subTitle" idx="3"/>
          </p:nvPr>
        </p:nvSpPr>
        <p:spPr>
          <a:xfrm>
            <a:off x="7124200" y="37719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Tree>
    <p:extLst>
      <p:ext uri="{BB962C8B-B14F-4D97-AF65-F5344CB8AC3E}">
        <p14:creationId xmlns:p14="http://schemas.microsoft.com/office/powerpoint/2010/main" val="530370685"/>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matchingName="60. Large screenshot_1">
  <p:cSld name="60. Large screenshot_1">
    <p:spTree>
      <p:nvGrpSpPr>
        <p:cNvPr id="1" name="Shape 595"/>
        <p:cNvGrpSpPr/>
        <p:nvPr/>
      </p:nvGrpSpPr>
      <p:grpSpPr>
        <a:xfrm>
          <a:off x="0" y="0"/>
          <a:ext cx="0" cy="0"/>
          <a:chOff x="0" y="0"/>
          <a:chExt cx="0" cy="0"/>
        </a:xfrm>
      </p:grpSpPr>
      <p:pic>
        <p:nvPicPr>
          <p:cNvPr id="596" name="Google Shape;596;p65"/>
          <p:cNvPicPr preferRelativeResize="0"/>
          <p:nvPr/>
        </p:nvPicPr>
        <p:blipFill rotWithShape="1">
          <a:blip r:embed="rId2">
            <a:alphaModFix/>
          </a:blip>
          <a:srcRect/>
          <a:stretch/>
        </p:blipFill>
        <p:spPr>
          <a:xfrm>
            <a:off x="-1240972" y="-2279807"/>
            <a:ext cx="6858000" cy="6858000"/>
          </a:xfrm>
          <a:prstGeom prst="rect">
            <a:avLst/>
          </a:prstGeom>
          <a:noFill/>
          <a:ln>
            <a:noFill/>
          </a:ln>
        </p:spPr>
      </p:pic>
      <p:sp>
        <p:nvSpPr>
          <p:cNvPr id="597" name="Google Shape;597;p65"/>
          <p:cNvSpPr>
            <a:spLocks noGrp="1"/>
          </p:cNvSpPr>
          <p:nvPr>
            <p:ph type="pic" idx="2"/>
          </p:nvPr>
        </p:nvSpPr>
        <p:spPr>
          <a:xfrm>
            <a:off x="493411" y="1269899"/>
            <a:ext cx="11205200" cy="5639201"/>
          </a:xfrm>
          <a:prstGeom prst="roundRect">
            <a:avLst>
              <a:gd name="adj" fmla="val 0"/>
            </a:avLst>
          </a:prstGeom>
          <a:solidFill>
            <a:srgbClr val="090C0F"/>
          </a:solidFill>
          <a:ln>
            <a:noFill/>
          </a:ln>
          <a:effectLst>
            <a:reflection stA="20000" endPos="35000" sy="-100000" algn="bl" rotWithShape="0"/>
          </a:effectLst>
        </p:spPr>
      </p:sp>
      <p:pic>
        <p:nvPicPr>
          <p:cNvPr id="598" name="Google Shape;598;p65"/>
          <p:cNvPicPr preferRelativeResize="0"/>
          <p:nvPr/>
        </p:nvPicPr>
        <p:blipFill rotWithShape="1">
          <a:blip r:embed="rId3">
            <a:alphaModFix/>
          </a:blip>
          <a:srcRect/>
          <a:stretch/>
        </p:blipFill>
        <p:spPr>
          <a:xfrm>
            <a:off x="493414" y="802032"/>
            <a:ext cx="11205183" cy="467857"/>
          </a:xfrm>
          <a:prstGeom prst="rect">
            <a:avLst/>
          </a:prstGeom>
          <a:noFill/>
          <a:ln>
            <a:noFill/>
          </a:ln>
        </p:spPr>
      </p:pic>
    </p:spTree>
    <p:extLst>
      <p:ext uri="{BB962C8B-B14F-4D97-AF65-F5344CB8AC3E}">
        <p14:creationId xmlns:p14="http://schemas.microsoft.com/office/powerpoint/2010/main" val="3083151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2"/>
          <a:srcRect l="22384" r="10867"/>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6FFEB9B2-F157-409B-B83A-CB55E31F134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38435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matchingName="61. Large Screenshot_2">
  <p:cSld name="61. Large Screenshot_2">
    <p:spTree>
      <p:nvGrpSpPr>
        <p:cNvPr id="1" name="Shape 599"/>
        <p:cNvGrpSpPr/>
        <p:nvPr/>
      </p:nvGrpSpPr>
      <p:grpSpPr>
        <a:xfrm>
          <a:off x="0" y="0"/>
          <a:ext cx="0" cy="0"/>
          <a:chOff x="0" y="0"/>
          <a:chExt cx="0" cy="0"/>
        </a:xfrm>
      </p:grpSpPr>
      <p:pic>
        <p:nvPicPr>
          <p:cNvPr id="600" name="Google Shape;600;p66"/>
          <p:cNvPicPr preferRelativeResize="0"/>
          <p:nvPr/>
        </p:nvPicPr>
        <p:blipFill rotWithShape="1">
          <a:blip r:embed="rId2">
            <a:alphaModFix/>
          </a:blip>
          <a:srcRect/>
          <a:stretch/>
        </p:blipFill>
        <p:spPr>
          <a:xfrm>
            <a:off x="6948457" y="-1828799"/>
            <a:ext cx="6858000" cy="6858000"/>
          </a:xfrm>
          <a:prstGeom prst="rect">
            <a:avLst/>
          </a:prstGeom>
          <a:noFill/>
          <a:ln>
            <a:noFill/>
          </a:ln>
        </p:spPr>
      </p:pic>
      <p:sp>
        <p:nvSpPr>
          <p:cNvPr id="601" name="Google Shape;601;p66"/>
          <p:cNvSpPr>
            <a:spLocks noGrp="1"/>
          </p:cNvSpPr>
          <p:nvPr>
            <p:ph type="pic" idx="2"/>
          </p:nvPr>
        </p:nvSpPr>
        <p:spPr>
          <a:xfrm>
            <a:off x="493411" y="1269899"/>
            <a:ext cx="11205200" cy="5639201"/>
          </a:xfrm>
          <a:prstGeom prst="roundRect">
            <a:avLst>
              <a:gd name="adj" fmla="val 0"/>
            </a:avLst>
          </a:prstGeom>
          <a:solidFill>
            <a:srgbClr val="0A0C10"/>
          </a:solidFill>
          <a:ln>
            <a:noFill/>
          </a:ln>
          <a:effectLst>
            <a:reflection stA="20000" endPos="35000" sy="-100000" algn="bl" rotWithShape="0"/>
          </a:effectLst>
        </p:spPr>
      </p:sp>
      <p:pic>
        <p:nvPicPr>
          <p:cNvPr id="602" name="Google Shape;602;p66"/>
          <p:cNvPicPr preferRelativeResize="0"/>
          <p:nvPr/>
        </p:nvPicPr>
        <p:blipFill rotWithShape="1">
          <a:blip r:embed="rId3">
            <a:alphaModFix/>
          </a:blip>
          <a:srcRect/>
          <a:stretch/>
        </p:blipFill>
        <p:spPr>
          <a:xfrm>
            <a:off x="493414" y="802032"/>
            <a:ext cx="11205183" cy="467857"/>
          </a:xfrm>
          <a:prstGeom prst="rect">
            <a:avLst/>
          </a:prstGeom>
          <a:noFill/>
          <a:ln>
            <a:noFill/>
          </a:ln>
        </p:spPr>
      </p:pic>
    </p:spTree>
    <p:extLst>
      <p:ext uri="{BB962C8B-B14F-4D97-AF65-F5344CB8AC3E}">
        <p14:creationId xmlns:p14="http://schemas.microsoft.com/office/powerpoint/2010/main" val="321013946"/>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matchingName="62. Code snippet_1">
  <p:cSld name="62. Code snippet_1">
    <p:spTree>
      <p:nvGrpSpPr>
        <p:cNvPr id="1" name="Shape 603"/>
        <p:cNvGrpSpPr/>
        <p:nvPr/>
      </p:nvGrpSpPr>
      <p:grpSpPr>
        <a:xfrm>
          <a:off x="0" y="0"/>
          <a:ext cx="0" cy="0"/>
          <a:chOff x="0" y="0"/>
          <a:chExt cx="0" cy="0"/>
        </a:xfrm>
      </p:grpSpPr>
      <p:pic>
        <p:nvPicPr>
          <p:cNvPr id="604" name="Google Shape;604;p67"/>
          <p:cNvPicPr preferRelativeResize="0"/>
          <p:nvPr/>
        </p:nvPicPr>
        <p:blipFill rotWithShape="1">
          <a:blip r:embed="rId2">
            <a:alphaModFix/>
          </a:blip>
          <a:srcRect/>
          <a:stretch/>
        </p:blipFill>
        <p:spPr>
          <a:xfrm>
            <a:off x="7703097" y="-1629690"/>
            <a:ext cx="6858000" cy="6858000"/>
          </a:xfrm>
          <a:prstGeom prst="rect">
            <a:avLst/>
          </a:prstGeom>
          <a:noFill/>
          <a:ln>
            <a:noFill/>
          </a:ln>
        </p:spPr>
      </p:pic>
      <p:grpSp>
        <p:nvGrpSpPr>
          <p:cNvPr id="605" name="Google Shape;605;p67"/>
          <p:cNvGrpSpPr/>
          <p:nvPr/>
        </p:nvGrpSpPr>
        <p:grpSpPr>
          <a:xfrm>
            <a:off x="5322710" y="884374"/>
            <a:ext cx="6568527" cy="4806228"/>
            <a:chOff x="4796385" y="2821973"/>
            <a:chExt cx="5385971" cy="3940946"/>
          </a:xfrm>
        </p:grpSpPr>
        <p:sp>
          <p:nvSpPr>
            <p:cNvPr id="606" name="Google Shape;606;p67"/>
            <p:cNvSpPr/>
            <p:nvPr/>
          </p:nvSpPr>
          <p:spPr>
            <a:xfrm>
              <a:off x="4805901" y="2831493"/>
              <a:ext cx="5366939" cy="3921908"/>
            </a:xfrm>
            <a:custGeom>
              <a:avLst/>
              <a:gdLst/>
              <a:ahLst/>
              <a:cxnLst/>
              <a:rect l="l" t="t" r="r" b="b"/>
              <a:pathLst>
                <a:path w="5366939" h="3921908" extrusionOk="0">
                  <a:moveTo>
                    <a:pt x="0" y="57115"/>
                  </a:moveTo>
                  <a:cubicBezTo>
                    <a:pt x="0" y="25571"/>
                    <a:pt x="25562" y="0"/>
                    <a:pt x="57095" y="0"/>
                  </a:cubicBezTo>
                  <a:lnTo>
                    <a:pt x="5309845" y="0"/>
                  </a:lnTo>
                  <a:cubicBezTo>
                    <a:pt x="5341380" y="0"/>
                    <a:pt x="5366940" y="25571"/>
                    <a:pt x="5366940" y="57115"/>
                  </a:cubicBezTo>
                  <a:lnTo>
                    <a:pt x="5366940" y="3864794"/>
                  </a:lnTo>
                  <a:cubicBezTo>
                    <a:pt x="5366940" y="3896340"/>
                    <a:pt x="5341380" y="3921909"/>
                    <a:pt x="5309845" y="3921909"/>
                  </a:cubicBezTo>
                  <a:lnTo>
                    <a:pt x="57095" y="3921909"/>
                  </a:lnTo>
                  <a:cubicBezTo>
                    <a:pt x="25562" y="3921909"/>
                    <a:pt x="0" y="3896340"/>
                    <a:pt x="0" y="3864794"/>
                  </a:cubicBezTo>
                  <a:lnTo>
                    <a:pt x="0" y="57115"/>
                  </a:lnTo>
                  <a:close/>
                </a:path>
              </a:pathLst>
            </a:custGeom>
            <a:solidFill>
              <a:srgbClr val="161B22"/>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sp>
          <p:nvSpPr>
            <p:cNvPr id="607" name="Google Shape;607;p67"/>
            <p:cNvSpPr/>
            <p:nvPr/>
          </p:nvSpPr>
          <p:spPr>
            <a:xfrm>
              <a:off x="4971313" y="3047906"/>
              <a:ext cx="2361341" cy="147696"/>
            </a:xfrm>
            <a:custGeom>
              <a:avLst/>
              <a:gdLst/>
              <a:ahLst/>
              <a:cxnLst/>
              <a:rect l="l" t="t" r="r" b="b"/>
              <a:pathLst>
                <a:path w="2361341" h="147696" extrusionOk="0">
                  <a:moveTo>
                    <a:pt x="11895" y="118246"/>
                  </a:moveTo>
                  <a:cubicBezTo>
                    <a:pt x="18958" y="118246"/>
                    <a:pt x="23790" y="113263"/>
                    <a:pt x="23790" y="106645"/>
                  </a:cubicBezTo>
                  <a:cubicBezTo>
                    <a:pt x="23790" y="100100"/>
                    <a:pt x="18958" y="95118"/>
                    <a:pt x="11895" y="95118"/>
                  </a:cubicBezTo>
                  <a:cubicBezTo>
                    <a:pt x="4906" y="95118"/>
                    <a:pt x="0" y="100100"/>
                    <a:pt x="0" y="106645"/>
                  </a:cubicBezTo>
                  <a:cubicBezTo>
                    <a:pt x="0" y="113263"/>
                    <a:pt x="4906" y="118246"/>
                    <a:pt x="11895" y="118246"/>
                  </a:cubicBezTo>
                  <a:close/>
                  <a:moveTo>
                    <a:pt x="80216" y="147696"/>
                  </a:moveTo>
                  <a:cubicBezTo>
                    <a:pt x="103931" y="147696"/>
                    <a:pt x="118948" y="135871"/>
                    <a:pt x="118948" y="117205"/>
                  </a:cubicBezTo>
                  <a:lnTo>
                    <a:pt x="118948" y="35473"/>
                  </a:lnTo>
                  <a:lnTo>
                    <a:pt x="101180" y="35473"/>
                  </a:lnTo>
                  <a:lnTo>
                    <a:pt x="101180" y="48488"/>
                  </a:lnTo>
                  <a:lnTo>
                    <a:pt x="99916" y="48488"/>
                  </a:lnTo>
                  <a:cubicBezTo>
                    <a:pt x="95456" y="39638"/>
                    <a:pt x="85791" y="34135"/>
                    <a:pt x="74715" y="34135"/>
                  </a:cubicBezTo>
                  <a:cubicBezTo>
                    <a:pt x="53973" y="34135"/>
                    <a:pt x="41111" y="50347"/>
                    <a:pt x="41111" y="75261"/>
                  </a:cubicBezTo>
                  <a:cubicBezTo>
                    <a:pt x="41111" y="99654"/>
                    <a:pt x="53899" y="115569"/>
                    <a:pt x="74417" y="115569"/>
                  </a:cubicBezTo>
                  <a:cubicBezTo>
                    <a:pt x="85717" y="115569"/>
                    <a:pt x="94564" y="110809"/>
                    <a:pt x="99247" y="102033"/>
                  </a:cubicBezTo>
                  <a:lnTo>
                    <a:pt x="100511" y="102033"/>
                  </a:lnTo>
                  <a:lnTo>
                    <a:pt x="100511" y="117502"/>
                  </a:lnTo>
                  <a:cubicBezTo>
                    <a:pt x="100511" y="127840"/>
                    <a:pt x="93152" y="133938"/>
                    <a:pt x="80514" y="133938"/>
                  </a:cubicBezTo>
                  <a:cubicBezTo>
                    <a:pt x="70402" y="133938"/>
                    <a:pt x="63861" y="130294"/>
                    <a:pt x="62671" y="124567"/>
                  </a:cubicBezTo>
                  <a:lnTo>
                    <a:pt x="44159" y="124567"/>
                  </a:lnTo>
                  <a:cubicBezTo>
                    <a:pt x="45647" y="138549"/>
                    <a:pt x="59326" y="147696"/>
                    <a:pt x="80216" y="147696"/>
                  </a:cubicBezTo>
                  <a:close/>
                  <a:moveTo>
                    <a:pt x="80216" y="100918"/>
                  </a:moveTo>
                  <a:cubicBezTo>
                    <a:pt x="67354" y="100918"/>
                    <a:pt x="60069" y="90953"/>
                    <a:pt x="60069" y="75186"/>
                  </a:cubicBezTo>
                  <a:cubicBezTo>
                    <a:pt x="60069" y="59495"/>
                    <a:pt x="67354" y="49529"/>
                    <a:pt x="80216" y="49529"/>
                  </a:cubicBezTo>
                  <a:cubicBezTo>
                    <a:pt x="93002" y="49529"/>
                    <a:pt x="100809" y="59495"/>
                    <a:pt x="100809" y="75261"/>
                  </a:cubicBezTo>
                  <a:cubicBezTo>
                    <a:pt x="100809" y="90953"/>
                    <a:pt x="93077" y="100918"/>
                    <a:pt x="80216" y="100918"/>
                  </a:cubicBezTo>
                  <a:close/>
                  <a:moveTo>
                    <a:pt x="150990" y="21864"/>
                  </a:moveTo>
                  <a:cubicBezTo>
                    <a:pt x="157086" y="21864"/>
                    <a:pt x="162067" y="17030"/>
                    <a:pt x="162067" y="10932"/>
                  </a:cubicBezTo>
                  <a:cubicBezTo>
                    <a:pt x="162067" y="4908"/>
                    <a:pt x="157086" y="0"/>
                    <a:pt x="150990" y="0"/>
                  </a:cubicBezTo>
                  <a:cubicBezTo>
                    <a:pt x="144968" y="0"/>
                    <a:pt x="139988" y="4908"/>
                    <a:pt x="139988" y="10932"/>
                  </a:cubicBezTo>
                  <a:cubicBezTo>
                    <a:pt x="139988" y="17030"/>
                    <a:pt x="144968" y="21864"/>
                    <a:pt x="150990" y="21864"/>
                  </a:cubicBezTo>
                  <a:close/>
                  <a:moveTo>
                    <a:pt x="141846" y="116759"/>
                  </a:moveTo>
                  <a:lnTo>
                    <a:pt x="160209" y="116759"/>
                  </a:lnTo>
                  <a:lnTo>
                    <a:pt x="160209" y="35473"/>
                  </a:lnTo>
                  <a:lnTo>
                    <a:pt x="141846" y="35473"/>
                  </a:lnTo>
                  <a:lnTo>
                    <a:pt x="141846" y="116759"/>
                  </a:lnTo>
                  <a:close/>
                  <a:moveTo>
                    <a:pt x="188977" y="15543"/>
                  </a:moveTo>
                  <a:lnTo>
                    <a:pt x="188977" y="35994"/>
                  </a:lnTo>
                  <a:lnTo>
                    <a:pt x="176121" y="35994"/>
                  </a:lnTo>
                  <a:lnTo>
                    <a:pt x="176121" y="50347"/>
                  </a:lnTo>
                  <a:lnTo>
                    <a:pt x="188977" y="50347"/>
                  </a:lnTo>
                  <a:lnTo>
                    <a:pt x="188977" y="95192"/>
                  </a:lnTo>
                  <a:cubicBezTo>
                    <a:pt x="188977" y="110883"/>
                    <a:pt x="196409" y="117131"/>
                    <a:pt x="215070" y="117131"/>
                  </a:cubicBezTo>
                  <a:cubicBezTo>
                    <a:pt x="218638" y="117131"/>
                    <a:pt x="222064" y="116833"/>
                    <a:pt x="224738" y="116312"/>
                  </a:cubicBezTo>
                  <a:lnTo>
                    <a:pt x="224738" y="102183"/>
                  </a:lnTo>
                  <a:cubicBezTo>
                    <a:pt x="222511" y="102406"/>
                    <a:pt x="221093" y="102554"/>
                    <a:pt x="218495" y="102554"/>
                  </a:cubicBezTo>
                  <a:cubicBezTo>
                    <a:pt x="210759" y="102554"/>
                    <a:pt x="207343" y="98910"/>
                    <a:pt x="207343" y="90804"/>
                  </a:cubicBezTo>
                  <a:lnTo>
                    <a:pt x="207343" y="50347"/>
                  </a:lnTo>
                  <a:lnTo>
                    <a:pt x="224738" y="50347"/>
                  </a:lnTo>
                  <a:lnTo>
                    <a:pt x="224738" y="35994"/>
                  </a:lnTo>
                  <a:lnTo>
                    <a:pt x="207343" y="35994"/>
                  </a:lnTo>
                  <a:lnTo>
                    <a:pt x="207343" y="15543"/>
                  </a:lnTo>
                  <a:lnTo>
                    <a:pt x="188977" y="15543"/>
                  </a:lnTo>
                  <a:close/>
                  <a:moveTo>
                    <a:pt x="243922" y="116759"/>
                  </a:moveTo>
                  <a:lnTo>
                    <a:pt x="262354" y="116759"/>
                  </a:lnTo>
                  <a:lnTo>
                    <a:pt x="262354" y="69535"/>
                  </a:lnTo>
                  <a:cubicBezTo>
                    <a:pt x="262354" y="57636"/>
                    <a:pt x="269120" y="49678"/>
                    <a:pt x="281243" y="49678"/>
                  </a:cubicBezTo>
                  <a:cubicBezTo>
                    <a:pt x="291939" y="49678"/>
                    <a:pt x="297591" y="56074"/>
                    <a:pt x="297591" y="68642"/>
                  </a:cubicBezTo>
                  <a:lnTo>
                    <a:pt x="297591" y="116759"/>
                  </a:lnTo>
                  <a:lnTo>
                    <a:pt x="316033" y="116759"/>
                  </a:lnTo>
                  <a:lnTo>
                    <a:pt x="316033" y="64329"/>
                  </a:lnTo>
                  <a:cubicBezTo>
                    <a:pt x="316033" y="44992"/>
                    <a:pt x="305470" y="33986"/>
                    <a:pt x="288075" y="33986"/>
                  </a:cubicBezTo>
                  <a:cubicBezTo>
                    <a:pt x="275962" y="33986"/>
                    <a:pt x="267264" y="39489"/>
                    <a:pt x="263391" y="48637"/>
                  </a:cubicBezTo>
                  <a:lnTo>
                    <a:pt x="262059" y="48637"/>
                  </a:lnTo>
                  <a:lnTo>
                    <a:pt x="262059" y="4015"/>
                  </a:lnTo>
                  <a:lnTo>
                    <a:pt x="243922" y="4015"/>
                  </a:lnTo>
                  <a:lnTo>
                    <a:pt x="243922" y="116759"/>
                  </a:lnTo>
                  <a:close/>
                  <a:moveTo>
                    <a:pt x="408660" y="35473"/>
                  </a:moveTo>
                  <a:lnTo>
                    <a:pt x="390228" y="35473"/>
                  </a:lnTo>
                  <a:lnTo>
                    <a:pt x="390228" y="82847"/>
                  </a:lnTo>
                  <a:cubicBezTo>
                    <a:pt x="390228" y="95118"/>
                    <a:pt x="383681" y="102554"/>
                    <a:pt x="371710" y="102554"/>
                  </a:cubicBezTo>
                  <a:cubicBezTo>
                    <a:pt x="360710" y="102554"/>
                    <a:pt x="355581" y="96456"/>
                    <a:pt x="355581" y="83814"/>
                  </a:cubicBezTo>
                  <a:lnTo>
                    <a:pt x="355581" y="35473"/>
                  </a:lnTo>
                  <a:lnTo>
                    <a:pt x="337139" y="35473"/>
                  </a:lnTo>
                  <a:lnTo>
                    <a:pt x="337139" y="88275"/>
                  </a:lnTo>
                  <a:cubicBezTo>
                    <a:pt x="337139" y="107314"/>
                    <a:pt x="347549" y="118395"/>
                    <a:pt x="365315" y="118395"/>
                  </a:cubicBezTo>
                  <a:cubicBezTo>
                    <a:pt x="377734" y="118395"/>
                    <a:pt x="385689" y="113115"/>
                    <a:pt x="389628" y="103818"/>
                  </a:cubicBezTo>
                  <a:lnTo>
                    <a:pt x="390894" y="103818"/>
                  </a:lnTo>
                  <a:lnTo>
                    <a:pt x="390894" y="116759"/>
                  </a:lnTo>
                  <a:lnTo>
                    <a:pt x="408660" y="116759"/>
                  </a:lnTo>
                  <a:lnTo>
                    <a:pt x="408660" y="35473"/>
                  </a:lnTo>
                  <a:close/>
                  <a:moveTo>
                    <a:pt x="476461" y="118097"/>
                  </a:moveTo>
                  <a:cubicBezTo>
                    <a:pt x="496977" y="118097"/>
                    <a:pt x="509842" y="101959"/>
                    <a:pt x="509842" y="76154"/>
                  </a:cubicBezTo>
                  <a:cubicBezTo>
                    <a:pt x="509842" y="50199"/>
                    <a:pt x="497053" y="34135"/>
                    <a:pt x="476461" y="34135"/>
                  </a:cubicBezTo>
                  <a:cubicBezTo>
                    <a:pt x="465308" y="34135"/>
                    <a:pt x="455944" y="39564"/>
                    <a:pt x="451710" y="48414"/>
                  </a:cubicBezTo>
                  <a:lnTo>
                    <a:pt x="450444" y="48414"/>
                  </a:lnTo>
                  <a:lnTo>
                    <a:pt x="450444" y="4015"/>
                  </a:lnTo>
                  <a:lnTo>
                    <a:pt x="432002" y="4015"/>
                  </a:lnTo>
                  <a:lnTo>
                    <a:pt x="432002" y="116759"/>
                  </a:lnTo>
                  <a:lnTo>
                    <a:pt x="449769" y="116759"/>
                  </a:lnTo>
                  <a:lnTo>
                    <a:pt x="449769" y="103893"/>
                  </a:lnTo>
                  <a:lnTo>
                    <a:pt x="451034" y="103893"/>
                  </a:lnTo>
                  <a:cubicBezTo>
                    <a:pt x="455649" y="112817"/>
                    <a:pt x="465089" y="118097"/>
                    <a:pt x="476461" y="118097"/>
                  </a:cubicBezTo>
                  <a:close/>
                  <a:moveTo>
                    <a:pt x="470665" y="49529"/>
                  </a:moveTo>
                  <a:cubicBezTo>
                    <a:pt x="483226" y="49529"/>
                    <a:pt x="490887" y="59569"/>
                    <a:pt x="490887" y="76154"/>
                  </a:cubicBezTo>
                  <a:cubicBezTo>
                    <a:pt x="490887" y="92738"/>
                    <a:pt x="483302" y="102777"/>
                    <a:pt x="470665" y="102777"/>
                  </a:cubicBezTo>
                  <a:cubicBezTo>
                    <a:pt x="458028" y="102777"/>
                    <a:pt x="450149" y="92588"/>
                    <a:pt x="450149" y="76154"/>
                  </a:cubicBezTo>
                  <a:cubicBezTo>
                    <a:pt x="450149" y="59718"/>
                    <a:pt x="458095" y="49529"/>
                    <a:pt x="470665" y="49529"/>
                  </a:cubicBezTo>
                  <a:close/>
                  <a:moveTo>
                    <a:pt x="534079" y="139739"/>
                  </a:moveTo>
                  <a:lnTo>
                    <a:pt x="572590" y="4015"/>
                  </a:lnTo>
                  <a:lnTo>
                    <a:pt x="556004" y="4015"/>
                  </a:lnTo>
                  <a:lnTo>
                    <a:pt x="517426" y="139739"/>
                  </a:lnTo>
                  <a:lnTo>
                    <a:pt x="534079" y="139739"/>
                  </a:lnTo>
                  <a:close/>
                  <a:moveTo>
                    <a:pt x="693317" y="35473"/>
                  </a:moveTo>
                  <a:lnTo>
                    <a:pt x="674952" y="35473"/>
                  </a:lnTo>
                  <a:lnTo>
                    <a:pt x="661496" y="96530"/>
                  </a:lnTo>
                  <a:lnTo>
                    <a:pt x="660240" y="96530"/>
                  </a:lnTo>
                  <a:lnTo>
                    <a:pt x="644472" y="35473"/>
                  </a:lnTo>
                  <a:lnTo>
                    <a:pt x="626859" y="35473"/>
                  </a:lnTo>
                  <a:lnTo>
                    <a:pt x="611243" y="96530"/>
                  </a:lnTo>
                  <a:lnTo>
                    <a:pt x="609977" y="96530"/>
                  </a:lnTo>
                  <a:lnTo>
                    <a:pt x="596446" y="35473"/>
                  </a:lnTo>
                  <a:lnTo>
                    <a:pt x="577861" y="35473"/>
                  </a:lnTo>
                  <a:lnTo>
                    <a:pt x="599872" y="116759"/>
                  </a:lnTo>
                  <a:lnTo>
                    <a:pt x="619056" y="116759"/>
                  </a:lnTo>
                  <a:lnTo>
                    <a:pt x="634814" y="57859"/>
                  </a:lnTo>
                  <a:lnTo>
                    <a:pt x="636079" y="57859"/>
                  </a:lnTo>
                  <a:lnTo>
                    <a:pt x="651914" y="116759"/>
                  </a:lnTo>
                  <a:lnTo>
                    <a:pt x="671317" y="116759"/>
                  </a:lnTo>
                  <a:lnTo>
                    <a:pt x="693317" y="35473"/>
                  </a:lnTo>
                  <a:close/>
                  <a:moveTo>
                    <a:pt x="741268" y="118395"/>
                  </a:moveTo>
                  <a:cubicBezTo>
                    <a:pt x="765581" y="118395"/>
                    <a:pt x="780378" y="102480"/>
                    <a:pt x="780378" y="76079"/>
                  </a:cubicBezTo>
                  <a:cubicBezTo>
                    <a:pt x="780378" y="49827"/>
                    <a:pt x="765505" y="33912"/>
                    <a:pt x="741268" y="33912"/>
                  </a:cubicBezTo>
                  <a:cubicBezTo>
                    <a:pt x="717107" y="33912"/>
                    <a:pt x="702167" y="49902"/>
                    <a:pt x="702167" y="76079"/>
                  </a:cubicBezTo>
                  <a:cubicBezTo>
                    <a:pt x="702167" y="102480"/>
                    <a:pt x="716888" y="118395"/>
                    <a:pt x="741268" y="118395"/>
                  </a:cubicBezTo>
                  <a:close/>
                  <a:moveTo>
                    <a:pt x="741268" y="103298"/>
                  </a:moveTo>
                  <a:cubicBezTo>
                    <a:pt x="728412" y="103298"/>
                    <a:pt x="721047" y="93333"/>
                    <a:pt x="721047" y="76154"/>
                  </a:cubicBezTo>
                  <a:cubicBezTo>
                    <a:pt x="721047" y="58974"/>
                    <a:pt x="728412" y="49009"/>
                    <a:pt x="741268" y="49009"/>
                  </a:cubicBezTo>
                  <a:cubicBezTo>
                    <a:pt x="754057" y="49009"/>
                    <a:pt x="761413" y="58974"/>
                    <a:pt x="761413" y="76154"/>
                  </a:cubicBezTo>
                  <a:cubicBezTo>
                    <a:pt x="761413" y="93333"/>
                    <a:pt x="754133" y="103298"/>
                    <a:pt x="741268" y="103298"/>
                  </a:cubicBezTo>
                  <a:close/>
                  <a:moveTo>
                    <a:pt x="798962" y="116759"/>
                  </a:moveTo>
                  <a:lnTo>
                    <a:pt x="817395" y="116759"/>
                  </a:lnTo>
                  <a:lnTo>
                    <a:pt x="817395" y="69535"/>
                  </a:lnTo>
                  <a:cubicBezTo>
                    <a:pt x="817395" y="58081"/>
                    <a:pt x="825721" y="50645"/>
                    <a:pt x="837692" y="50645"/>
                  </a:cubicBezTo>
                  <a:cubicBezTo>
                    <a:pt x="840813" y="50645"/>
                    <a:pt x="845723" y="51166"/>
                    <a:pt x="847132" y="51686"/>
                  </a:cubicBezTo>
                  <a:lnTo>
                    <a:pt x="847132" y="34878"/>
                  </a:lnTo>
                  <a:cubicBezTo>
                    <a:pt x="845428" y="34433"/>
                    <a:pt x="842155" y="34135"/>
                    <a:pt x="839481" y="34135"/>
                  </a:cubicBezTo>
                  <a:cubicBezTo>
                    <a:pt x="828994" y="34135"/>
                    <a:pt x="820221" y="40084"/>
                    <a:pt x="817994" y="48117"/>
                  </a:cubicBezTo>
                  <a:lnTo>
                    <a:pt x="816728" y="48117"/>
                  </a:lnTo>
                  <a:lnTo>
                    <a:pt x="816728" y="35473"/>
                  </a:lnTo>
                  <a:lnTo>
                    <a:pt x="798962" y="35473"/>
                  </a:lnTo>
                  <a:lnTo>
                    <a:pt x="798962" y="116759"/>
                  </a:lnTo>
                  <a:close/>
                  <a:moveTo>
                    <a:pt x="882740" y="68790"/>
                  </a:moveTo>
                  <a:lnTo>
                    <a:pt x="881484" y="68790"/>
                  </a:lnTo>
                  <a:lnTo>
                    <a:pt x="881484" y="4015"/>
                  </a:lnTo>
                  <a:lnTo>
                    <a:pt x="863042" y="4015"/>
                  </a:lnTo>
                  <a:lnTo>
                    <a:pt x="863042" y="116759"/>
                  </a:lnTo>
                  <a:lnTo>
                    <a:pt x="881484" y="116759"/>
                  </a:lnTo>
                  <a:lnTo>
                    <a:pt x="881484" y="88201"/>
                  </a:lnTo>
                  <a:lnTo>
                    <a:pt x="888021" y="81657"/>
                  </a:lnTo>
                  <a:lnTo>
                    <a:pt x="914114" y="116759"/>
                  </a:lnTo>
                  <a:lnTo>
                    <a:pt x="936419" y="116759"/>
                  </a:lnTo>
                  <a:lnTo>
                    <a:pt x="901771" y="70353"/>
                  </a:lnTo>
                  <a:lnTo>
                    <a:pt x="934192" y="35473"/>
                  </a:lnTo>
                  <a:lnTo>
                    <a:pt x="912781" y="35473"/>
                  </a:lnTo>
                  <a:lnTo>
                    <a:pt x="882740" y="68790"/>
                  </a:lnTo>
                  <a:close/>
                  <a:moveTo>
                    <a:pt x="955527" y="116759"/>
                  </a:moveTo>
                  <a:lnTo>
                    <a:pt x="973892" y="116759"/>
                  </a:lnTo>
                  <a:lnTo>
                    <a:pt x="973892" y="50347"/>
                  </a:lnTo>
                  <a:lnTo>
                    <a:pt x="991354" y="50347"/>
                  </a:lnTo>
                  <a:lnTo>
                    <a:pt x="991354" y="35994"/>
                  </a:lnTo>
                  <a:lnTo>
                    <a:pt x="973664" y="35994"/>
                  </a:lnTo>
                  <a:lnTo>
                    <a:pt x="973664" y="28483"/>
                  </a:lnTo>
                  <a:cubicBezTo>
                    <a:pt x="973664" y="20749"/>
                    <a:pt x="977080" y="16881"/>
                    <a:pt x="985787" y="16881"/>
                  </a:cubicBezTo>
                  <a:cubicBezTo>
                    <a:pt x="988385" y="16881"/>
                    <a:pt x="990611" y="17104"/>
                    <a:pt x="992106" y="17328"/>
                  </a:cubicBezTo>
                  <a:lnTo>
                    <a:pt x="992106" y="4015"/>
                  </a:lnTo>
                  <a:cubicBezTo>
                    <a:pt x="989127" y="3495"/>
                    <a:pt x="985787" y="3272"/>
                    <a:pt x="981838" y="3272"/>
                  </a:cubicBezTo>
                  <a:cubicBezTo>
                    <a:pt x="963777" y="3272"/>
                    <a:pt x="955527" y="11230"/>
                    <a:pt x="955527" y="27442"/>
                  </a:cubicBezTo>
                  <a:lnTo>
                    <a:pt x="955527" y="35994"/>
                  </a:lnTo>
                  <a:lnTo>
                    <a:pt x="942214" y="35994"/>
                  </a:lnTo>
                  <a:lnTo>
                    <a:pt x="942214" y="50347"/>
                  </a:lnTo>
                  <a:lnTo>
                    <a:pt x="955527" y="50347"/>
                  </a:lnTo>
                  <a:lnTo>
                    <a:pt x="955527" y="116759"/>
                  </a:lnTo>
                  <a:close/>
                  <a:moveTo>
                    <a:pt x="1009948" y="116759"/>
                  </a:moveTo>
                  <a:lnTo>
                    <a:pt x="1028380" y="116759"/>
                  </a:lnTo>
                  <a:lnTo>
                    <a:pt x="1028380" y="4015"/>
                  </a:lnTo>
                  <a:lnTo>
                    <a:pt x="1009948" y="4015"/>
                  </a:lnTo>
                  <a:lnTo>
                    <a:pt x="1009948" y="116759"/>
                  </a:lnTo>
                  <a:close/>
                  <a:moveTo>
                    <a:pt x="1086817" y="118395"/>
                  </a:moveTo>
                  <a:cubicBezTo>
                    <a:pt x="1111120" y="118395"/>
                    <a:pt x="1125917" y="102480"/>
                    <a:pt x="1125917" y="76079"/>
                  </a:cubicBezTo>
                  <a:cubicBezTo>
                    <a:pt x="1125917" y="49827"/>
                    <a:pt x="1111054" y="33912"/>
                    <a:pt x="1086817" y="33912"/>
                  </a:cubicBezTo>
                  <a:cubicBezTo>
                    <a:pt x="1062656" y="33912"/>
                    <a:pt x="1047707" y="49902"/>
                    <a:pt x="1047707" y="76079"/>
                  </a:cubicBezTo>
                  <a:cubicBezTo>
                    <a:pt x="1047707" y="102480"/>
                    <a:pt x="1062428" y="118395"/>
                    <a:pt x="1086817" y="118395"/>
                  </a:cubicBezTo>
                  <a:close/>
                  <a:moveTo>
                    <a:pt x="1086817" y="103298"/>
                  </a:moveTo>
                  <a:cubicBezTo>
                    <a:pt x="1073951" y="103298"/>
                    <a:pt x="1066596" y="93333"/>
                    <a:pt x="1066596" y="76154"/>
                  </a:cubicBezTo>
                  <a:cubicBezTo>
                    <a:pt x="1066596" y="58974"/>
                    <a:pt x="1073951" y="49009"/>
                    <a:pt x="1086817" y="49009"/>
                  </a:cubicBezTo>
                  <a:cubicBezTo>
                    <a:pt x="1099606" y="49009"/>
                    <a:pt x="1106962" y="58974"/>
                    <a:pt x="1106962" y="76154"/>
                  </a:cubicBezTo>
                  <a:cubicBezTo>
                    <a:pt x="1106962" y="93333"/>
                    <a:pt x="1099673" y="103298"/>
                    <a:pt x="1086817" y="103298"/>
                  </a:cubicBezTo>
                  <a:close/>
                  <a:moveTo>
                    <a:pt x="1250147" y="35473"/>
                  </a:moveTo>
                  <a:lnTo>
                    <a:pt x="1231781" y="35473"/>
                  </a:lnTo>
                  <a:lnTo>
                    <a:pt x="1218326" y="96530"/>
                  </a:lnTo>
                  <a:lnTo>
                    <a:pt x="1217060" y="96530"/>
                  </a:lnTo>
                  <a:lnTo>
                    <a:pt x="1201302" y="35473"/>
                  </a:lnTo>
                  <a:lnTo>
                    <a:pt x="1183679" y="35473"/>
                  </a:lnTo>
                  <a:lnTo>
                    <a:pt x="1168073" y="96530"/>
                  </a:lnTo>
                  <a:lnTo>
                    <a:pt x="1166807" y="96530"/>
                  </a:lnTo>
                  <a:lnTo>
                    <a:pt x="1153275" y="35473"/>
                  </a:lnTo>
                  <a:lnTo>
                    <a:pt x="1134691" y="35473"/>
                  </a:lnTo>
                  <a:lnTo>
                    <a:pt x="1156701" y="116759"/>
                  </a:lnTo>
                  <a:lnTo>
                    <a:pt x="1175876" y="116759"/>
                  </a:lnTo>
                  <a:lnTo>
                    <a:pt x="1191634" y="57859"/>
                  </a:lnTo>
                  <a:lnTo>
                    <a:pt x="1192899" y="57859"/>
                  </a:lnTo>
                  <a:lnTo>
                    <a:pt x="1208734" y="116759"/>
                  </a:lnTo>
                  <a:lnTo>
                    <a:pt x="1228137" y="116759"/>
                  </a:lnTo>
                  <a:lnTo>
                    <a:pt x="1250147" y="35473"/>
                  </a:lnTo>
                  <a:close/>
                  <a:moveTo>
                    <a:pt x="1262184" y="58676"/>
                  </a:moveTo>
                  <a:cubicBezTo>
                    <a:pt x="1262184" y="70873"/>
                    <a:pt x="1269550" y="78013"/>
                    <a:pt x="1285165" y="81582"/>
                  </a:cubicBezTo>
                  <a:lnTo>
                    <a:pt x="1299582" y="84928"/>
                  </a:lnTo>
                  <a:cubicBezTo>
                    <a:pt x="1307318" y="86714"/>
                    <a:pt x="1310810" y="89688"/>
                    <a:pt x="1310810" y="94299"/>
                  </a:cubicBezTo>
                  <a:cubicBezTo>
                    <a:pt x="1310810" y="100472"/>
                    <a:pt x="1304340" y="104711"/>
                    <a:pt x="1295052" y="104711"/>
                  </a:cubicBezTo>
                  <a:cubicBezTo>
                    <a:pt x="1285831" y="104711"/>
                    <a:pt x="1280103" y="100993"/>
                    <a:pt x="1278323" y="94968"/>
                  </a:cubicBezTo>
                  <a:lnTo>
                    <a:pt x="1260110" y="94968"/>
                  </a:lnTo>
                  <a:cubicBezTo>
                    <a:pt x="1261518" y="109619"/>
                    <a:pt x="1274308" y="118395"/>
                    <a:pt x="1294605" y="118395"/>
                  </a:cubicBezTo>
                  <a:cubicBezTo>
                    <a:pt x="1314893" y="118395"/>
                    <a:pt x="1329243" y="108057"/>
                    <a:pt x="1329243" y="92514"/>
                  </a:cubicBezTo>
                  <a:cubicBezTo>
                    <a:pt x="1329243" y="80541"/>
                    <a:pt x="1322030" y="73922"/>
                    <a:pt x="1306500" y="70353"/>
                  </a:cubicBezTo>
                  <a:lnTo>
                    <a:pt x="1292150" y="67155"/>
                  </a:lnTo>
                  <a:cubicBezTo>
                    <a:pt x="1283966" y="65221"/>
                    <a:pt x="1280103" y="62320"/>
                    <a:pt x="1280103" y="57710"/>
                  </a:cubicBezTo>
                  <a:cubicBezTo>
                    <a:pt x="1280103" y="51686"/>
                    <a:pt x="1286421" y="47596"/>
                    <a:pt x="1294824" y="47596"/>
                  </a:cubicBezTo>
                  <a:cubicBezTo>
                    <a:pt x="1303445" y="47596"/>
                    <a:pt x="1308879" y="51314"/>
                    <a:pt x="1310211" y="57041"/>
                  </a:cubicBezTo>
                  <a:lnTo>
                    <a:pt x="1327539" y="57041"/>
                  </a:lnTo>
                  <a:cubicBezTo>
                    <a:pt x="1326197" y="42390"/>
                    <a:pt x="1314084" y="33912"/>
                    <a:pt x="1294748" y="33912"/>
                  </a:cubicBezTo>
                  <a:cubicBezTo>
                    <a:pt x="1275573" y="33912"/>
                    <a:pt x="1262184" y="44101"/>
                    <a:pt x="1262184" y="58676"/>
                  </a:cubicBezTo>
                  <a:close/>
                  <a:moveTo>
                    <a:pt x="1353632" y="139739"/>
                  </a:moveTo>
                  <a:lnTo>
                    <a:pt x="1392142" y="4015"/>
                  </a:lnTo>
                  <a:lnTo>
                    <a:pt x="1375566" y="4015"/>
                  </a:lnTo>
                  <a:lnTo>
                    <a:pt x="1336979" y="139739"/>
                  </a:lnTo>
                  <a:lnTo>
                    <a:pt x="1353632" y="139739"/>
                  </a:lnTo>
                  <a:close/>
                  <a:moveTo>
                    <a:pt x="1448267" y="34135"/>
                  </a:moveTo>
                  <a:cubicBezTo>
                    <a:pt x="1437114" y="34135"/>
                    <a:pt x="1427675" y="39712"/>
                    <a:pt x="1422993" y="48934"/>
                  </a:cubicBezTo>
                  <a:lnTo>
                    <a:pt x="1421727" y="48934"/>
                  </a:lnTo>
                  <a:lnTo>
                    <a:pt x="1421727" y="35473"/>
                  </a:lnTo>
                  <a:lnTo>
                    <a:pt x="1403961" y="35473"/>
                  </a:lnTo>
                  <a:lnTo>
                    <a:pt x="1403961" y="143754"/>
                  </a:lnTo>
                  <a:lnTo>
                    <a:pt x="1422393" y="143754"/>
                  </a:lnTo>
                  <a:lnTo>
                    <a:pt x="1422393" y="104413"/>
                  </a:lnTo>
                  <a:lnTo>
                    <a:pt x="1423659" y="104413"/>
                  </a:lnTo>
                  <a:cubicBezTo>
                    <a:pt x="1427827" y="113040"/>
                    <a:pt x="1436819" y="118097"/>
                    <a:pt x="1448495" y="118097"/>
                  </a:cubicBezTo>
                  <a:cubicBezTo>
                    <a:pt x="1469011" y="118097"/>
                    <a:pt x="1481801" y="101959"/>
                    <a:pt x="1481801" y="76154"/>
                  </a:cubicBezTo>
                  <a:cubicBezTo>
                    <a:pt x="1481801" y="50124"/>
                    <a:pt x="1468859" y="34135"/>
                    <a:pt x="1448267" y="34135"/>
                  </a:cubicBezTo>
                  <a:close/>
                  <a:moveTo>
                    <a:pt x="1442472" y="102777"/>
                  </a:moveTo>
                  <a:cubicBezTo>
                    <a:pt x="1429901" y="102777"/>
                    <a:pt x="1422098" y="92588"/>
                    <a:pt x="1422022" y="76154"/>
                  </a:cubicBezTo>
                  <a:cubicBezTo>
                    <a:pt x="1422098" y="59718"/>
                    <a:pt x="1429977" y="49529"/>
                    <a:pt x="1442548" y="49529"/>
                  </a:cubicBezTo>
                  <a:cubicBezTo>
                    <a:pt x="1455185" y="49529"/>
                    <a:pt x="1462836" y="59495"/>
                    <a:pt x="1462836" y="76154"/>
                  </a:cubicBezTo>
                  <a:cubicBezTo>
                    <a:pt x="1462836" y="92812"/>
                    <a:pt x="1455251" y="102777"/>
                    <a:pt x="1442472" y="102777"/>
                  </a:cubicBezTo>
                  <a:close/>
                  <a:moveTo>
                    <a:pt x="1500309" y="116759"/>
                  </a:moveTo>
                  <a:lnTo>
                    <a:pt x="1518741" y="116759"/>
                  </a:lnTo>
                  <a:lnTo>
                    <a:pt x="1518741" y="69535"/>
                  </a:lnTo>
                  <a:cubicBezTo>
                    <a:pt x="1518741" y="58081"/>
                    <a:pt x="1527067" y="50645"/>
                    <a:pt x="1539039" y="50645"/>
                  </a:cubicBezTo>
                  <a:cubicBezTo>
                    <a:pt x="1542160" y="50645"/>
                    <a:pt x="1547070" y="51166"/>
                    <a:pt x="1548478" y="51686"/>
                  </a:cubicBezTo>
                  <a:lnTo>
                    <a:pt x="1548478" y="34878"/>
                  </a:lnTo>
                  <a:cubicBezTo>
                    <a:pt x="1546775" y="34433"/>
                    <a:pt x="1543501" y="34135"/>
                    <a:pt x="1540827" y="34135"/>
                  </a:cubicBezTo>
                  <a:cubicBezTo>
                    <a:pt x="1530341" y="34135"/>
                    <a:pt x="1521567" y="40084"/>
                    <a:pt x="1519341" y="48117"/>
                  </a:cubicBezTo>
                  <a:lnTo>
                    <a:pt x="1518075" y="48117"/>
                  </a:lnTo>
                  <a:lnTo>
                    <a:pt x="1518075" y="35473"/>
                  </a:lnTo>
                  <a:lnTo>
                    <a:pt x="1500309" y="35473"/>
                  </a:lnTo>
                  <a:lnTo>
                    <a:pt x="1500309" y="116759"/>
                  </a:lnTo>
                  <a:close/>
                  <a:moveTo>
                    <a:pt x="1573020" y="21864"/>
                  </a:moveTo>
                  <a:cubicBezTo>
                    <a:pt x="1579110" y="21864"/>
                    <a:pt x="1584096" y="17030"/>
                    <a:pt x="1584096" y="10932"/>
                  </a:cubicBezTo>
                  <a:cubicBezTo>
                    <a:pt x="1584096" y="4908"/>
                    <a:pt x="1579110" y="0"/>
                    <a:pt x="1573020" y="0"/>
                  </a:cubicBezTo>
                  <a:cubicBezTo>
                    <a:pt x="1566996" y="0"/>
                    <a:pt x="1562010" y="4908"/>
                    <a:pt x="1562010" y="10932"/>
                  </a:cubicBezTo>
                  <a:cubicBezTo>
                    <a:pt x="1562010" y="17030"/>
                    <a:pt x="1566996" y="21864"/>
                    <a:pt x="1573020" y="21864"/>
                  </a:cubicBezTo>
                  <a:close/>
                  <a:moveTo>
                    <a:pt x="1563875" y="116759"/>
                  </a:moveTo>
                  <a:lnTo>
                    <a:pt x="1582231" y="116759"/>
                  </a:lnTo>
                  <a:lnTo>
                    <a:pt x="1582231" y="35473"/>
                  </a:lnTo>
                  <a:lnTo>
                    <a:pt x="1563875" y="35473"/>
                  </a:lnTo>
                  <a:lnTo>
                    <a:pt x="1563875" y="116759"/>
                  </a:lnTo>
                  <a:close/>
                  <a:moveTo>
                    <a:pt x="1640221" y="118395"/>
                  </a:moveTo>
                  <a:cubicBezTo>
                    <a:pt x="1664533" y="118395"/>
                    <a:pt x="1679321" y="102480"/>
                    <a:pt x="1679321" y="76079"/>
                  </a:cubicBezTo>
                  <a:cubicBezTo>
                    <a:pt x="1679321" y="49827"/>
                    <a:pt x="1664457" y="33912"/>
                    <a:pt x="1640221" y="33912"/>
                  </a:cubicBezTo>
                  <a:cubicBezTo>
                    <a:pt x="1616060" y="33912"/>
                    <a:pt x="1601120" y="49902"/>
                    <a:pt x="1601120" y="76079"/>
                  </a:cubicBezTo>
                  <a:cubicBezTo>
                    <a:pt x="1601120" y="102480"/>
                    <a:pt x="1615841" y="118395"/>
                    <a:pt x="1640221" y="118395"/>
                  </a:cubicBezTo>
                  <a:close/>
                  <a:moveTo>
                    <a:pt x="1640221" y="103298"/>
                  </a:moveTo>
                  <a:cubicBezTo>
                    <a:pt x="1627355" y="103298"/>
                    <a:pt x="1619999" y="93333"/>
                    <a:pt x="1619999" y="76154"/>
                  </a:cubicBezTo>
                  <a:cubicBezTo>
                    <a:pt x="1619999" y="58974"/>
                    <a:pt x="1627355" y="49009"/>
                    <a:pt x="1640221" y="49009"/>
                  </a:cubicBezTo>
                  <a:cubicBezTo>
                    <a:pt x="1653010" y="49009"/>
                    <a:pt x="1660366" y="58974"/>
                    <a:pt x="1660366" y="76154"/>
                  </a:cubicBezTo>
                  <a:cubicBezTo>
                    <a:pt x="1660366" y="93333"/>
                    <a:pt x="1653086" y="103298"/>
                    <a:pt x="1640221" y="103298"/>
                  </a:cubicBezTo>
                  <a:close/>
                  <a:moveTo>
                    <a:pt x="1697906" y="116759"/>
                  </a:moveTo>
                  <a:lnTo>
                    <a:pt x="1716347" y="116759"/>
                  </a:lnTo>
                  <a:lnTo>
                    <a:pt x="1716347" y="69535"/>
                  </a:lnTo>
                  <a:cubicBezTo>
                    <a:pt x="1716347" y="58081"/>
                    <a:pt x="1724674" y="50645"/>
                    <a:pt x="1736645" y="50645"/>
                  </a:cubicBezTo>
                  <a:cubicBezTo>
                    <a:pt x="1739766" y="50645"/>
                    <a:pt x="1744676" y="51166"/>
                    <a:pt x="1746084" y="51686"/>
                  </a:cubicBezTo>
                  <a:lnTo>
                    <a:pt x="1746084" y="34878"/>
                  </a:lnTo>
                  <a:cubicBezTo>
                    <a:pt x="1744372" y="34433"/>
                    <a:pt x="1741107" y="34135"/>
                    <a:pt x="1738424" y="34135"/>
                  </a:cubicBezTo>
                  <a:cubicBezTo>
                    <a:pt x="1727947" y="34135"/>
                    <a:pt x="1719174" y="40084"/>
                    <a:pt x="1716937" y="48117"/>
                  </a:cubicBezTo>
                  <a:lnTo>
                    <a:pt x="1715681" y="48117"/>
                  </a:lnTo>
                  <a:lnTo>
                    <a:pt x="1715681" y="35473"/>
                  </a:lnTo>
                  <a:lnTo>
                    <a:pt x="1697906" y="35473"/>
                  </a:lnTo>
                  <a:lnTo>
                    <a:pt x="1697906" y="116759"/>
                  </a:lnTo>
                  <a:close/>
                  <a:moveTo>
                    <a:pt x="1770616" y="21864"/>
                  </a:moveTo>
                  <a:cubicBezTo>
                    <a:pt x="1776716" y="21864"/>
                    <a:pt x="1781693" y="17030"/>
                    <a:pt x="1781693" y="10932"/>
                  </a:cubicBezTo>
                  <a:cubicBezTo>
                    <a:pt x="1781693" y="4908"/>
                    <a:pt x="1776716" y="0"/>
                    <a:pt x="1770616" y="0"/>
                  </a:cubicBezTo>
                  <a:cubicBezTo>
                    <a:pt x="1764593" y="0"/>
                    <a:pt x="1759616" y="4908"/>
                    <a:pt x="1759616" y="10932"/>
                  </a:cubicBezTo>
                  <a:cubicBezTo>
                    <a:pt x="1759616" y="17030"/>
                    <a:pt x="1764593" y="21864"/>
                    <a:pt x="1770616" y="21864"/>
                  </a:cubicBezTo>
                  <a:close/>
                  <a:moveTo>
                    <a:pt x="1761472" y="116759"/>
                  </a:moveTo>
                  <a:lnTo>
                    <a:pt x="1779837" y="116759"/>
                  </a:lnTo>
                  <a:lnTo>
                    <a:pt x="1779837" y="35473"/>
                  </a:lnTo>
                  <a:lnTo>
                    <a:pt x="1761472" y="35473"/>
                  </a:lnTo>
                  <a:lnTo>
                    <a:pt x="1761472" y="116759"/>
                  </a:lnTo>
                  <a:close/>
                  <a:moveTo>
                    <a:pt x="1808604" y="15543"/>
                  </a:moveTo>
                  <a:lnTo>
                    <a:pt x="1808604" y="35994"/>
                  </a:lnTo>
                  <a:lnTo>
                    <a:pt x="1795748" y="35994"/>
                  </a:lnTo>
                  <a:lnTo>
                    <a:pt x="1795748" y="50347"/>
                  </a:lnTo>
                  <a:lnTo>
                    <a:pt x="1808604" y="50347"/>
                  </a:lnTo>
                  <a:lnTo>
                    <a:pt x="1808604" y="95192"/>
                  </a:lnTo>
                  <a:cubicBezTo>
                    <a:pt x="1808604" y="110883"/>
                    <a:pt x="1816045" y="117131"/>
                    <a:pt x="1834705" y="117131"/>
                  </a:cubicBezTo>
                  <a:cubicBezTo>
                    <a:pt x="1838265" y="117131"/>
                    <a:pt x="1841690" y="116833"/>
                    <a:pt x="1844364" y="116312"/>
                  </a:cubicBezTo>
                  <a:lnTo>
                    <a:pt x="1844364" y="102183"/>
                  </a:lnTo>
                  <a:cubicBezTo>
                    <a:pt x="1842137" y="102406"/>
                    <a:pt x="1840720" y="102554"/>
                    <a:pt x="1838122" y="102554"/>
                  </a:cubicBezTo>
                  <a:cubicBezTo>
                    <a:pt x="1830385" y="102554"/>
                    <a:pt x="1826969" y="98910"/>
                    <a:pt x="1826969" y="90804"/>
                  </a:cubicBezTo>
                  <a:lnTo>
                    <a:pt x="1826969" y="50347"/>
                  </a:lnTo>
                  <a:lnTo>
                    <a:pt x="1844364" y="50347"/>
                  </a:lnTo>
                  <a:lnTo>
                    <a:pt x="1844364" y="35994"/>
                  </a:lnTo>
                  <a:lnTo>
                    <a:pt x="1826969" y="35994"/>
                  </a:lnTo>
                  <a:lnTo>
                    <a:pt x="1826969" y="15543"/>
                  </a:lnTo>
                  <a:lnTo>
                    <a:pt x="1808604" y="15543"/>
                  </a:lnTo>
                  <a:close/>
                  <a:moveTo>
                    <a:pt x="1872169" y="21864"/>
                  </a:moveTo>
                  <a:cubicBezTo>
                    <a:pt x="1878269" y="21864"/>
                    <a:pt x="1883246" y="17030"/>
                    <a:pt x="1883246" y="10932"/>
                  </a:cubicBezTo>
                  <a:cubicBezTo>
                    <a:pt x="1883246" y="4908"/>
                    <a:pt x="1878269" y="0"/>
                    <a:pt x="1872169" y="0"/>
                  </a:cubicBezTo>
                  <a:cubicBezTo>
                    <a:pt x="1866146" y="0"/>
                    <a:pt x="1861169" y="4908"/>
                    <a:pt x="1861169" y="10932"/>
                  </a:cubicBezTo>
                  <a:cubicBezTo>
                    <a:pt x="1861169" y="17030"/>
                    <a:pt x="1866146" y="21864"/>
                    <a:pt x="1872169" y="21864"/>
                  </a:cubicBezTo>
                  <a:close/>
                  <a:moveTo>
                    <a:pt x="1863025" y="116759"/>
                  </a:moveTo>
                  <a:lnTo>
                    <a:pt x="1881390" y="116759"/>
                  </a:lnTo>
                  <a:lnTo>
                    <a:pt x="1881390" y="35473"/>
                  </a:lnTo>
                  <a:lnTo>
                    <a:pt x="1863025" y="35473"/>
                  </a:lnTo>
                  <a:lnTo>
                    <a:pt x="1863025" y="116759"/>
                  </a:lnTo>
                  <a:close/>
                  <a:moveTo>
                    <a:pt x="1902430" y="116759"/>
                  </a:moveTo>
                  <a:lnTo>
                    <a:pt x="1968298" y="116759"/>
                  </a:lnTo>
                  <a:lnTo>
                    <a:pt x="1968298" y="102257"/>
                  </a:lnTo>
                  <a:lnTo>
                    <a:pt x="1925991" y="102257"/>
                  </a:lnTo>
                  <a:lnTo>
                    <a:pt x="1925991" y="100993"/>
                  </a:lnTo>
                  <a:lnTo>
                    <a:pt x="1967623" y="47819"/>
                  </a:lnTo>
                  <a:lnTo>
                    <a:pt x="1967623" y="35473"/>
                  </a:lnTo>
                  <a:lnTo>
                    <a:pt x="1902801" y="35473"/>
                  </a:lnTo>
                  <a:lnTo>
                    <a:pt x="1902801" y="49976"/>
                  </a:lnTo>
                  <a:lnTo>
                    <a:pt x="1945622" y="49976"/>
                  </a:lnTo>
                  <a:lnTo>
                    <a:pt x="1945622" y="51314"/>
                  </a:lnTo>
                  <a:lnTo>
                    <a:pt x="1902430" y="105455"/>
                  </a:lnTo>
                  <a:lnTo>
                    <a:pt x="1902430" y="116759"/>
                  </a:lnTo>
                  <a:close/>
                  <a:moveTo>
                    <a:pt x="2039962" y="94523"/>
                  </a:moveTo>
                  <a:cubicBezTo>
                    <a:pt x="2037288" y="100621"/>
                    <a:pt x="2030960" y="104042"/>
                    <a:pt x="2021825" y="104042"/>
                  </a:cubicBezTo>
                  <a:cubicBezTo>
                    <a:pt x="2009702" y="104042"/>
                    <a:pt x="2001899" y="95415"/>
                    <a:pt x="2001452" y="81657"/>
                  </a:cubicBezTo>
                  <a:lnTo>
                    <a:pt x="2001452" y="80689"/>
                  </a:lnTo>
                  <a:lnTo>
                    <a:pt x="2058252" y="80689"/>
                  </a:lnTo>
                  <a:lnTo>
                    <a:pt x="2058252" y="74815"/>
                  </a:lnTo>
                  <a:cubicBezTo>
                    <a:pt x="2058252" y="49307"/>
                    <a:pt x="2044349" y="33912"/>
                    <a:pt x="2021150" y="33912"/>
                  </a:cubicBezTo>
                  <a:cubicBezTo>
                    <a:pt x="1997588" y="33912"/>
                    <a:pt x="1982943" y="50347"/>
                    <a:pt x="1982943" y="76451"/>
                  </a:cubicBezTo>
                  <a:cubicBezTo>
                    <a:pt x="1982943" y="102480"/>
                    <a:pt x="1997360" y="118395"/>
                    <a:pt x="2021302" y="118395"/>
                  </a:cubicBezTo>
                  <a:cubicBezTo>
                    <a:pt x="2040476" y="118395"/>
                    <a:pt x="2054084" y="109173"/>
                    <a:pt x="2057433" y="94523"/>
                  </a:cubicBezTo>
                  <a:lnTo>
                    <a:pt x="2039962" y="94523"/>
                  </a:lnTo>
                  <a:close/>
                  <a:moveTo>
                    <a:pt x="2021074" y="48265"/>
                  </a:moveTo>
                  <a:cubicBezTo>
                    <a:pt x="2032159" y="48265"/>
                    <a:pt x="2039439" y="56074"/>
                    <a:pt x="2039810" y="68419"/>
                  </a:cubicBezTo>
                  <a:lnTo>
                    <a:pt x="2001528" y="68419"/>
                  </a:lnTo>
                  <a:cubicBezTo>
                    <a:pt x="2002346" y="56222"/>
                    <a:pt x="2010073" y="48265"/>
                    <a:pt x="2021074" y="48265"/>
                  </a:cubicBezTo>
                  <a:close/>
                  <a:moveTo>
                    <a:pt x="2090511" y="118246"/>
                  </a:moveTo>
                  <a:cubicBezTo>
                    <a:pt x="2097571" y="118246"/>
                    <a:pt x="2102406" y="113263"/>
                    <a:pt x="2102406" y="106645"/>
                  </a:cubicBezTo>
                  <a:cubicBezTo>
                    <a:pt x="2102406" y="100100"/>
                    <a:pt x="2097571" y="95118"/>
                    <a:pt x="2090511" y="95118"/>
                  </a:cubicBezTo>
                  <a:cubicBezTo>
                    <a:pt x="2083526" y="95118"/>
                    <a:pt x="2078616" y="100100"/>
                    <a:pt x="2078616" y="106645"/>
                  </a:cubicBezTo>
                  <a:cubicBezTo>
                    <a:pt x="2078616" y="113263"/>
                    <a:pt x="2083526" y="118246"/>
                    <a:pt x="2090511" y="118246"/>
                  </a:cubicBezTo>
                  <a:close/>
                  <a:moveTo>
                    <a:pt x="2125082" y="146209"/>
                  </a:moveTo>
                  <a:cubicBezTo>
                    <a:pt x="2143295" y="146209"/>
                    <a:pt x="2151993" y="139589"/>
                    <a:pt x="2158911" y="119585"/>
                  </a:cubicBezTo>
                  <a:lnTo>
                    <a:pt x="2188276" y="35473"/>
                  </a:lnTo>
                  <a:lnTo>
                    <a:pt x="2168797" y="35473"/>
                  </a:lnTo>
                  <a:lnTo>
                    <a:pt x="2149842" y="99282"/>
                  </a:lnTo>
                  <a:lnTo>
                    <a:pt x="2148576" y="99282"/>
                  </a:lnTo>
                  <a:lnTo>
                    <a:pt x="2129545" y="35473"/>
                  </a:lnTo>
                  <a:lnTo>
                    <a:pt x="2109323" y="35473"/>
                  </a:lnTo>
                  <a:lnTo>
                    <a:pt x="2138394" y="117056"/>
                  </a:lnTo>
                  <a:lnTo>
                    <a:pt x="2137424" y="120849"/>
                  </a:lnTo>
                  <a:cubicBezTo>
                    <a:pt x="2135045" y="128509"/>
                    <a:pt x="2130658" y="131484"/>
                    <a:pt x="2122855" y="131484"/>
                  </a:cubicBezTo>
                  <a:cubicBezTo>
                    <a:pt x="2121589" y="131484"/>
                    <a:pt x="2118839" y="131410"/>
                    <a:pt x="2117802" y="131260"/>
                  </a:cubicBezTo>
                  <a:lnTo>
                    <a:pt x="2117802" y="145911"/>
                  </a:lnTo>
                  <a:cubicBezTo>
                    <a:pt x="2118982" y="146134"/>
                    <a:pt x="2123968" y="146209"/>
                    <a:pt x="2125082" y="146209"/>
                  </a:cubicBezTo>
                  <a:close/>
                  <a:moveTo>
                    <a:pt x="2204187" y="116759"/>
                  </a:moveTo>
                  <a:lnTo>
                    <a:pt x="2222619" y="116759"/>
                  </a:lnTo>
                  <a:lnTo>
                    <a:pt x="2222619" y="67304"/>
                  </a:lnTo>
                  <a:cubicBezTo>
                    <a:pt x="2222619" y="57189"/>
                    <a:pt x="2229385" y="49529"/>
                    <a:pt x="2238530" y="49529"/>
                  </a:cubicBezTo>
                  <a:cubicBezTo>
                    <a:pt x="2247598" y="49529"/>
                    <a:pt x="2253251" y="55032"/>
                    <a:pt x="2253251" y="64031"/>
                  </a:cubicBezTo>
                  <a:lnTo>
                    <a:pt x="2253251" y="116759"/>
                  </a:lnTo>
                  <a:lnTo>
                    <a:pt x="2271169" y="116759"/>
                  </a:lnTo>
                  <a:lnTo>
                    <a:pt x="2271169" y="65965"/>
                  </a:lnTo>
                  <a:cubicBezTo>
                    <a:pt x="2271169" y="56669"/>
                    <a:pt x="2277488" y="49529"/>
                    <a:pt x="2287079" y="49529"/>
                  </a:cubicBezTo>
                  <a:cubicBezTo>
                    <a:pt x="2296966" y="49529"/>
                    <a:pt x="2301943" y="54810"/>
                    <a:pt x="2301943" y="65370"/>
                  </a:cubicBezTo>
                  <a:lnTo>
                    <a:pt x="2301943" y="116759"/>
                  </a:lnTo>
                  <a:lnTo>
                    <a:pt x="2320309" y="116759"/>
                  </a:lnTo>
                  <a:lnTo>
                    <a:pt x="2320309" y="60833"/>
                  </a:lnTo>
                  <a:cubicBezTo>
                    <a:pt x="2320309" y="43952"/>
                    <a:pt x="2310498" y="33912"/>
                    <a:pt x="2294216" y="33912"/>
                  </a:cubicBezTo>
                  <a:cubicBezTo>
                    <a:pt x="2282912" y="33912"/>
                    <a:pt x="2273548" y="39712"/>
                    <a:pt x="2269532" y="48562"/>
                  </a:cubicBezTo>
                  <a:lnTo>
                    <a:pt x="2268267" y="48562"/>
                  </a:lnTo>
                  <a:cubicBezTo>
                    <a:pt x="2264850" y="39564"/>
                    <a:pt x="2257038" y="33912"/>
                    <a:pt x="2245819" y="33912"/>
                  </a:cubicBezTo>
                  <a:cubicBezTo>
                    <a:pt x="2235037" y="33912"/>
                    <a:pt x="2226711" y="39415"/>
                    <a:pt x="2223219" y="48562"/>
                  </a:cubicBezTo>
                  <a:lnTo>
                    <a:pt x="2221953" y="48562"/>
                  </a:lnTo>
                  <a:lnTo>
                    <a:pt x="2221953" y="35473"/>
                  </a:lnTo>
                  <a:lnTo>
                    <a:pt x="2204187" y="35473"/>
                  </a:lnTo>
                  <a:lnTo>
                    <a:pt x="2204187" y="116759"/>
                  </a:lnTo>
                  <a:close/>
                  <a:moveTo>
                    <a:pt x="2342909" y="116759"/>
                  </a:moveTo>
                  <a:lnTo>
                    <a:pt x="2361341" y="116759"/>
                  </a:lnTo>
                  <a:lnTo>
                    <a:pt x="2361341" y="4015"/>
                  </a:lnTo>
                  <a:lnTo>
                    <a:pt x="2342909" y="4015"/>
                  </a:lnTo>
                  <a:lnTo>
                    <a:pt x="2342909" y="116759"/>
                  </a:lnTo>
                  <a:close/>
                </a:path>
              </a:pathLst>
            </a:custGeom>
            <a:solidFill>
              <a:srgbClr val="FAFBFC"/>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sp>
          <p:nvSpPr>
            <p:cNvPr id="608" name="Google Shape;608;p67"/>
            <p:cNvSpPr/>
            <p:nvPr/>
          </p:nvSpPr>
          <p:spPr>
            <a:xfrm>
              <a:off x="4969138" y="3464946"/>
              <a:ext cx="127181" cy="3080707"/>
            </a:xfrm>
            <a:custGeom>
              <a:avLst/>
              <a:gdLst/>
              <a:ahLst/>
              <a:cxnLst/>
              <a:rect l="l" t="t" r="r" b="b"/>
              <a:pathLst>
                <a:path w="127181" h="3080707" extrusionOk="0">
                  <a:moveTo>
                    <a:pt x="126847" y="80486"/>
                  </a:moveTo>
                  <a:lnTo>
                    <a:pt x="126847" y="71840"/>
                  </a:lnTo>
                  <a:lnTo>
                    <a:pt x="104210" y="71840"/>
                  </a:lnTo>
                  <a:lnTo>
                    <a:pt x="104210" y="0"/>
                  </a:lnTo>
                  <a:lnTo>
                    <a:pt x="94564" y="0"/>
                  </a:lnTo>
                  <a:lnTo>
                    <a:pt x="70589" y="15562"/>
                  </a:lnTo>
                  <a:lnTo>
                    <a:pt x="70589" y="26047"/>
                  </a:lnTo>
                  <a:lnTo>
                    <a:pt x="93616" y="11156"/>
                  </a:lnTo>
                  <a:lnTo>
                    <a:pt x="94508" y="11156"/>
                  </a:lnTo>
                  <a:lnTo>
                    <a:pt x="94508" y="71840"/>
                  </a:lnTo>
                  <a:lnTo>
                    <a:pt x="70755" y="71840"/>
                  </a:lnTo>
                  <a:lnTo>
                    <a:pt x="70755" y="80486"/>
                  </a:lnTo>
                  <a:lnTo>
                    <a:pt x="126847" y="80486"/>
                  </a:lnTo>
                  <a:close/>
                  <a:moveTo>
                    <a:pt x="70811" y="222548"/>
                  </a:moveTo>
                  <a:lnTo>
                    <a:pt x="70811" y="222883"/>
                  </a:lnTo>
                  <a:lnTo>
                    <a:pt x="80290" y="222883"/>
                  </a:lnTo>
                  <a:lnTo>
                    <a:pt x="80290" y="222548"/>
                  </a:lnTo>
                  <a:cubicBezTo>
                    <a:pt x="80290" y="213066"/>
                    <a:pt x="86423" y="206875"/>
                    <a:pt x="95679" y="206875"/>
                  </a:cubicBezTo>
                  <a:cubicBezTo>
                    <a:pt x="105046" y="206875"/>
                    <a:pt x="111123" y="212565"/>
                    <a:pt x="111123" y="221210"/>
                  </a:cubicBezTo>
                  <a:cubicBezTo>
                    <a:pt x="111123" y="227569"/>
                    <a:pt x="108670" y="231863"/>
                    <a:pt x="98467" y="243297"/>
                  </a:cubicBezTo>
                  <a:lnTo>
                    <a:pt x="71258" y="273585"/>
                  </a:lnTo>
                  <a:lnTo>
                    <a:pt x="71258" y="280389"/>
                  </a:lnTo>
                  <a:lnTo>
                    <a:pt x="122164" y="280389"/>
                  </a:lnTo>
                  <a:lnTo>
                    <a:pt x="122164" y="271465"/>
                  </a:lnTo>
                  <a:lnTo>
                    <a:pt x="85308" y="271465"/>
                  </a:lnTo>
                  <a:lnTo>
                    <a:pt x="85308" y="270517"/>
                  </a:lnTo>
                  <a:lnTo>
                    <a:pt x="104265" y="249879"/>
                  </a:lnTo>
                  <a:cubicBezTo>
                    <a:pt x="117090" y="235879"/>
                    <a:pt x="120881" y="229186"/>
                    <a:pt x="120881" y="220820"/>
                  </a:cubicBezTo>
                  <a:cubicBezTo>
                    <a:pt x="120881" y="207378"/>
                    <a:pt x="110733" y="198230"/>
                    <a:pt x="95958" y="198230"/>
                  </a:cubicBezTo>
                  <a:cubicBezTo>
                    <a:pt x="81294" y="198230"/>
                    <a:pt x="70811" y="208381"/>
                    <a:pt x="70811" y="222548"/>
                  </a:cubicBezTo>
                  <a:close/>
                  <a:moveTo>
                    <a:pt x="86647" y="442977"/>
                  </a:moveTo>
                  <a:lnTo>
                    <a:pt x="95847" y="442977"/>
                  </a:lnTo>
                  <a:cubicBezTo>
                    <a:pt x="106997" y="442977"/>
                    <a:pt x="114079" y="448945"/>
                    <a:pt x="114079" y="458312"/>
                  </a:cubicBezTo>
                  <a:cubicBezTo>
                    <a:pt x="114079" y="467403"/>
                    <a:pt x="107221" y="473096"/>
                    <a:pt x="96181" y="473096"/>
                  </a:cubicBezTo>
                  <a:cubicBezTo>
                    <a:pt x="86144" y="473096"/>
                    <a:pt x="79007" y="467517"/>
                    <a:pt x="78116" y="458931"/>
                  </a:cubicBezTo>
                  <a:lnTo>
                    <a:pt x="68804" y="458931"/>
                  </a:lnTo>
                  <a:cubicBezTo>
                    <a:pt x="69529" y="472819"/>
                    <a:pt x="80569" y="481967"/>
                    <a:pt x="96459" y="481967"/>
                  </a:cubicBezTo>
                  <a:cubicBezTo>
                    <a:pt x="112517" y="481967"/>
                    <a:pt x="124003" y="472201"/>
                    <a:pt x="124003" y="458541"/>
                  </a:cubicBezTo>
                  <a:cubicBezTo>
                    <a:pt x="124003" y="447555"/>
                    <a:pt x="117647" y="440026"/>
                    <a:pt x="106942" y="438626"/>
                  </a:cubicBezTo>
                  <a:lnTo>
                    <a:pt x="106942" y="437732"/>
                  </a:lnTo>
                  <a:cubicBezTo>
                    <a:pt x="115584" y="435618"/>
                    <a:pt x="120658" y="428698"/>
                    <a:pt x="120658" y="418998"/>
                  </a:cubicBezTo>
                  <a:cubicBezTo>
                    <a:pt x="120658" y="406775"/>
                    <a:pt x="110399" y="398132"/>
                    <a:pt x="96013" y="398132"/>
                  </a:cubicBezTo>
                  <a:cubicBezTo>
                    <a:pt x="81126" y="398132"/>
                    <a:pt x="71313" y="406775"/>
                    <a:pt x="70365" y="420721"/>
                  </a:cubicBezTo>
                  <a:lnTo>
                    <a:pt x="79789" y="420721"/>
                  </a:lnTo>
                  <a:cubicBezTo>
                    <a:pt x="80569" y="412077"/>
                    <a:pt x="86590" y="406775"/>
                    <a:pt x="95623" y="406775"/>
                  </a:cubicBezTo>
                  <a:cubicBezTo>
                    <a:pt x="104712" y="406775"/>
                    <a:pt x="110733" y="412192"/>
                    <a:pt x="110733" y="420388"/>
                  </a:cubicBezTo>
                  <a:cubicBezTo>
                    <a:pt x="110733" y="428812"/>
                    <a:pt x="104433" y="434724"/>
                    <a:pt x="95400" y="434724"/>
                  </a:cubicBezTo>
                  <a:lnTo>
                    <a:pt x="86647" y="434724"/>
                  </a:lnTo>
                  <a:lnTo>
                    <a:pt x="86647" y="442977"/>
                  </a:lnTo>
                  <a:close/>
                  <a:moveTo>
                    <a:pt x="105882" y="680195"/>
                  </a:moveTo>
                  <a:lnTo>
                    <a:pt x="114859" y="680195"/>
                  </a:lnTo>
                  <a:lnTo>
                    <a:pt x="114859" y="663184"/>
                  </a:lnTo>
                  <a:lnTo>
                    <a:pt x="127181" y="663184"/>
                  </a:lnTo>
                  <a:lnTo>
                    <a:pt x="127181" y="654541"/>
                  </a:lnTo>
                  <a:lnTo>
                    <a:pt x="114915" y="654541"/>
                  </a:lnTo>
                  <a:lnTo>
                    <a:pt x="114915" y="631666"/>
                  </a:lnTo>
                  <a:lnTo>
                    <a:pt x="105994" y="631666"/>
                  </a:lnTo>
                  <a:lnTo>
                    <a:pt x="105994" y="654646"/>
                  </a:lnTo>
                  <a:lnTo>
                    <a:pt x="79621" y="654646"/>
                  </a:lnTo>
                  <a:lnTo>
                    <a:pt x="79621" y="653922"/>
                  </a:lnTo>
                  <a:lnTo>
                    <a:pt x="106552" y="599710"/>
                  </a:lnTo>
                  <a:lnTo>
                    <a:pt x="96515" y="599710"/>
                  </a:lnTo>
                  <a:lnTo>
                    <a:pt x="69195" y="655207"/>
                  </a:lnTo>
                  <a:lnTo>
                    <a:pt x="69195" y="663184"/>
                  </a:lnTo>
                  <a:lnTo>
                    <a:pt x="105882" y="663184"/>
                  </a:lnTo>
                  <a:lnTo>
                    <a:pt x="105882" y="680195"/>
                  </a:lnTo>
                  <a:close/>
                  <a:moveTo>
                    <a:pt x="95790" y="881716"/>
                  </a:moveTo>
                  <a:cubicBezTo>
                    <a:pt x="112127" y="881716"/>
                    <a:pt x="123223" y="870674"/>
                    <a:pt x="123223" y="854387"/>
                  </a:cubicBezTo>
                  <a:cubicBezTo>
                    <a:pt x="123223" y="838547"/>
                    <a:pt x="112852" y="827447"/>
                    <a:pt x="97965" y="827447"/>
                  </a:cubicBezTo>
                  <a:cubicBezTo>
                    <a:pt x="90884" y="827447"/>
                    <a:pt x="85141" y="829951"/>
                    <a:pt x="81182" y="834749"/>
                  </a:cubicBezTo>
                  <a:lnTo>
                    <a:pt x="80290" y="834749"/>
                  </a:lnTo>
                  <a:lnTo>
                    <a:pt x="82521" y="808485"/>
                  </a:lnTo>
                  <a:lnTo>
                    <a:pt x="118763" y="808485"/>
                  </a:lnTo>
                  <a:lnTo>
                    <a:pt x="118763" y="799613"/>
                  </a:lnTo>
                  <a:lnTo>
                    <a:pt x="74770" y="799613"/>
                  </a:lnTo>
                  <a:lnTo>
                    <a:pt x="70700" y="845068"/>
                  </a:lnTo>
                  <a:lnTo>
                    <a:pt x="80011" y="845068"/>
                  </a:lnTo>
                  <a:cubicBezTo>
                    <a:pt x="83189" y="839385"/>
                    <a:pt x="89155" y="836091"/>
                    <a:pt x="96348" y="836091"/>
                  </a:cubicBezTo>
                  <a:cubicBezTo>
                    <a:pt x="106663" y="836091"/>
                    <a:pt x="113633" y="843564"/>
                    <a:pt x="113633" y="854606"/>
                  </a:cubicBezTo>
                  <a:cubicBezTo>
                    <a:pt x="113633" y="865543"/>
                    <a:pt x="106718" y="872845"/>
                    <a:pt x="96348" y="872845"/>
                  </a:cubicBezTo>
                  <a:cubicBezTo>
                    <a:pt x="86925" y="872845"/>
                    <a:pt x="79732" y="867047"/>
                    <a:pt x="78841" y="858623"/>
                  </a:cubicBezTo>
                  <a:lnTo>
                    <a:pt x="69362" y="858623"/>
                  </a:lnTo>
                  <a:cubicBezTo>
                    <a:pt x="70197" y="872454"/>
                    <a:pt x="80792" y="881716"/>
                    <a:pt x="95790" y="881716"/>
                  </a:cubicBezTo>
                  <a:close/>
                  <a:moveTo>
                    <a:pt x="124059" y="1054176"/>
                  </a:moveTo>
                  <a:cubicBezTo>
                    <a:pt x="124059" y="1039507"/>
                    <a:pt x="113465" y="1028636"/>
                    <a:pt x="99136" y="1028636"/>
                  </a:cubicBezTo>
                  <a:cubicBezTo>
                    <a:pt x="94006" y="1028636"/>
                    <a:pt x="88207" y="1031025"/>
                    <a:pt x="85810" y="1034262"/>
                  </a:cubicBezTo>
                  <a:lnTo>
                    <a:pt x="84974" y="1033814"/>
                  </a:lnTo>
                  <a:cubicBezTo>
                    <a:pt x="85364" y="1032929"/>
                    <a:pt x="85141" y="1033148"/>
                    <a:pt x="87594" y="1029692"/>
                  </a:cubicBezTo>
                  <a:lnTo>
                    <a:pt x="109563" y="999517"/>
                  </a:lnTo>
                  <a:lnTo>
                    <a:pt x="98244" y="999517"/>
                  </a:lnTo>
                  <a:cubicBezTo>
                    <a:pt x="97686" y="1000354"/>
                    <a:pt x="80959" y="1023781"/>
                    <a:pt x="80234" y="1025009"/>
                  </a:cubicBezTo>
                  <a:cubicBezTo>
                    <a:pt x="72539" y="1036213"/>
                    <a:pt x="69362" y="1044752"/>
                    <a:pt x="69362" y="1054176"/>
                  </a:cubicBezTo>
                  <a:cubicBezTo>
                    <a:pt x="69362" y="1070187"/>
                    <a:pt x="80792" y="1081677"/>
                    <a:pt x="96627" y="1081677"/>
                  </a:cubicBezTo>
                  <a:cubicBezTo>
                    <a:pt x="112573" y="1081677"/>
                    <a:pt x="124059" y="1070130"/>
                    <a:pt x="124059" y="1054176"/>
                  </a:cubicBezTo>
                  <a:close/>
                  <a:moveTo>
                    <a:pt x="96683" y="1072919"/>
                  </a:moveTo>
                  <a:cubicBezTo>
                    <a:pt x="86590" y="1072919"/>
                    <a:pt x="78896" y="1064999"/>
                    <a:pt x="78896" y="1054680"/>
                  </a:cubicBezTo>
                  <a:cubicBezTo>
                    <a:pt x="78896" y="1044304"/>
                    <a:pt x="86590" y="1036384"/>
                    <a:pt x="96683" y="1036384"/>
                  </a:cubicBezTo>
                  <a:cubicBezTo>
                    <a:pt x="106831" y="1036384"/>
                    <a:pt x="114525" y="1044304"/>
                    <a:pt x="114525" y="1054680"/>
                  </a:cubicBezTo>
                  <a:cubicBezTo>
                    <a:pt x="114525" y="1064999"/>
                    <a:pt x="106831" y="1072919"/>
                    <a:pt x="96683" y="1072919"/>
                  </a:cubicBezTo>
                  <a:close/>
                  <a:moveTo>
                    <a:pt x="77168" y="1279904"/>
                  </a:moveTo>
                  <a:lnTo>
                    <a:pt x="87650" y="1279904"/>
                  </a:lnTo>
                  <a:lnTo>
                    <a:pt x="123724" y="1208511"/>
                  </a:lnTo>
                  <a:lnTo>
                    <a:pt x="123724" y="1199420"/>
                  </a:lnTo>
                  <a:lnTo>
                    <a:pt x="70031" y="1199420"/>
                  </a:lnTo>
                  <a:lnTo>
                    <a:pt x="70031" y="1208234"/>
                  </a:lnTo>
                  <a:lnTo>
                    <a:pt x="113689" y="1208234"/>
                  </a:lnTo>
                  <a:lnTo>
                    <a:pt x="113689" y="1208958"/>
                  </a:lnTo>
                  <a:lnTo>
                    <a:pt x="77168" y="1279904"/>
                  </a:lnTo>
                  <a:close/>
                  <a:moveTo>
                    <a:pt x="96738" y="1481597"/>
                  </a:moveTo>
                  <a:cubicBezTo>
                    <a:pt x="113465" y="1481597"/>
                    <a:pt x="125063" y="1472002"/>
                    <a:pt x="125063" y="1458275"/>
                  </a:cubicBezTo>
                  <a:cubicBezTo>
                    <a:pt x="125063" y="1448128"/>
                    <a:pt x="118428" y="1439817"/>
                    <a:pt x="108670" y="1437752"/>
                  </a:cubicBezTo>
                  <a:lnTo>
                    <a:pt x="108670" y="1436857"/>
                  </a:lnTo>
                  <a:cubicBezTo>
                    <a:pt x="116866" y="1434572"/>
                    <a:pt x="121829" y="1427709"/>
                    <a:pt x="121829" y="1418951"/>
                  </a:cubicBezTo>
                  <a:cubicBezTo>
                    <a:pt x="121829" y="1406405"/>
                    <a:pt x="111402" y="1397533"/>
                    <a:pt x="96738" y="1397533"/>
                  </a:cubicBezTo>
                  <a:cubicBezTo>
                    <a:pt x="82074" y="1397533"/>
                    <a:pt x="71592" y="1406405"/>
                    <a:pt x="71592" y="1418951"/>
                  </a:cubicBezTo>
                  <a:cubicBezTo>
                    <a:pt x="71592" y="1427709"/>
                    <a:pt x="76665" y="1434629"/>
                    <a:pt x="84750" y="1436857"/>
                  </a:cubicBezTo>
                  <a:lnTo>
                    <a:pt x="84750" y="1437752"/>
                  </a:lnTo>
                  <a:cubicBezTo>
                    <a:pt x="74826" y="1440151"/>
                    <a:pt x="68358" y="1448289"/>
                    <a:pt x="68358" y="1458275"/>
                  </a:cubicBezTo>
                  <a:cubicBezTo>
                    <a:pt x="68358" y="1472002"/>
                    <a:pt x="80011" y="1481597"/>
                    <a:pt x="96738" y="1481597"/>
                  </a:cubicBezTo>
                  <a:close/>
                  <a:moveTo>
                    <a:pt x="96738" y="1433516"/>
                  </a:moveTo>
                  <a:cubicBezTo>
                    <a:pt x="87427" y="1433516"/>
                    <a:pt x="81238" y="1428042"/>
                    <a:pt x="81238" y="1419789"/>
                  </a:cubicBezTo>
                  <a:cubicBezTo>
                    <a:pt x="81238" y="1411593"/>
                    <a:pt x="87427" y="1406129"/>
                    <a:pt x="96738" y="1406129"/>
                  </a:cubicBezTo>
                  <a:cubicBezTo>
                    <a:pt x="106049" y="1406129"/>
                    <a:pt x="112183" y="1411593"/>
                    <a:pt x="112183" y="1419789"/>
                  </a:cubicBezTo>
                  <a:cubicBezTo>
                    <a:pt x="112183" y="1428042"/>
                    <a:pt x="106049" y="1433516"/>
                    <a:pt x="96738" y="1433516"/>
                  </a:cubicBezTo>
                  <a:close/>
                  <a:moveTo>
                    <a:pt x="96738" y="1473058"/>
                  </a:moveTo>
                  <a:cubicBezTo>
                    <a:pt x="85810" y="1473058"/>
                    <a:pt x="78283" y="1466700"/>
                    <a:pt x="78283" y="1457495"/>
                  </a:cubicBezTo>
                  <a:cubicBezTo>
                    <a:pt x="78283" y="1448289"/>
                    <a:pt x="85810" y="1441931"/>
                    <a:pt x="96738" y="1441931"/>
                  </a:cubicBezTo>
                  <a:cubicBezTo>
                    <a:pt x="107667" y="1441931"/>
                    <a:pt x="115194" y="1448289"/>
                    <a:pt x="115194" y="1457495"/>
                  </a:cubicBezTo>
                  <a:cubicBezTo>
                    <a:pt x="115194" y="1466700"/>
                    <a:pt x="107667" y="1473058"/>
                    <a:pt x="96738" y="1473058"/>
                  </a:cubicBezTo>
                  <a:close/>
                  <a:moveTo>
                    <a:pt x="68971" y="1625051"/>
                  </a:moveTo>
                  <a:cubicBezTo>
                    <a:pt x="68971" y="1639778"/>
                    <a:pt x="79510" y="1650591"/>
                    <a:pt x="93895" y="1650591"/>
                  </a:cubicBezTo>
                  <a:cubicBezTo>
                    <a:pt x="98969" y="1650591"/>
                    <a:pt x="104655" y="1648193"/>
                    <a:pt x="107053" y="1644966"/>
                  </a:cubicBezTo>
                  <a:lnTo>
                    <a:pt x="107890" y="1645403"/>
                  </a:lnTo>
                  <a:cubicBezTo>
                    <a:pt x="107388" y="1646298"/>
                    <a:pt x="106997" y="1647022"/>
                    <a:pt x="105158" y="1649535"/>
                  </a:cubicBezTo>
                  <a:lnTo>
                    <a:pt x="83245" y="1679711"/>
                  </a:lnTo>
                  <a:lnTo>
                    <a:pt x="94508" y="1679711"/>
                  </a:lnTo>
                  <a:cubicBezTo>
                    <a:pt x="95121" y="1678873"/>
                    <a:pt x="111792" y="1655446"/>
                    <a:pt x="112517" y="1654218"/>
                  </a:cubicBezTo>
                  <a:cubicBezTo>
                    <a:pt x="120435" y="1642729"/>
                    <a:pt x="123669" y="1634199"/>
                    <a:pt x="123669" y="1625051"/>
                  </a:cubicBezTo>
                  <a:cubicBezTo>
                    <a:pt x="123669" y="1608983"/>
                    <a:pt x="112239" y="1597551"/>
                    <a:pt x="96348" y="1597551"/>
                  </a:cubicBezTo>
                  <a:cubicBezTo>
                    <a:pt x="80457" y="1597551"/>
                    <a:pt x="68971" y="1609097"/>
                    <a:pt x="68971" y="1625051"/>
                  </a:cubicBezTo>
                  <a:close/>
                  <a:moveTo>
                    <a:pt x="96292" y="1606308"/>
                  </a:moveTo>
                  <a:cubicBezTo>
                    <a:pt x="106440" y="1606308"/>
                    <a:pt x="114134" y="1614228"/>
                    <a:pt x="114134" y="1624547"/>
                  </a:cubicBezTo>
                  <a:cubicBezTo>
                    <a:pt x="114134" y="1634923"/>
                    <a:pt x="106440" y="1642843"/>
                    <a:pt x="96292" y="1642843"/>
                  </a:cubicBezTo>
                  <a:cubicBezTo>
                    <a:pt x="86200" y="1642843"/>
                    <a:pt x="78506" y="1634923"/>
                    <a:pt x="78506" y="1624547"/>
                  </a:cubicBezTo>
                  <a:cubicBezTo>
                    <a:pt x="78506" y="1614228"/>
                    <a:pt x="86200" y="1606308"/>
                    <a:pt x="96292" y="1606308"/>
                  </a:cubicBezTo>
                  <a:close/>
                  <a:moveTo>
                    <a:pt x="56259" y="1879614"/>
                  </a:moveTo>
                  <a:lnTo>
                    <a:pt x="56259" y="1870970"/>
                  </a:lnTo>
                  <a:lnTo>
                    <a:pt x="33621" y="1870970"/>
                  </a:lnTo>
                  <a:lnTo>
                    <a:pt x="33621" y="1799129"/>
                  </a:lnTo>
                  <a:lnTo>
                    <a:pt x="23975" y="1799129"/>
                  </a:lnTo>
                  <a:lnTo>
                    <a:pt x="0" y="1814693"/>
                  </a:lnTo>
                  <a:lnTo>
                    <a:pt x="0" y="1825174"/>
                  </a:lnTo>
                  <a:lnTo>
                    <a:pt x="23027" y="1810286"/>
                  </a:lnTo>
                  <a:lnTo>
                    <a:pt x="23920" y="1810286"/>
                  </a:lnTo>
                  <a:lnTo>
                    <a:pt x="23920" y="1870970"/>
                  </a:lnTo>
                  <a:lnTo>
                    <a:pt x="167" y="1870970"/>
                  </a:lnTo>
                  <a:lnTo>
                    <a:pt x="167" y="1879614"/>
                  </a:lnTo>
                  <a:lnTo>
                    <a:pt x="56259" y="1879614"/>
                  </a:lnTo>
                  <a:close/>
                  <a:moveTo>
                    <a:pt x="96515" y="1881451"/>
                  </a:moveTo>
                  <a:cubicBezTo>
                    <a:pt x="113968" y="1881451"/>
                    <a:pt x="123669" y="1866506"/>
                    <a:pt x="123669" y="1839395"/>
                  </a:cubicBezTo>
                  <a:cubicBezTo>
                    <a:pt x="123669" y="1812294"/>
                    <a:pt x="113968" y="1797339"/>
                    <a:pt x="96515" y="1797339"/>
                  </a:cubicBezTo>
                  <a:cubicBezTo>
                    <a:pt x="79007" y="1797339"/>
                    <a:pt x="69362" y="1812294"/>
                    <a:pt x="69362" y="1839395"/>
                  </a:cubicBezTo>
                  <a:cubicBezTo>
                    <a:pt x="69362" y="1866506"/>
                    <a:pt x="79007" y="1881451"/>
                    <a:pt x="96515" y="1881451"/>
                  </a:cubicBezTo>
                  <a:close/>
                  <a:moveTo>
                    <a:pt x="79120" y="1839395"/>
                  </a:moveTo>
                  <a:cubicBezTo>
                    <a:pt x="79120" y="1817539"/>
                    <a:pt x="85141" y="1806040"/>
                    <a:pt x="96515" y="1806040"/>
                  </a:cubicBezTo>
                  <a:cubicBezTo>
                    <a:pt x="104099" y="1806040"/>
                    <a:pt x="109339" y="1811180"/>
                    <a:pt x="111960" y="1821156"/>
                  </a:cubicBezTo>
                  <a:lnTo>
                    <a:pt x="79510" y="1848267"/>
                  </a:lnTo>
                  <a:cubicBezTo>
                    <a:pt x="79286" y="1845535"/>
                    <a:pt x="79120" y="1842575"/>
                    <a:pt x="79120" y="1839395"/>
                  </a:cubicBezTo>
                  <a:close/>
                  <a:moveTo>
                    <a:pt x="96515" y="1872750"/>
                  </a:moveTo>
                  <a:cubicBezTo>
                    <a:pt x="88932" y="1872750"/>
                    <a:pt x="83747" y="1867620"/>
                    <a:pt x="81126" y="1857748"/>
                  </a:cubicBezTo>
                  <a:lnTo>
                    <a:pt x="113465" y="1830419"/>
                  </a:lnTo>
                  <a:cubicBezTo>
                    <a:pt x="113744" y="1833208"/>
                    <a:pt x="113855" y="1836168"/>
                    <a:pt x="113855" y="1839395"/>
                  </a:cubicBezTo>
                  <a:cubicBezTo>
                    <a:pt x="113855" y="1861204"/>
                    <a:pt x="107890" y="1872750"/>
                    <a:pt x="96515" y="1872750"/>
                  </a:cubicBezTo>
                  <a:close/>
                  <a:moveTo>
                    <a:pt x="56259" y="2079517"/>
                  </a:moveTo>
                  <a:lnTo>
                    <a:pt x="56259" y="2070874"/>
                  </a:lnTo>
                  <a:lnTo>
                    <a:pt x="33621" y="2070874"/>
                  </a:lnTo>
                  <a:lnTo>
                    <a:pt x="33621" y="1999032"/>
                  </a:lnTo>
                  <a:lnTo>
                    <a:pt x="23975" y="1999032"/>
                  </a:lnTo>
                  <a:lnTo>
                    <a:pt x="0" y="2014596"/>
                  </a:lnTo>
                  <a:lnTo>
                    <a:pt x="0" y="2025077"/>
                  </a:lnTo>
                  <a:lnTo>
                    <a:pt x="23027" y="2010189"/>
                  </a:lnTo>
                  <a:lnTo>
                    <a:pt x="23920" y="2010189"/>
                  </a:lnTo>
                  <a:lnTo>
                    <a:pt x="23920" y="2070874"/>
                  </a:lnTo>
                  <a:lnTo>
                    <a:pt x="167" y="2070874"/>
                  </a:lnTo>
                  <a:lnTo>
                    <a:pt x="167" y="2079517"/>
                  </a:lnTo>
                  <a:lnTo>
                    <a:pt x="56259" y="2079517"/>
                  </a:lnTo>
                  <a:close/>
                  <a:moveTo>
                    <a:pt x="126847" y="2079517"/>
                  </a:moveTo>
                  <a:lnTo>
                    <a:pt x="126847" y="2070874"/>
                  </a:lnTo>
                  <a:lnTo>
                    <a:pt x="104210" y="2070874"/>
                  </a:lnTo>
                  <a:lnTo>
                    <a:pt x="104210" y="1999032"/>
                  </a:lnTo>
                  <a:lnTo>
                    <a:pt x="94564" y="1999032"/>
                  </a:lnTo>
                  <a:lnTo>
                    <a:pt x="70589" y="2014596"/>
                  </a:lnTo>
                  <a:lnTo>
                    <a:pt x="70589" y="2025077"/>
                  </a:lnTo>
                  <a:lnTo>
                    <a:pt x="93616" y="2010189"/>
                  </a:lnTo>
                  <a:lnTo>
                    <a:pt x="94508" y="2010189"/>
                  </a:lnTo>
                  <a:lnTo>
                    <a:pt x="94508" y="2070874"/>
                  </a:lnTo>
                  <a:lnTo>
                    <a:pt x="70755" y="2070874"/>
                  </a:lnTo>
                  <a:lnTo>
                    <a:pt x="70755" y="2079517"/>
                  </a:lnTo>
                  <a:lnTo>
                    <a:pt x="126847" y="2079517"/>
                  </a:lnTo>
                  <a:close/>
                  <a:moveTo>
                    <a:pt x="56259" y="2279420"/>
                  </a:moveTo>
                  <a:lnTo>
                    <a:pt x="56259" y="2270777"/>
                  </a:lnTo>
                  <a:lnTo>
                    <a:pt x="33621" y="2270777"/>
                  </a:lnTo>
                  <a:lnTo>
                    <a:pt x="33621" y="2198935"/>
                  </a:lnTo>
                  <a:lnTo>
                    <a:pt x="23975" y="2198935"/>
                  </a:lnTo>
                  <a:lnTo>
                    <a:pt x="0" y="2214499"/>
                  </a:lnTo>
                  <a:lnTo>
                    <a:pt x="0" y="2224980"/>
                  </a:lnTo>
                  <a:lnTo>
                    <a:pt x="23027" y="2210092"/>
                  </a:lnTo>
                  <a:lnTo>
                    <a:pt x="23920" y="2210092"/>
                  </a:lnTo>
                  <a:lnTo>
                    <a:pt x="23920" y="2270777"/>
                  </a:lnTo>
                  <a:lnTo>
                    <a:pt x="167" y="2270777"/>
                  </a:lnTo>
                  <a:lnTo>
                    <a:pt x="167" y="2279420"/>
                  </a:lnTo>
                  <a:lnTo>
                    <a:pt x="56259" y="2279420"/>
                  </a:lnTo>
                  <a:close/>
                  <a:moveTo>
                    <a:pt x="70811" y="2221582"/>
                  </a:moveTo>
                  <a:lnTo>
                    <a:pt x="70811" y="2221915"/>
                  </a:lnTo>
                  <a:lnTo>
                    <a:pt x="80290" y="2221915"/>
                  </a:lnTo>
                  <a:lnTo>
                    <a:pt x="80290" y="2221582"/>
                  </a:lnTo>
                  <a:cubicBezTo>
                    <a:pt x="80290" y="2212100"/>
                    <a:pt x="86423" y="2205903"/>
                    <a:pt x="95679" y="2205903"/>
                  </a:cubicBezTo>
                  <a:cubicBezTo>
                    <a:pt x="105046" y="2205903"/>
                    <a:pt x="111123" y="2211596"/>
                    <a:pt x="111123" y="2220239"/>
                  </a:cubicBezTo>
                  <a:cubicBezTo>
                    <a:pt x="111123" y="2226598"/>
                    <a:pt x="108670" y="2230891"/>
                    <a:pt x="98467" y="2242333"/>
                  </a:cubicBezTo>
                  <a:lnTo>
                    <a:pt x="71258" y="2272614"/>
                  </a:lnTo>
                  <a:lnTo>
                    <a:pt x="71258" y="2279420"/>
                  </a:lnTo>
                  <a:lnTo>
                    <a:pt x="122164" y="2279420"/>
                  </a:lnTo>
                  <a:lnTo>
                    <a:pt x="122164" y="2270491"/>
                  </a:lnTo>
                  <a:lnTo>
                    <a:pt x="85308" y="2270491"/>
                  </a:lnTo>
                  <a:lnTo>
                    <a:pt x="85308" y="2269549"/>
                  </a:lnTo>
                  <a:lnTo>
                    <a:pt x="104265" y="2248911"/>
                  </a:lnTo>
                  <a:cubicBezTo>
                    <a:pt x="117090" y="2234908"/>
                    <a:pt x="120881" y="2228216"/>
                    <a:pt x="120881" y="2219849"/>
                  </a:cubicBezTo>
                  <a:cubicBezTo>
                    <a:pt x="120881" y="2206408"/>
                    <a:pt x="110733" y="2197260"/>
                    <a:pt x="95958" y="2197260"/>
                  </a:cubicBezTo>
                  <a:cubicBezTo>
                    <a:pt x="81294" y="2197260"/>
                    <a:pt x="70811" y="2207417"/>
                    <a:pt x="70811" y="2221582"/>
                  </a:cubicBezTo>
                  <a:close/>
                  <a:moveTo>
                    <a:pt x="56259" y="2479323"/>
                  </a:moveTo>
                  <a:lnTo>
                    <a:pt x="56259" y="2470680"/>
                  </a:lnTo>
                  <a:lnTo>
                    <a:pt x="33621" y="2470680"/>
                  </a:lnTo>
                  <a:lnTo>
                    <a:pt x="33621" y="2398839"/>
                  </a:lnTo>
                  <a:lnTo>
                    <a:pt x="23975" y="2398839"/>
                  </a:lnTo>
                  <a:lnTo>
                    <a:pt x="0" y="2414402"/>
                  </a:lnTo>
                  <a:lnTo>
                    <a:pt x="0" y="2424883"/>
                  </a:lnTo>
                  <a:lnTo>
                    <a:pt x="23027" y="2409995"/>
                  </a:lnTo>
                  <a:lnTo>
                    <a:pt x="23920" y="2409995"/>
                  </a:lnTo>
                  <a:lnTo>
                    <a:pt x="23920" y="2470680"/>
                  </a:lnTo>
                  <a:lnTo>
                    <a:pt x="167" y="2470680"/>
                  </a:lnTo>
                  <a:lnTo>
                    <a:pt x="167" y="2479323"/>
                  </a:lnTo>
                  <a:lnTo>
                    <a:pt x="56259" y="2479323"/>
                  </a:lnTo>
                  <a:close/>
                  <a:moveTo>
                    <a:pt x="86647" y="2442008"/>
                  </a:moveTo>
                  <a:lnTo>
                    <a:pt x="95847" y="2442008"/>
                  </a:lnTo>
                  <a:cubicBezTo>
                    <a:pt x="106997" y="2442008"/>
                    <a:pt x="114079" y="2447976"/>
                    <a:pt x="114079" y="2457343"/>
                  </a:cubicBezTo>
                  <a:cubicBezTo>
                    <a:pt x="114079" y="2466434"/>
                    <a:pt x="107221" y="2472127"/>
                    <a:pt x="96181" y="2472127"/>
                  </a:cubicBezTo>
                  <a:cubicBezTo>
                    <a:pt x="86144" y="2472127"/>
                    <a:pt x="79007" y="2466548"/>
                    <a:pt x="78116" y="2457962"/>
                  </a:cubicBezTo>
                  <a:lnTo>
                    <a:pt x="68804" y="2457962"/>
                  </a:lnTo>
                  <a:cubicBezTo>
                    <a:pt x="69529" y="2471851"/>
                    <a:pt x="80569" y="2480999"/>
                    <a:pt x="96459" y="2480999"/>
                  </a:cubicBezTo>
                  <a:cubicBezTo>
                    <a:pt x="112517" y="2480999"/>
                    <a:pt x="124003" y="2471232"/>
                    <a:pt x="124003" y="2457572"/>
                  </a:cubicBezTo>
                  <a:cubicBezTo>
                    <a:pt x="124003" y="2446587"/>
                    <a:pt x="117647" y="2439057"/>
                    <a:pt x="106942" y="2437658"/>
                  </a:cubicBezTo>
                  <a:lnTo>
                    <a:pt x="106942" y="2436763"/>
                  </a:lnTo>
                  <a:cubicBezTo>
                    <a:pt x="115584" y="2434650"/>
                    <a:pt x="120658" y="2427729"/>
                    <a:pt x="120658" y="2418029"/>
                  </a:cubicBezTo>
                  <a:cubicBezTo>
                    <a:pt x="120658" y="2405807"/>
                    <a:pt x="110399" y="2397163"/>
                    <a:pt x="96013" y="2397163"/>
                  </a:cubicBezTo>
                  <a:cubicBezTo>
                    <a:pt x="81126" y="2397163"/>
                    <a:pt x="71313" y="2405807"/>
                    <a:pt x="70365" y="2419752"/>
                  </a:cubicBezTo>
                  <a:lnTo>
                    <a:pt x="79789" y="2419752"/>
                  </a:lnTo>
                  <a:cubicBezTo>
                    <a:pt x="80569" y="2411109"/>
                    <a:pt x="86590" y="2405807"/>
                    <a:pt x="95623" y="2405807"/>
                  </a:cubicBezTo>
                  <a:cubicBezTo>
                    <a:pt x="104712" y="2405807"/>
                    <a:pt x="110733" y="2411223"/>
                    <a:pt x="110733" y="2419419"/>
                  </a:cubicBezTo>
                  <a:cubicBezTo>
                    <a:pt x="110733" y="2427843"/>
                    <a:pt x="104433" y="2433755"/>
                    <a:pt x="95400" y="2433755"/>
                  </a:cubicBezTo>
                  <a:lnTo>
                    <a:pt x="86647" y="2433755"/>
                  </a:lnTo>
                  <a:lnTo>
                    <a:pt x="86647" y="2442008"/>
                  </a:lnTo>
                  <a:close/>
                  <a:moveTo>
                    <a:pt x="56259" y="2679226"/>
                  </a:moveTo>
                  <a:lnTo>
                    <a:pt x="56259" y="2670583"/>
                  </a:lnTo>
                  <a:lnTo>
                    <a:pt x="33621" y="2670583"/>
                  </a:lnTo>
                  <a:lnTo>
                    <a:pt x="33621" y="2598742"/>
                  </a:lnTo>
                  <a:lnTo>
                    <a:pt x="23975" y="2598742"/>
                  </a:lnTo>
                  <a:lnTo>
                    <a:pt x="0" y="2614305"/>
                  </a:lnTo>
                  <a:lnTo>
                    <a:pt x="0" y="2624786"/>
                  </a:lnTo>
                  <a:lnTo>
                    <a:pt x="23027" y="2609898"/>
                  </a:lnTo>
                  <a:lnTo>
                    <a:pt x="23920" y="2609898"/>
                  </a:lnTo>
                  <a:lnTo>
                    <a:pt x="23920" y="2670583"/>
                  </a:lnTo>
                  <a:lnTo>
                    <a:pt x="167" y="2670583"/>
                  </a:lnTo>
                  <a:lnTo>
                    <a:pt x="167" y="2679226"/>
                  </a:lnTo>
                  <a:lnTo>
                    <a:pt x="56259" y="2679226"/>
                  </a:lnTo>
                  <a:close/>
                  <a:moveTo>
                    <a:pt x="105882" y="2679226"/>
                  </a:moveTo>
                  <a:lnTo>
                    <a:pt x="114859" y="2679226"/>
                  </a:lnTo>
                  <a:lnTo>
                    <a:pt x="114859" y="2662216"/>
                  </a:lnTo>
                  <a:lnTo>
                    <a:pt x="127181" y="2662216"/>
                  </a:lnTo>
                  <a:lnTo>
                    <a:pt x="127181" y="2653572"/>
                  </a:lnTo>
                  <a:lnTo>
                    <a:pt x="114915" y="2653572"/>
                  </a:lnTo>
                  <a:lnTo>
                    <a:pt x="114915" y="2630698"/>
                  </a:lnTo>
                  <a:lnTo>
                    <a:pt x="105994" y="2630698"/>
                  </a:lnTo>
                  <a:lnTo>
                    <a:pt x="105994" y="2653677"/>
                  </a:lnTo>
                  <a:lnTo>
                    <a:pt x="79621" y="2653677"/>
                  </a:lnTo>
                  <a:lnTo>
                    <a:pt x="79621" y="2652953"/>
                  </a:lnTo>
                  <a:lnTo>
                    <a:pt x="106552" y="2598742"/>
                  </a:lnTo>
                  <a:lnTo>
                    <a:pt x="96515" y="2598742"/>
                  </a:lnTo>
                  <a:lnTo>
                    <a:pt x="69195" y="2654238"/>
                  </a:lnTo>
                  <a:lnTo>
                    <a:pt x="69195" y="2662216"/>
                  </a:lnTo>
                  <a:lnTo>
                    <a:pt x="105882" y="2662216"/>
                  </a:lnTo>
                  <a:lnTo>
                    <a:pt x="105882" y="2679226"/>
                  </a:lnTo>
                  <a:close/>
                  <a:moveTo>
                    <a:pt x="56259" y="2879129"/>
                  </a:moveTo>
                  <a:lnTo>
                    <a:pt x="56259" y="2870486"/>
                  </a:lnTo>
                  <a:lnTo>
                    <a:pt x="33621" y="2870486"/>
                  </a:lnTo>
                  <a:lnTo>
                    <a:pt x="33621" y="2798645"/>
                  </a:lnTo>
                  <a:lnTo>
                    <a:pt x="23975" y="2798645"/>
                  </a:lnTo>
                  <a:lnTo>
                    <a:pt x="0" y="2814208"/>
                  </a:lnTo>
                  <a:lnTo>
                    <a:pt x="0" y="2824689"/>
                  </a:lnTo>
                  <a:lnTo>
                    <a:pt x="23027" y="2809801"/>
                  </a:lnTo>
                  <a:lnTo>
                    <a:pt x="23920" y="2809801"/>
                  </a:lnTo>
                  <a:lnTo>
                    <a:pt x="23920" y="2870486"/>
                  </a:lnTo>
                  <a:lnTo>
                    <a:pt x="167" y="2870486"/>
                  </a:lnTo>
                  <a:lnTo>
                    <a:pt x="167" y="2879129"/>
                  </a:lnTo>
                  <a:lnTo>
                    <a:pt x="56259" y="2879129"/>
                  </a:lnTo>
                  <a:close/>
                  <a:moveTo>
                    <a:pt x="95790" y="2880748"/>
                  </a:moveTo>
                  <a:cubicBezTo>
                    <a:pt x="112127" y="2880748"/>
                    <a:pt x="123223" y="2869705"/>
                    <a:pt x="123223" y="2853418"/>
                  </a:cubicBezTo>
                  <a:cubicBezTo>
                    <a:pt x="123223" y="2837578"/>
                    <a:pt x="112852" y="2826479"/>
                    <a:pt x="97965" y="2826479"/>
                  </a:cubicBezTo>
                  <a:cubicBezTo>
                    <a:pt x="90884" y="2826479"/>
                    <a:pt x="85141" y="2828982"/>
                    <a:pt x="81182" y="2833780"/>
                  </a:cubicBezTo>
                  <a:lnTo>
                    <a:pt x="80290" y="2833780"/>
                  </a:lnTo>
                  <a:lnTo>
                    <a:pt x="82521" y="2807516"/>
                  </a:lnTo>
                  <a:lnTo>
                    <a:pt x="118763" y="2807516"/>
                  </a:lnTo>
                  <a:lnTo>
                    <a:pt x="118763" y="2798645"/>
                  </a:lnTo>
                  <a:lnTo>
                    <a:pt x="74770" y="2798645"/>
                  </a:lnTo>
                  <a:lnTo>
                    <a:pt x="70700" y="2844099"/>
                  </a:lnTo>
                  <a:lnTo>
                    <a:pt x="80011" y="2844099"/>
                  </a:lnTo>
                  <a:cubicBezTo>
                    <a:pt x="83189" y="2838416"/>
                    <a:pt x="89155" y="2835122"/>
                    <a:pt x="96348" y="2835122"/>
                  </a:cubicBezTo>
                  <a:cubicBezTo>
                    <a:pt x="106663" y="2835122"/>
                    <a:pt x="113633" y="2842595"/>
                    <a:pt x="113633" y="2853637"/>
                  </a:cubicBezTo>
                  <a:cubicBezTo>
                    <a:pt x="113633" y="2864575"/>
                    <a:pt x="106718" y="2871876"/>
                    <a:pt x="96348" y="2871876"/>
                  </a:cubicBezTo>
                  <a:cubicBezTo>
                    <a:pt x="86925" y="2871876"/>
                    <a:pt x="79732" y="2866079"/>
                    <a:pt x="78841" y="2857654"/>
                  </a:cubicBezTo>
                  <a:lnTo>
                    <a:pt x="69362" y="2857654"/>
                  </a:lnTo>
                  <a:cubicBezTo>
                    <a:pt x="70197" y="2871485"/>
                    <a:pt x="80792" y="2880748"/>
                    <a:pt x="95790" y="2880748"/>
                  </a:cubicBezTo>
                  <a:close/>
                  <a:moveTo>
                    <a:pt x="56259" y="3079033"/>
                  </a:moveTo>
                  <a:lnTo>
                    <a:pt x="56259" y="3070389"/>
                  </a:lnTo>
                  <a:lnTo>
                    <a:pt x="33621" y="3070389"/>
                  </a:lnTo>
                  <a:lnTo>
                    <a:pt x="33621" y="2998548"/>
                  </a:lnTo>
                  <a:lnTo>
                    <a:pt x="23975" y="2998548"/>
                  </a:lnTo>
                  <a:lnTo>
                    <a:pt x="0" y="3014112"/>
                  </a:lnTo>
                  <a:lnTo>
                    <a:pt x="0" y="3024592"/>
                  </a:lnTo>
                  <a:lnTo>
                    <a:pt x="23027" y="3009704"/>
                  </a:lnTo>
                  <a:lnTo>
                    <a:pt x="23920" y="3009704"/>
                  </a:lnTo>
                  <a:lnTo>
                    <a:pt x="23920" y="3070389"/>
                  </a:lnTo>
                  <a:lnTo>
                    <a:pt x="167" y="3070389"/>
                  </a:lnTo>
                  <a:lnTo>
                    <a:pt x="167" y="3079033"/>
                  </a:lnTo>
                  <a:lnTo>
                    <a:pt x="56259" y="3079033"/>
                  </a:lnTo>
                  <a:close/>
                  <a:moveTo>
                    <a:pt x="124059" y="3053207"/>
                  </a:moveTo>
                  <a:cubicBezTo>
                    <a:pt x="124059" y="3038538"/>
                    <a:pt x="113465" y="3027667"/>
                    <a:pt x="99136" y="3027667"/>
                  </a:cubicBezTo>
                  <a:cubicBezTo>
                    <a:pt x="94006" y="3027667"/>
                    <a:pt x="88207" y="3030056"/>
                    <a:pt x="85810" y="3033293"/>
                  </a:cubicBezTo>
                  <a:lnTo>
                    <a:pt x="84974" y="3032845"/>
                  </a:lnTo>
                  <a:cubicBezTo>
                    <a:pt x="85364" y="3031960"/>
                    <a:pt x="85141" y="3032179"/>
                    <a:pt x="87594" y="3028724"/>
                  </a:cubicBezTo>
                  <a:lnTo>
                    <a:pt x="109563" y="2998548"/>
                  </a:lnTo>
                  <a:lnTo>
                    <a:pt x="98244" y="2998548"/>
                  </a:lnTo>
                  <a:cubicBezTo>
                    <a:pt x="97686" y="2999385"/>
                    <a:pt x="80959" y="3022812"/>
                    <a:pt x="80234" y="3024040"/>
                  </a:cubicBezTo>
                  <a:cubicBezTo>
                    <a:pt x="72539" y="3035244"/>
                    <a:pt x="69362" y="3043783"/>
                    <a:pt x="69362" y="3053207"/>
                  </a:cubicBezTo>
                  <a:cubicBezTo>
                    <a:pt x="69362" y="3069218"/>
                    <a:pt x="80792" y="3080708"/>
                    <a:pt x="96627" y="3080708"/>
                  </a:cubicBezTo>
                  <a:cubicBezTo>
                    <a:pt x="112573" y="3080708"/>
                    <a:pt x="124059" y="3069161"/>
                    <a:pt x="124059" y="3053207"/>
                  </a:cubicBezTo>
                  <a:close/>
                  <a:moveTo>
                    <a:pt x="96683" y="3071950"/>
                  </a:moveTo>
                  <a:cubicBezTo>
                    <a:pt x="86590" y="3071950"/>
                    <a:pt x="78896" y="3064030"/>
                    <a:pt x="78896" y="3053711"/>
                  </a:cubicBezTo>
                  <a:cubicBezTo>
                    <a:pt x="78896" y="3043336"/>
                    <a:pt x="86590" y="3035416"/>
                    <a:pt x="96683" y="3035416"/>
                  </a:cubicBezTo>
                  <a:cubicBezTo>
                    <a:pt x="106831" y="3035416"/>
                    <a:pt x="114525" y="3043336"/>
                    <a:pt x="114525" y="3053711"/>
                  </a:cubicBezTo>
                  <a:cubicBezTo>
                    <a:pt x="114525" y="3064030"/>
                    <a:pt x="106831" y="3071950"/>
                    <a:pt x="96683" y="3071950"/>
                  </a:cubicBezTo>
                  <a:close/>
                </a:path>
              </a:pathLst>
            </a:custGeom>
            <a:solidFill>
              <a:srgbClr val="586069"/>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sp>
          <p:nvSpPr>
            <p:cNvPr id="609" name="Google Shape;609;p67"/>
            <p:cNvSpPr/>
            <p:nvPr/>
          </p:nvSpPr>
          <p:spPr>
            <a:xfrm>
              <a:off x="5262233" y="3483799"/>
              <a:ext cx="263674" cy="262651"/>
            </a:xfrm>
            <a:custGeom>
              <a:avLst/>
              <a:gdLst/>
              <a:ahLst/>
              <a:cxnLst/>
              <a:rect l="l" t="t" r="r" b="b"/>
              <a:pathLst>
                <a:path w="263674" h="262651" extrusionOk="0">
                  <a:moveTo>
                    <a:pt x="1446" y="61633"/>
                  </a:moveTo>
                  <a:lnTo>
                    <a:pt x="10934" y="61633"/>
                  </a:lnTo>
                  <a:lnTo>
                    <a:pt x="10934" y="25992"/>
                  </a:lnTo>
                  <a:cubicBezTo>
                    <a:pt x="10934" y="15673"/>
                    <a:pt x="17623" y="8702"/>
                    <a:pt x="27596" y="8702"/>
                  </a:cubicBezTo>
                  <a:cubicBezTo>
                    <a:pt x="37026" y="8702"/>
                    <a:pt x="41480" y="13832"/>
                    <a:pt x="41480" y="24765"/>
                  </a:cubicBezTo>
                  <a:lnTo>
                    <a:pt x="41480" y="61633"/>
                  </a:lnTo>
                  <a:lnTo>
                    <a:pt x="50967" y="61633"/>
                  </a:lnTo>
                  <a:lnTo>
                    <a:pt x="50967" y="22366"/>
                  </a:lnTo>
                  <a:cubicBezTo>
                    <a:pt x="50967" y="7865"/>
                    <a:pt x="43830" y="0"/>
                    <a:pt x="30670" y="0"/>
                  </a:cubicBezTo>
                  <a:cubicBezTo>
                    <a:pt x="21468" y="0"/>
                    <a:pt x="14550" y="4239"/>
                    <a:pt x="11324" y="11769"/>
                  </a:cubicBezTo>
                  <a:lnTo>
                    <a:pt x="10534" y="11769"/>
                  </a:lnTo>
                  <a:lnTo>
                    <a:pt x="10534" y="1116"/>
                  </a:lnTo>
                  <a:lnTo>
                    <a:pt x="1446" y="1116"/>
                  </a:lnTo>
                  <a:lnTo>
                    <a:pt x="1446" y="61633"/>
                  </a:lnTo>
                  <a:close/>
                  <a:moveTo>
                    <a:pt x="90658" y="62692"/>
                  </a:moveTo>
                  <a:cubicBezTo>
                    <a:pt x="99469" y="62692"/>
                    <a:pt x="106054" y="59068"/>
                    <a:pt x="108947" y="52597"/>
                  </a:cubicBezTo>
                  <a:lnTo>
                    <a:pt x="109899" y="52597"/>
                  </a:lnTo>
                  <a:lnTo>
                    <a:pt x="109899" y="61689"/>
                  </a:lnTo>
                  <a:lnTo>
                    <a:pt x="118929" y="61689"/>
                  </a:lnTo>
                  <a:lnTo>
                    <a:pt x="118929" y="20246"/>
                  </a:lnTo>
                  <a:cubicBezTo>
                    <a:pt x="118929" y="7641"/>
                    <a:pt x="110793" y="390"/>
                    <a:pt x="96576" y="390"/>
                  </a:cubicBezTo>
                  <a:cubicBezTo>
                    <a:pt x="84196" y="390"/>
                    <a:pt x="74823" y="7028"/>
                    <a:pt x="73710" y="16733"/>
                  </a:cubicBezTo>
                  <a:lnTo>
                    <a:pt x="83026" y="16733"/>
                  </a:lnTo>
                  <a:cubicBezTo>
                    <a:pt x="84586" y="11546"/>
                    <a:pt x="89487" y="8589"/>
                    <a:pt x="96462" y="8589"/>
                  </a:cubicBezTo>
                  <a:cubicBezTo>
                    <a:pt x="104884" y="8589"/>
                    <a:pt x="109508" y="12773"/>
                    <a:pt x="109508" y="20359"/>
                  </a:cubicBezTo>
                  <a:lnTo>
                    <a:pt x="109508" y="25825"/>
                  </a:lnTo>
                  <a:lnTo>
                    <a:pt x="92894" y="26661"/>
                  </a:lnTo>
                  <a:cubicBezTo>
                    <a:pt x="79124" y="27386"/>
                    <a:pt x="71426" y="33745"/>
                    <a:pt x="71426" y="44454"/>
                  </a:cubicBezTo>
                  <a:cubicBezTo>
                    <a:pt x="71426" y="55442"/>
                    <a:pt x="79124" y="62692"/>
                    <a:pt x="90658" y="62692"/>
                  </a:cubicBezTo>
                  <a:close/>
                  <a:moveTo>
                    <a:pt x="93398" y="54382"/>
                  </a:moveTo>
                  <a:cubicBezTo>
                    <a:pt x="85757" y="54382"/>
                    <a:pt x="81018" y="50477"/>
                    <a:pt x="81018" y="44120"/>
                  </a:cubicBezTo>
                  <a:cubicBezTo>
                    <a:pt x="81018" y="37816"/>
                    <a:pt x="85481" y="34191"/>
                    <a:pt x="93950" y="33801"/>
                  </a:cubicBezTo>
                  <a:lnTo>
                    <a:pt x="109508" y="33075"/>
                  </a:lnTo>
                  <a:lnTo>
                    <a:pt x="109508" y="40215"/>
                  </a:lnTo>
                  <a:cubicBezTo>
                    <a:pt x="109508" y="48302"/>
                    <a:pt x="102533" y="54382"/>
                    <a:pt x="93398" y="54382"/>
                  </a:cubicBezTo>
                  <a:close/>
                  <a:moveTo>
                    <a:pt x="196540" y="17068"/>
                  </a:moveTo>
                  <a:cubicBezTo>
                    <a:pt x="196540" y="5856"/>
                    <a:pt x="192134" y="0"/>
                    <a:pt x="183722" y="0"/>
                  </a:cubicBezTo>
                  <a:cubicBezTo>
                    <a:pt x="177642" y="0"/>
                    <a:pt x="172789" y="3681"/>
                    <a:pt x="171228" y="9482"/>
                  </a:cubicBezTo>
                  <a:lnTo>
                    <a:pt x="170229" y="9482"/>
                  </a:lnTo>
                  <a:cubicBezTo>
                    <a:pt x="168944" y="3514"/>
                    <a:pt x="164929" y="0"/>
                    <a:pt x="159238" y="0"/>
                  </a:cubicBezTo>
                  <a:cubicBezTo>
                    <a:pt x="153557" y="0"/>
                    <a:pt x="149208" y="3570"/>
                    <a:pt x="147705" y="9650"/>
                  </a:cubicBezTo>
                  <a:lnTo>
                    <a:pt x="146696" y="9650"/>
                  </a:lnTo>
                  <a:lnTo>
                    <a:pt x="146696" y="1116"/>
                  </a:lnTo>
                  <a:lnTo>
                    <a:pt x="138218" y="1116"/>
                  </a:lnTo>
                  <a:lnTo>
                    <a:pt x="138218" y="61633"/>
                  </a:lnTo>
                  <a:lnTo>
                    <a:pt x="146753" y="61633"/>
                  </a:lnTo>
                  <a:lnTo>
                    <a:pt x="146753" y="20804"/>
                  </a:lnTo>
                  <a:cubicBezTo>
                    <a:pt x="146753" y="13275"/>
                    <a:pt x="150103" y="8645"/>
                    <a:pt x="155451" y="8645"/>
                  </a:cubicBezTo>
                  <a:cubicBezTo>
                    <a:pt x="160580" y="8645"/>
                    <a:pt x="163254" y="12494"/>
                    <a:pt x="163254" y="19801"/>
                  </a:cubicBezTo>
                  <a:lnTo>
                    <a:pt x="163254" y="61633"/>
                  </a:lnTo>
                  <a:lnTo>
                    <a:pt x="171733" y="61633"/>
                  </a:lnTo>
                  <a:lnTo>
                    <a:pt x="171733" y="20804"/>
                  </a:lnTo>
                  <a:cubicBezTo>
                    <a:pt x="171733" y="13275"/>
                    <a:pt x="174968" y="8645"/>
                    <a:pt x="180259" y="8645"/>
                  </a:cubicBezTo>
                  <a:cubicBezTo>
                    <a:pt x="185340" y="8645"/>
                    <a:pt x="188014" y="12494"/>
                    <a:pt x="188014" y="19856"/>
                  </a:cubicBezTo>
                  <a:lnTo>
                    <a:pt x="188014" y="61633"/>
                  </a:lnTo>
                  <a:lnTo>
                    <a:pt x="196540" y="61633"/>
                  </a:lnTo>
                  <a:lnTo>
                    <a:pt x="196540" y="17068"/>
                  </a:lnTo>
                  <a:close/>
                  <a:moveTo>
                    <a:pt x="254311" y="46016"/>
                  </a:moveTo>
                  <a:cubicBezTo>
                    <a:pt x="252636" y="51314"/>
                    <a:pt x="247003" y="54550"/>
                    <a:pt x="239362" y="54550"/>
                  </a:cubicBezTo>
                  <a:cubicBezTo>
                    <a:pt x="229046" y="54550"/>
                    <a:pt x="222471" y="47410"/>
                    <a:pt x="222471" y="36310"/>
                  </a:cubicBezTo>
                  <a:lnTo>
                    <a:pt x="222471" y="33856"/>
                  </a:lnTo>
                  <a:lnTo>
                    <a:pt x="263675" y="33856"/>
                  </a:lnTo>
                  <a:lnTo>
                    <a:pt x="263675" y="27944"/>
                  </a:lnTo>
                  <a:cubicBezTo>
                    <a:pt x="263675" y="10430"/>
                    <a:pt x="254416" y="0"/>
                    <a:pt x="238696" y="0"/>
                  </a:cubicBezTo>
                  <a:cubicBezTo>
                    <a:pt x="223308" y="0"/>
                    <a:pt x="213108" y="10486"/>
                    <a:pt x="213108" y="26438"/>
                  </a:cubicBezTo>
                  <a:lnTo>
                    <a:pt x="213108" y="35529"/>
                  </a:lnTo>
                  <a:cubicBezTo>
                    <a:pt x="213108" y="52765"/>
                    <a:pt x="222747" y="62749"/>
                    <a:pt x="239362" y="62749"/>
                  </a:cubicBezTo>
                  <a:cubicBezTo>
                    <a:pt x="252075" y="62749"/>
                    <a:pt x="261667" y="56000"/>
                    <a:pt x="263503" y="46016"/>
                  </a:cubicBezTo>
                  <a:lnTo>
                    <a:pt x="254311" y="46016"/>
                  </a:lnTo>
                  <a:close/>
                  <a:moveTo>
                    <a:pt x="238639" y="8144"/>
                  </a:moveTo>
                  <a:cubicBezTo>
                    <a:pt x="248402" y="8144"/>
                    <a:pt x="254311" y="15116"/>
                    <a:pt x="254311" y="26661"/>
                  </a:cubicBezTo>
                  <a:lnTo>
                    <a:pt x="222471" y="26661"/>
                  </a:lnTo>
                  <a:cubicBezTo>
                    <a:pt x="222471" y="15059"/>
                    <a:pt x="228552" y="8144"/>
                    <a:pt x="238639" y="8144"/>
                  </a:cubicBezTo>
                  <a:close/>
                  <a:moveTo>
                    <a:pt x="26207" y="262652"/>
                  </a:moveTo>
                  <a:cubicBezTo>
                    <a:pt x="42212" y="262652"/>
                    <a:pt x="52413" y="252222"/>
                    <a:pt x="52413" y="235879"/>
                  </a:cubicBezTo>
                  <a:lnTo>
                    <a:pt x="52413" y="226732"/>
                  </a:lnTo>
                  <a:cubicBezTo>
                    <a:pt x="52413" y="210389"/>
                    <a:pt x="42212" y="199958"/>
                    <a:pt x="26207" y="199958"/>
                  </a:cubicBezTo>
                  <a:cubicBezTo>
                    <a:pt x="10201" y="199958"/>
                    <a:pt x="0" y="210389"/>
                    <a:pt x="0" y="226732"/>
                  </a:cubicBezTo>
                  <a:lnTo>
                    <a:pt x="0" y="235879"/>
                  </a:lnTo>
                  <a:cubicBezTo>
                    <a:pt x="0" y="252222"/>
                    <a:pt x="10201" y="262652"/>
                    <a:pt x="26207" y="262652"/>
                  </a:cubicBezTo>
                  <a:close/>
                  <a:moveTo>
                    <a:pt x="26207" y="208326"/>
                  </a:moveTo>
                  <a:cubicBezTo>
                    <a:pt x="36579" y="208326"/>
                    <a:pt x="43050" y="215688"/>
                    <a:pt x="43050" y="227568"/>
                  </a:cubicBezTo>
                  <a:lnTo>
                    <a:pt x="43050" y="234986"/>
                  </a:lnTo>
                  <a:cubicBezTo>
                    <a:pt x="43050" y="246922"/>
                    <a:pt x="36579" y="254229"/>
                    <a:pt x="26207" y="254229"/>
                  </a:cubicBezTo>
                  <a:cubicBezTo>
                    <a:pt x="15834" y="254229"/>
                    <a:pt x="9364" y="246922"/>
                    <a:pt x="9364" y="234986"/>
                  </a:cubicBezTo>
                  <a:lnTo>
                    <a:pt x="9364" y="227568"/>
                  </a:lnTo>
                  <a:cubicBezTo>
                    <a:pt x="9364" y="215688"/>
                    <a:pt x="15834" y="208326"/>
                    <a:pt x="26207" y="208326"/>
                  </a:cubicBezTo>
                  <a:close/>
                  <a:moveTo>
                    <a:pt x="72035" y="261536"/>
                  </a:moveTo>
                  <a:lnTo>
                    <a:pt x="81513" y="261536"/>
                  </a:lnTo>
                  <a:lnTo>
                    <a:pt x="81513" y="225895"/>
                  </a:lnTo>
                  <a:cubicBezTo>
                    <a:pt x="81513" y="215576"/>
                    <a:pt x="88212" y="208605"/>
                    <a:pt x="98185" y="208605"/>
                  </a:cubicBezTo>
                  <a:cubicBezTo>
                    <a:pt x="107615" y="208605"/>
                    <a:pt x="112068" y="213735"/>
                    <a:pt x="112068" y="224668"/>
                  </a:cubicBezTo>
                  <a:lnTo>
                    <a:pt x="112068" y="261536"/>
                  </a:lnTo>
                  <a:lnTo>
                    <a:pt x="121555" y="261536"/>
                  </a:lnTo>
                  <a:lnTo>
                    <a:pt x="121555" y="222269"/>
                  </a:lnTo>
                  <a:cubicBezTo>
                    <a:pt x="121555" y="207768"/>
                    <a:pt x="114419" y="199903"/>
                    <a:pt x="101258" y="199903"/>
                  </a:cubicBezTo>
                  <a:cubicBezTo>
                    <a:pt x="92056" y="199903"/>
                    <a:pt x="85138" y="204142"/>
                    <a:pt x="81903" y="211672"/>
                  </a:cubicBezTo>
                  <a:lnTo>
                    <a:pt x="81123" y="211672"/>
                  </a:lnTo>
                  <a:lnTo>
                    <a:pt x="81123" y="201019"/>
                  </a:lnTo>
                  <a:lnTo>
                    <a:pt x="72035" y="201019"/>
                  </a:lnTo>
                  <a:lnTo>
                    <a:pt x="72035" y="261536"/>
                  </a:lnTo>
                  <a:close/>
                </a:path>
              </a:pathLst>
            </a:custGeom>
            <a:solidFill>
              <a:srgbClr val="6E7681"/>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sp>
          <p:nvSpPr>
            <p:cNvPr id="610" name="Google Shape;610;p67"/>
            <p:cNvSpPr/>
            <p:nvPr/>
          </p:nvSpPr>
          <p:spPr>
            <a:xfrm>
              <a:off x="5419521" y="3454516"/>
              <a:ext cx="1798552" cy="291154"/>
            </a:xfrm>
            <a:custGeom>
              <a:avLst/>
              <a:gdLst/>
              <a:ahLst/>
              <a:cxnLst/>
              <a:rect l="l" t="t" r="r" b="b"/>
              <a:pathLst>
                <a:path w="1798552" h="291154" extrusionOk="0">
                  <a:moveTo>
                    <a:pt x="151274" y="48415"/>
                  </a:moveTo>
                  <a:cubicBezTo>
                    <a:pt x="156793" y="48415"/>
                    <a:pt x="161360" y="43729"/>
                    <a:pt x="161360" y="38096"/>
                  </a:cubicBezTo>
                  <a:cubicBezTo>
                    <a:pt x="161360" y="32462"/>
                    <a:pt x="156793" y="27777"/>
                    <a:pt x="151274" y="27777"/>
                  </a:cubicBezTo>
                  <a:cubicBezTo>
                    <a:pt x="145754" y="27777"/>
                    <a:pt x="141177" y="32462"/>
                    <a:pt x="141177" y="38096"/>
                  </a:cubicBezTo>
                  <a:cubicBezTo>
                    <a:pt x="141177" y="43729"/>
                    <a:pt x="145754" y="48415"/>
                    <a:pt x="151274" y="48415"/>
                  </a:cubicBezTo>
                  <a:close/>
                  <a:moveTo>
                    <a:pt x="151274" y="91251"/>
                  </a:moveTo>
                  <a:cubicBezTo>
                    <a:pt x="156793" y="91251"/>
                    <a:pt x="161360" y="86621"/>
                    <a:pt x="161360" y="80932"/>
                  </a:cubicBezTo>
                  <a:cubicBezTo>
                    <a:pt x="161360" y="75299"/>
                    <a:pt x="156793" y="70669"/>
                    <a:pt x="151274" y="70669"/>
                  </a:cubicBezTo>
                  <a:cubicBezTo>
                    <a:pt x="145754" y="70669"/>
                    <a:pt x="141177" y="75299"/>
                    <a:pt x="141177" y="80932"/>
                  </a:cubicBezTo>
                  <a:cubicBezTo>
                    <a:pt x="141177" y="86621"/>
                    <a:pt x="145754" y="91251"/>
                    <a:pt x="151274" y="91251"/>
                  </a:cubicBezTo>
                  <a:close/>
                  <a:moveTo>
                    <a:pt x="313243" y="90916"/>
                  </a:moveTo>
                  <a:lnTo>
                    <a:pt x="323615" y="90916"/>
                  </a:lnTo>
                  <a:lnTo>
                    <a:pt x="297694" y="10430"/>
                  </a:lnTo>
                  <a:lnTo>
                    <a:pt x="287207" y="10430"/>
                  </a:lnTo>
                  <a:lnTo>
                    <a:pt x="261277" y="90916"/>
                  </a:lnTo>
                  <a:lnTo>
                    <a:pt x="271259" y="90916"/>
                  </a:lnTo>
                  <a:lnTo>
                    <a:pt x="278291" y="67824"/>
                  </a:lnTo>
                  <a:lnTo>
                    <a:pt x="306277" y="67824"/>
                  </a:lnTo>
                  <a:lnTo>
                    <a:pt x="313243" y="90916"/>
                  </a:lnTo>
                  <a:close/>
                  <a:moveTo>
                    <a:pt x="292175" y="22255"/>
                  </a:moveTo>
                  <a:lnTo>
                    <a:pt x="292451" y="22255"/>
                  </a:lnTo>
                  <a:lnTo>
                    <a:pt x="303708" y="59403"/>
                  </a:lnTo>
                  <a:lnTo>
                    <a:pt x="280851" y="59403"/>
                  </a:lnTo>
                  <a:lnTo>
                    <a:pt x="292175" y="22255"/>
                  </a:lnTo>
                  <a:close/>
                  <a:moveTo>
                    <a:pt x="359242" y="91920"/>
                  </a:moveTo>
                  <a:cubicBezTo>
                    <a:pt x="367892" y="91920"/>
                    <a:pt x="374239" y="88350"/>
                    <a:pt x="377370" y="81657"/>
                  </a:cubicBezTo>
                  <a:lnTo>
                    <a:pt x="378426" y="81657"/>
                  </a:lnTo>
                  <a:lnTo>
                    <a:pt x="378426" y="90916"/>
                  </a:lnTo>
                  <a:lnTo>
                    <a:pt x="387733" y="90916"/>
                  </a:lnTo>
                  <a:lnTo>
                    <a:pt x="387733" y="6638"/>
                  </a:lnTo>
                  <a:lnTo>
                    <a:pt x="378093" y="6638"/>
                  </a:lnTo>
                  <a:lnTo>
                    <a:pt x="378093" y="39769"/>
                  </a:lnTo>
                  <a:lnTo>
                    <a:pt x="377085" y="39769"/>
                  </a:lnTo>
                  <a:cubicBezTo>
                    <a:pt x="374468" y="33132"/>
                    <a:pt x="367997" y="29394"/>
                    <a:pt x="359242" y="29394"/>
                  </a:cubicBezTo>
                  <a:cubicBezTo>
                    <a:pt x="345254" y="29394"/>
                    <a:pt x="336109" y="39490"/>
                    <a:pt x="336109" y="54996"/>
                  </a:cubicBezTo>
                  <a:lnTo>
                    <a:pt x="336109" y="66263"/>
                  </a:lnTo>
                  <a:cubicBezTo>
                    <a:pt x="336109" y="81824"/>
                    <a:pt x="345254" y="91920"/>
                    <a:pt x="359242" y="91920"/>
                  </a:cubicBezTo>
                  <a:close/>
                  <a:moveTo>
                    <a:pt x="362031" y="83275"/>
                  </a:moveTo>
                  <a:cubicBezTo>
                    <a:pt x="352048" y="83275"/>
                    <a:pt x="345644" y="76079"/>
                    <a:pt x="345644" y="64924"/>
                  </a:cubicBezTo>
                  <a:lnTo>
                    <a:pt x="345644" y="56223"/>
                  </a:lnTo>
                  <a:cubicBezTo>
                    <a:pt x="345644" y="45068"/>
                    <a:pt x="352048" y="37928"/>
                    <a:pt x="362031" y="37928"/>
                  </a:cubicBezTo>
                  <a:cubicBezTo>
                    <a:pt x="371956" y="37928"/>
                    <a:pt x="378369" y="45068"/>
                    <a:pt x="378369" y="56223"/>
                  </a:cubicBezTo>
                  <a:lnTo>
                    <a:pt x="378369" y="64924"/>
                  </a:lnTo>
                  <a:cubicBezTo>
                    <a:pt x="378369" y="76135"/>
                    <a:pt x="371956" y="83275"/>
                    <a:pt x="362031" y="83275"/>
                  </a:cubicBezTo>
                  <a:close/>
                  <a:moveTo>
                    <a:pt x="429831" y="91920"/>
                  </a:moveTo>
                  <a:cubicBezTo>
                    <a:pt x="438471" y="91920"/>
                    <a:pt x="444828" y="88350"/>
                    <a:pt x="447959" y="81657"/>
                  </a:cubicBezTo>
                  <a:lnTo>
                    <a:pt x="449015" y="81657"/>
                  </a:lnTo>
                  <a:lnTo>
                    <a:pt x="449015" y="90916"/>
                  </a:lnTo>
                  <a:lnTo>
                    <a:pt x="458321" y="90916"/>
                  </a:lnTo>
                  <a:lnTo>
                    <a:pt x="458321" y="6638"/>
                  </a:lnTo>
                  <a:lnTo>
                    <a:pt x="448682" y="6638"/>
                  </a:lnTo>
                  <a:lnTo>
                    <a:pt x="448682" y="39769"/>
                  </a:lnTo>
                  <a:lnTo>
                    <a:pt x="447673" y="39769"/>
                  </a:lnTo>
                  <a:cubicBezTo>
                    <a:pt x="445056" y="33132"/>
                    <a:pt x="438586" y="29394"/>
                    <a:pt x="429831" y="29394"/>
                  </a:cubicBezTo>
                  <a:cubicBezTo>
                    <a:pt x="415843" y="29394"/>
                    <a:pt x="406698" y="39490"/>
                    <a:pt x="406698" y="54996"/>
                  </a:cubicBezTo>
                  <a:lnTo>
                    <a:pt x="406698" y="66263"/>
                  </a:lnTo>
                  <a:cubicBezTo>
                    <a:pt x="406698" y="81824"/>
                    <a:pt x="415843" y="91920"/>
                    <a:pt x="429831" y="91920"/>
                  </a:cubicBezTo>
                  <a:close/>
                  <a:moveTo>
                    <a:pt x="432619" y="83275"/>
                  </a:moveTo>
                  <a:cubicBezTo>
                    <a:pt x="422637" y="83275"/>
                    <a:pt x="416233" y="76079"/>
                    <a:pt x="416233" y="64924"/>
                  </a:cubicBezTo>
                  <a:lnTo>
                    <a:pt x="416233" y="56223"/>
                  </a:lnTo>
                  <a:cubicBezTo>
                    <a:pt x="416233" y="45068"/>
                    <a:pt x="422637" y="37928"/>
                    <a:pt x="432619" y="37928"/>
                  </a:cubicBezTo>
                  <a:cubicBezTo>
                    <a:pt x="442544" y="37928"/>
                    <a:pt x="448958" y="45068"/>
                    <a:pt x="448958" y="56223"/>
                  </a:cubicBezTo>
                  <a:lnTo>
                    <a:pt x="448958" y="64924"/>
                  </a:lnTo>
                  <a:cubicBezTo>
                    <a:pt x="448958" y="76135"/>
                    <a:pt x="442544" y="83275"/>
                    <a:pt x="432619" y="83275"/>
                  </a:cubicBezTo>
                  <a:close/>
                  <a:moveTo>
                    <a:pt x="549988" y="90916"/>
                  </a:moveTo>
                  <a:lnTo>
                    <a:pt x="559465" y="90916"/>
                  </a:lnTo>
                  <a:lnTo>
                    <a:pt x="559465" y="55330"/>
                  </a:lnTo>
                  <a:cubicBezTo>
                    <a:pt x="559465" y="45011"/>
                    <a:pt x="566212" y="38040"/>
                    <a:pt x="576194" y="38040"/>
                  </a:cubicBezTo>
                  <a:cubicBezTo>
                    <a:pt x="585672" y="38040"/>
                    <a:pt x="590135" y="43227"/>
                    <a:pt x="590135" y="54103"/>
                  </a:cubicBezTo>
                  <a:lnTo>
                    <a:pt x="590135" y="90916"/>
                  </a:lnTo>
                  <a:lnTo>
                    <a:pt x="599613" y="90916"/>
                  </a:lnTo>
                  <a:lnTo>
                    <a:pt x="599613" y="51705"/>
                  </a:lnTo>
                  <a:cubicBezTo>
                    <a:pt x="599613" y="37259"/>
                    <a:pt x="592476" y="29338"/>
                    <a:pt x="579316" y="29338"/>
                  </a:cubicBezTo>
                  <a:cubicBezTo>
                    <a:pt x="570066" y="29338"/>
                    <a:pt x="563091" y="33578"/>
                    <a:pt x="559913" y="41108"/>
                  </a:cubicBezTo>
                  <a:lnTo>
                    <a:pt x="559132" y="41108"/>
                  </a:lnTo>
                  <a:lnTo>
                    <a:pt x="559132" y="6638"/>
                  </a:lnTo>
                  <a:lnTo>
                    <a:pt x="549988" y="6638"/>
                  </a:lnTo>
                  <a:lnTo>
                    <a:pt x="549988" y="90916"/>
                  </a:lnTo>
                  <a:close/>
                  <a:moveTo>
                    <a:pt x="646450" y="15562"/>
                  </a:moveTo>
                  <a:cubicBezTo>
                    <a:pt x="650913" y="15562"/>
                    <a:pt x="654310" y="12215"/>
                    <a:pt x="654310" y="7753"/>
                  </a:cubicBezTo>
                  <a:cubicBezTo>
                    <a:pt x="654310" y="3347"/>
                    <a:pt x="650913" y="0"/>
                    <a:pt x="646450" y="0"/>
                  </a:cubicBezTo>
                  <a:cubicBezTo>
                    <a:pt x="641987" y="0"/>
                    <a:pt x="638590" y="3347"/>
                    <a:pt x="638590" y="7753"/>
                  </a:cubicBezTo>
                  <a:cubicBezTo>
                    <a:pt x="638590" y="12215"/>
                    <a:pt x="641987" y="15562"/>
                    <a:pt x="646450" y="15562"/>
                  </a:cubicBezTo>
                  <a:close/>
                  <a:moveTo>
                    <a:pt x="671819" y="90916"/>
                  </a:moveTo>
                  <a:lnTo>
                    <a:pt x="671819" y="83051"/>
                  </a:lnTo>
                  <a:lnTo>
                    <a:pt x="651798" y="83051"/>
                  </a:lnTo>
                  <a:lnTo>
                    <a:pt x="651798" y="30399"/>
                  </a:lnTo>
                  <a:lnTo>
                    <a:pt x="621861" y="30399"/>
                  </a:lnTo>
                  <a:lnTo>
                    <a:pt x="621861" y="38263"/>
                  </a:lnTo>
                  <a:lnTo>
                    <a:pt x="642434" y="38263"/>
                  </a:lnTo>
                  <a:lnTo>
                    <a:pt x="642434" y="83051"/>
                  </a:lnTo>
                  <a:lnTo>
                    <a:pt x="621690" y="83051"/>
                  </a:lnTo>
                  <a:lnTo>
                    <a:pt x="621690" y="90916"/>
                  </a:lnTo>
                  <a:lnTo>
                    <a:pt x="671819" y="90916"/>
                  </a:lnTo>
                  <a:close/>
                  <a:moveTo>
                    <a:pt x="714193" y="113617"/>
                  </a:moveTo>
                  <a:cubicBezTo>
                    <a:pt x="730589" y="113617"/>
                    <a:pt x="740286" y="105139"/>
                    <a:pt x="740286" y="90916"/>
                  </a:cubicBezTo>
                  <a:lnTo>
                    <a:pt x="740286" y="30399"/>
                  </a:lnTo>
                  <a:lnTo>
                    <a:pt x="730922" y="30399"/>
                  </a:lnTo>
                  <a:lnTo>
                    <a:pt x="730922" y="39769"/>
                  </a:lnTo>
                  <a:lnTo>
                    <a:pt x="729866" y="39769"/>
                  </a:lnTo>
                  <a:cubicBezTo>
                    <a:pt x="727239" y="33243"/>
                    <a:pt x="720607" y="29394"/>
                    <a:pt x="711852" y="29394"/>
                  </a:cubicBezTo>
                  <a:cubicBezTo>
                    <a:pt x="697693" y="29394"/>
                    <a:pt x="688434" y="39434"/>
                    <a:pt x="688434" y="54996"/>
                  </a:cubicBezTo>
                  <a:lnTo>
                    <a:pt x="688434" y="65872"/>
                  </a:lnTo>
                  <a:cubicBezTo>
                    <a:pt x="688434" y="81378"/>
                    <a:pt x="697636" y="91474"/>
                    <a:pt x="711633" y="91474"/>
                  </a:cubicBezTo>
                  <a:cubicBezTo>
                    <a:pt x="720436" y="91474"/>
                    <a:pt x="727125" y="87625"/>
                    <a:pt x="729809" y="81266"/>
                  </a:cubicBezTo>
                  <a:lnTo>
                    <a:pt x="730808" y="81266"/>
                  </a:lnTo>
                  <a:lnTo>
                    <a:pt x="730808" y="90693"/>
                  </a:lnTo>
                  <a:cubicBezTo>
                    <a:pt x="730808" y="100398"/>
                    <a:pt x="724956" y="105753"/>
                    <a:pt x="714364" y="105753"/>
                  </a:cubicBezTo>
                  <a:cubicBezTo>
                    <a:pt x="706276" y="105753"/>
                    <a:pt x="700195" y="102462"/>
                    <a:pt x="698977" y="97441"/>
                  </a:cubicBezTo>
                  <a:lnTo>
                    <a:pt x="689604" y="97441"/>
                  </a:lnTo>
                  <a:cubicBezTo>
                    <a:pt x="690832" y="107481"/>
                    <a:pt x="700195" y="113617"/>
                    <a:pt x="714193" y="113617"/>
                  </a:cubicBezTo>
                  <a:close/>
                  <a:moveTo>
                    <a:pt x="697969" y="64533"/>
                  </a:moveTo>
                  <a:lnTo>
                    <a:pt x="697969" y="56223"/>
                  </a:lnTo>
                  <a:cubicBezTo>
                    <a:pt x="697969" y="45124"/>
                    <a:pt x="704439" y="37928"/>
                    <a:pt x="714469" y="37928"/>
                  </a:cubicBezTo>
                  <a:cubicBezTo>
                    <a:pt x="724451" y="37928"/>
                    <a:pt x="730865" y="45068"/>
                    <a:pt x="730865" y="56223"/>
                  </a:cubicBezTo>
                  <a:lnTo>
                    <a:pt x="730865" y="64533"/>
                  </a:lnTo>
                  <a:cubicBezTo>
                    <a:pt x="730865" y="75689"/>
                    <a:pt x="724451" y="82884"/>
                    <a:pt x="714469" y="82884"/>
                  </a:cubicBezTo>
                  <a:cubicBezTo>
                    <a:pt x="704439" y="82884"/>
                    <a:pt x="697969" y="75633"/>
                    <a:pt x="697969" y="64533"/>
                  </a:cubicBezTo>
                  <a:close/>
                  <a:moveTo>
                    <a:pt x="761753" y="90916"/>
                  </a:moveTo>
                  <a:lnTo>
                    <a:pt x="771231" y="90916"/>
                  </a:lnTo>
                  <a:lnTo>
                    <a:pt x="771231" y="55330"/>
                  </a:lnTo>
                  <a:cubicBezTo>
                    <a:pt x="771231" y="45011"/>
                    <a:pt x="777978" y="38040"/>
                    <a:pt x="787960" y="38040"/>
                  </a:cubicBezTo>
                  <a:cubicBezTo>
                    <a:pt x="797438" y="38040"/>
                    <a:pt x="801901" y="43227"/>
                    <a:pt x="801901" y="54103"/>
                  </a:cubicBezTo>
                  <a:lnTo>
                    <a:pt x="801901" y="90916"/>
                  </a:lnTo>
                  <a:lnTo>
                    <a:pt x="811379" y="90916"/>
                  </a:lnTo>
                  <a:lnTo>
                    <a:pt x="811379" y="51705"/>
                  </a:lnTo>
                  <a:cubicBezTo>
                    <a:pt x="811379" y="37259"/>
                    <a:pt x="804242" y="29338"/>
                    <a:pt x="791081" y="29338"/>
                  </a:cubicBezTo>
                  <a:cubicBezTo>
                    <a:pt x="781832" y="29338"/>
                    <a:pt x="774857" y="33578"/>
                    <a:pt x="771678" y="41108"/>
                  </a:cubicBezTo>
                  <a:lnTo>
                    <a:pt x="770898" y="41108"/>
                  </a:lnTo>
                  <a:lnTo>
                    <a:pt x="770898" y="6638"/>
                  </a:lnTo>
                  <a:lnTo>
                    <a:pt x="761753" y="6638"/>
                  </a:lnTo>
                  <a:lnTo>
                    <a:pt x="761753" y="90916"/>
                  </a:lnTo>
                  <a:close/>
                  <a:moveTo>
                    <a:pt x="931535" y="29394"/>
                  </a:moveTo>
                  <a:cubicBezTo>
                    <a:pt x="922895" y="29394"/>
                    <a:pt x="916595" y="32964"/>
                    <a:pt x="913417" y="39657"/>
                  </a:cubicBezTo>
                  <a:lnTo>
                    <a:pt x="912408" y="39657"/>
                  </a:lnTo>
                  <a:lnTo>
                    <a:pt x="912408" y="30399"/>
                  </a:lnTo>
                  <a:lnTo>
                    <a:pt x="903045" y="30399"/>
                  </a:lnTo>
                  <a:lnTo>
                    <a:pt x="903045" y="111330"/>
                  </a:lnTo>
                  <a:lnTo>
                    <a:pt x="912684" y="111330"/>
                  </a:lnTo>
                  <a:lnTo>
                    <a:pt x="912684" y="81545"/>
                  </a:lnTo>
                  <a:lnTo>
                    <a:pt x="913750" y="81545"/>
                  </a:lnTo>
                  <a:cubicBezTo>
                    <a:pt x="916367" y="88183"/>
                    <a:pt x="922781" y="91920"/>
                    <a:pt x="931535" y="91920"/>
                  </a:cubicBezTo>
                  <a:cubicBezTo>
                    <a:pt x="945533" y="91920"/>
                    <a:pt x="954678" y="81824"/>
                    <a:pt x="954678" y="66318"/>
                  </a:cubicBezTo>
                  <a:lnTo>
                    <a:pt x="954678" y="55051"/>
                  </a:lnTo>
                  <a:cubicBezTo>
                    <a:pt x="954678" y="39490"/>
                    <a:pt x="945533" y="29394"/>
                    <a:pt x="931535" y="29394"/>
                  </a:cubicBezTo>
                  <a:close/>
                  <a:moveTo>
                    <a:pt x="928804" y="38096"/>
                  </a:moveTo>
                  <a:cubicBezTo>
                    <a:pt x="938786" y="38096"/>
                    <a:pt x="945143" y="45235"/>
                    <a:pt x="945143" y="56390"/>
                  </a:cubicBezTo>
                  <a:lnTo>
                    <a:pt x="945143" y="65091"/>
                  </a:lnTo>
                  <a:cubicBezTo>
                    <a:pt x="945143" y="76247"/>
                    <a:pt x="938786" y="83441"/>
                    <a:pt x="928804" y="83441"/>
                  </a:cubicBezTo>
                  <a:cubicBezTo>
                    <a:pt x="918822" y="83441"/>
                    <a:pt x="912465" y="76302"/>
                    <a:pt x="912465" y="65091"/>
                  </a:cubicBezTo>
                  <a:lnTo>
                    <a:pt x="912465" y="56390"/>
                  </a:lnTo>
                  <a:cubicBezTo>
                    <a:pt x="912465" y="45235"/>
                    <a:pt x="918822" y="38096"/>
                    <a:pt x="928804" y="38096"/>
                  </a:cubicBezTo>
                  <a:close/>
                  <a:moveTo>
                    <a:pt x="995939" y="63808"/>
                  </a:moveTo>
                  <a:cubicBezTo>
                    <a:pt x="995939" y="48415"/>
                    <a:pt x="1003856" y="39155"/>
                    <a:pt x="1017235" y="39155"/>
                  </a:cubicBezTo>
                  <a:cubicBezTo>
                    <a:pt x="1020527" y="39155"/>
                    <a:pt x="1024429" y="39824"/>
                    <a:pt x="1027217" y="40829"/>
                  </a:cubicBezTo>
                  <a:lnTo>
                    <a:pt x="1027217" y="30175"/>
                  </a:lnTo>
                  <a:cubicBezTo>
                    <a:pt x="1025209" y="29338"/>
                    <a:pt x="1021917" y="28836"/>
                    <a:pt x="1018462" y="28836"/>
                  </a:cubicBezTo>
                  <a:cubicBezTo>
                    <a:pt x="1006806" y="28836"/>
                    <a:pt x="999279" y="34637"/>
                    <a:pt x="997052" y="45848"/>
                  </a:cubicBezTo>
                  <a:lnTo>
                    <a:pt x="995824" y="45848"/>
                  </a:lnTo>
                  <a:lnTo>
                    <a:pt x="995824" y="30399"/>
                  </a:lnTo>
                  <a:lnTo>
                    <a:pt x="973243" y="30399"/>
                  </a:lnTo>
                  <a:lnTo>
                    <a:pt x="973243" y="37984"/>
                  </a:lnTo>
                  <a:lnTo>
                    <a:pt x="986680" y="37984"/>
                  </a:lnTo>
                  <a:lnTo>
                    <a:pt x="986680" y="83330"/>
                  </a:lnTo>
                  <a:lnTo>
                    <a:pt x="974471" y="83330"/>
                  </a:lnTo>
                  <a:lnTo>
                    <a:pt x="974471" y="90916"/>
                  </a:lnTo>
                  <a:lnTo>
                    <a:pt x="1014666" y="90916"/>
                  </a:lnTo>
                  <a:lnTo>
                    <a:pt x="1014666" y="83330"/>
                  </a:lnTo>
                  <a:lnTo>
                    <a:pt x="995939" y="83330"/>
                  </a:lnTo>
                  <a:lnTo>
                    <a:pt x="995939" y="63808"/>
                  </a:lnTo>
                  <a:close/>
                  <a:moveTo>
                    <a:pt x="1069981" y="15562"/>
                  </a:moveTo>
                  <a:cubicBezTo>
                    <a:pt x="1074444" y="15562"/>
                    <a:pt x="1077841" y="12215"/>
                    <a:pt x="1077841" y="7753"/>
                  </a:cubicBezTo>
                  <a:cubicBezTo>
                    <a:pt x="1077841" y="3347"/>
                    <a:pt x="1074444" y="0"/>
                    <a:pt x="1069981" y="0"/>
                  </a:cubicBezTo>
                  <a:cubicBezTo>
                    <a:pt x="1065518" y="0"/>
                    <a:pt x="1062121" y="3347"/>
                    <a:pt x="1062121" y="7753"/>
                  </a:cubicBezTo>
                  <a:cubicBezTo>
                    <a:pt x="1062121" y="12215"/>
                    <a:pt x="1065518" y="15562"/>
                    <a:pt x="1069981" y="15562"/>
                  </a:cubicBezTo>
                  <a:close/>
                  <a:moveTo>
                    <a:pt x="1095351" y="90916"/>
                  </a:moveTo>
                  <a:lnTo>
                    <a:pt x="1095351" y="83051"/>
                  </a:lnTo>
                  <a:lnTo>
                    <a:pt x="1075329" y="83051"/>
                  </a:lnTo>
                  <a:lnTo>
                    <a:pt x="1075329" y="30399"/>
                  </a:lnTo>
                  <a:lnTo>
                    <a:pt x="1045392" y="30399"/>
                  </a:lnTo>
                  <a:lnTo>
                    <a:pt x="1045392" y="38263"/>
                  </a:lnTo>
                  <a:lnTo>
                    <a:pt x="1065966" y="38263"/>
                  </a:lnTo>
                  <a:lnTo>
                    <a:pt x="1065966" y="83051"/>
                  </a:lnTo>
                  <a:lnTo>
                    <a:pt x="1045221" y="83051"/>
                  </a:lnTo>
                  <a:lnTo>
                    <a:pt x="1045221" y="90916"/>
                  </a:lnTo>
                  <a:lnTo>
                    <a:pt x="1095351" y="90916"/>
                  </a:lnTo>
                  <a:close/>
                  <a:moveTo>
                    <a:pt x="1139504" y="92032"/>
                  </a:moveTo>
                  <a:cubicBezTo>
                    <a:pt x="1155510" y="92032"/>
                    <a:pt x="1165711" y="81601"/>
                    <a:pt x="1165711" y="65259"/>
                  </a:cubicBezTo>
                  <a:lnTo>
                    <a:pt x="1165711" y="56112"/>
                  </a:lnTo>
                  <a:cubicBezTo>
                    <a:pt x="1165711" y="39769"/>
                    <a:pt x="1155510" y="29338"/>
                    <a:pt x="1139504" y="29338"/>
                  </a:cubicBezTo>
                  <a:cubicBezTo>
                    <a:pt x="1123508" y="29338"/>
                    <a:pt x="1113307" y="39769"/>
                    <a:pt x="1113307" y="56112"/>
                  </a:cubicBezTo>
                  <a:lnTo>
                    <a:pt x="1113307" y="65259"/>
                  </a:lnTo>
                  <a:cubicBezTo>
                    <a:pt x="1113307" y="81601"/>
                    <a:pt x="1123508" y="92032"/>
                    <a:pt x="1139504" y="92032"/>
                  </a:cubicBezTo>
                  <a:close/>
                  <a:moveTo>
                    <a:pt x="1139504" y="37706"/>
                  </a:moveTo>
                  <a:cubicBezTo>
                    <a:pt x="1149876" y="37706"/>
                    <a:pt x="1156347" y="45068"/>
                    <a:pt x="1156347" y="56948"/>
                  </a:cubicBezTo>
                  <a:lnTo>
                    <a:pt x="1156347" y="64366"/>
                  </a:lnTo>
                  <a:cubicBezTo>
                    <a:pt x="1156347" y="76302"/>
                    <a:pt x="1149876" y="83609"/>
                    <a:pt x="1139504" y="83609"/>
                  </a:cubicBezTo>
                  <a:cubicBezTo>
                    <a:pt x="1129141" y="83609"/>
                    <a:pt x="1122671" y="76302"/>
                    <a:pt x="1122671" y="64366"/>
                  </a:cubicBezTo>
                  <a:lnTo>
                    <a:pt x="1122671" y="56948"/>
                  </a:lnTo>
                  <a:cubicBezTo>
                    <a:pt x="1122671" y="45068"/>
                    <a:pt x="1129141" y="37706"/>
                    <a:pt x="1139504" y="37706"/>
                  </a:cubicBezTo>
                  <a:close/>
                  <a:moveTo>
                    <a:pt x="1207695" y="63808"/>
                  </a:moveTo>
                  <a:cubicBezTo>
                    <a:pt x="1207695" y="48415"/>
                    <a:pt x="1215612" y="39155"/>
                    <a:pt x="1229001" y="39155"/>
                  </a:cubicBezTo>
                  <a:cubicBezTo>
                    <a:pt x="1232284" y="39155"/>
                    <a:pt x="1236195" y="39824"/>
                    <a:pt x="1238983" y="40829"/>
                  </a:cubicBezTo>
                  <a:lnTo>
                    <a:pt x="1238983" y="30175"/>
                  </a:lnTo>
                  <a:cubicBezTo>
                    <a:pt x="1236975" y="29338"/>
                    <a:pt x="1233682" y="28836"/>
                    <a:pt x="1230228" y="28836"/>
                  </a:cubicBezTo>
                  <a:cubicBezTo>
                    <a:pt x="1218571" y="28836"/>
                    <a:pt x="1211044" y="34637"/>
                    <a:pt x="1208818" y="45848"/>
                  </a:cubicBezTo>
                  <a:lnTo>
                    <a:pt x="1207590" y="45848"/>
                  </a:lnTo>
                  <a:lnTo>
                    <a:pt x="1207590" y="30399"/>
                  </a:lnTo>
                  <a:lnTo>
                    <a:pt x="1185009" y="30399"/>
                  </a:lnTo>
                  <a:lnTo>
                    <a:pt x="1185009" y="37984"/>
                  </a:lnTo>
                  <a:lnTo>
                    <a:pt x="1198445" y="37984"/>
                  </a:lnTo>
                  <a:lnTo>
                    <a:pt x="1198445" y="83330"/>
                  </a:lnTo>
                  <a:lnTo>
                    <a:pt x="1186237" y="83330"/>
                  </a:lnTo>
                  <a:lnTo>
                    <a:pt x="1186237" y="90916"/>
                  </a:lnTo>
                  <a:lnTo>
                    <a:pt x="1226431" y="90916"/>
                  </a:lnTo>
                  <a:lnTo>
                    <a:pt x="1226431" y="83330"/>
                  </a:lnTo>
                  <a:lnTo>
                    <a:pt x="1207695" y="83330"/>
                  </a:lnTo>
                  <a:lnTo>
                    <a:pt x="1207695" y="63808"/>
                  </a:lnTo>
                  <a:close/>
                  <a:moveTo>
                    <a:pt x="1281747" y="15562"/>
                  </a:moveTo>
                  <a:cubicBezTo>
                    <a:pt x="1286201" y="15562"/>
                    <a:pt x="1289607" y="12215"/>
                    <a:pt x="1289607" y="7753"/>
                  </a:cubicBezTo>
                  <a:cubicBezTo>
                    <a:pt x="1289607" y="3347"/>
                    <a:pt x="1286201" y="0"/>
                    <a:pt x="1281747" y="0"/>
                  </a:cubicBezTo>
                  <a:cubicBezTo>
                    <a:pt x="1277284" y="0"/>
                    <a:pt x="1273887" y="3347"/>
                    <a:pt x="1273887" y="7753"/>
                  </a:cubicBezTo>
                  <a:cubicBezTo>
                    <a:pt x="1273887" y="12215"/>
                    <a:pt x="1277284" y="15562"/>
                    <a:pt x="1281747" y="15562"/>
                  </a:cubicBezTo>
                  <a:close/>
                  <a:moveTo>
                    <a:pt x="1307116" y="90916"/>
                  </a:moveTo>
                  <a:lnTo>
                    <a:pt x="1307116" y="83051"/>
                  </a:lnTo>
                  <a:lnTo>
                    <a:pt x="1287095" y="83051"/>
                  </a:lnTo>
                  <a:lnTo>
                    <a:pt x="1287095" y="30399"/>
                  </a:lnTo>
                  <a:lnTo>
                    <a:pt x="1257158" y="30399"/>
                  </a:lnTo>
                  <a:lnTo>
                    <a:pt x="1257158" y="38263"/>
                  </a:lnTo>
                  <a:lnTo>
                    <a:pt x="1277731" y="38263"/>
                  </a:lnTo>
                  <a:lnTo>
                    <a:pt x="1277731" y="83051"/>
                  </a:lnTo>
                  <a:lnTo>
                    <a:pt x="1256987" y="83051"/>
                  </a:lnTo>
                  <a:lnTo>
                    <a:pt x="1256987" y="90916"/>
                  </a:lnTo>
                  <a:lnTo>
                    <a:pt x="1307116" y="90916"/>
                  </a:lnTo>
                  <a:close/>
                  <a:moveTo>
                    <a:pt x="1340955" y="14167"/>
                  </a:moveTo>
                  <a:lnTo>
                    <a:pt x="1340955" y="30566"/>
                  </a:lnTo>
                  <a:lnTo>
                    <a:pt x="1324845" y="30566"/>
                  </a:lnTo>
                  <a:lnTo>
                    <a:pt x="1324845" y="38654"/>
                  </a:lnTo>
                  <a:lnTo>
                    <a:pt x="1340955" y="38654"/>
                  </a:lnTo>
                  <a:lnTo>
                    <a:pt x="1340955" y="72900"/>
                  </a:lnTo>
                  <a:cubicBezTo>
                    <a:pt x="1340955" y="85505"/>
                    <a:pt x="1347930" y="91195"/>
                    <a:pt x="1362927" y="91195"/>
                  </a:cubicBezTo>
                  <a:cubicBezTo>
                    <a:pt x="1365829" y="91195"/>
                    <a:pt x="1373185" y="90916"/>
                    <a:pt x="1374688" y="90637"/>
                  </a:cubicBezTo>
                  <a:lnTo>
                    <a:pt x="1374688" y="82606"/>
                  </a:lnTo>
                  <a:cubicBezTo>
                    <a:pt x="1373071" y="82772"/>
                    <a:pt x="1367000" y="82940"/>
                    <a:pt x="1363593" y="82940"/>
                  </a:cubicBezTo>
                  <a:cubicBezTo>
                    <a:pt x="1355067" y="82940"/>
                    <a:pt x="1350433" y="79370"/>
                    <a:pt x="1350433" y="72789"/>
                  </a:cubicBezTo>
                  <a:lnTo>
                    <a:pt x="1350433" y="38654"/>
                  </a:lnTo>
                  <a:lnTo>
                    <a:pt x="1374860" y="38654"/>
                  </a:lnTo>
                  <a:lnTo>
                    <a:pt x="1374860" y="30566"/>
                  </a:lnTo>
                  <a:lnTo>
                    <a:pt x="1350328" y="30566"/>
                  </a:lnTo>
                  <a:lnTo>
                    <a:pt x="1350328" y="14167"/>
                  </a:lnTo>
                  <a:lnTo>
                    <a:pt x="1340955" y="14167"/>
                  </a:lnTo>
                  <a:close/>
                  <a:moveTo>
                    <a:pt x="1404911" y="112446"/>
                  </a:moveTo>
                  <a:cubicBezTo>
                    <a:pt x="1416120" y="112446"/>
                    <a:pt x="1421192" y="108039"/>
                    <a:pt x="1426493" y="93147"/>
                  </a:cubicBezTo>
                  <a:lnTo>
                    <a:pt x="1449293" y="30399"/>
                  </a:lnTo>
                  <a:lnTo>
                    <a:pt x="1439206" y="30399"/>
                  </a:lnTo>
                  <a:lnTo>
                    <a:pt x="1422306" y="81044"/>
                  </a:lnTo>
                  <a:lnTo>
                    <a:pt x="1421582" y="81044"/>
                  </a:lnTo>
                  <a:lnTo>
                    <a:pt x="1404635" y="30399"/>
                  </a:lnTo>
                  <a:lnTo>
                    <a:pt x="1394320" y="30399"/>
                  </a:lnTo>
                  <a:lnTo>
                    <a:pt x="1416568" y="91306"/>
                  </a:lnTo>
                  <a:lnTo>
                    <a:pt x="1415502" y="94597"/>
                  </a:lnTo>
                  <a:cubicBezTo>
                    <a:pt x="1412999" y="101625"/>
                    <a:pt x="1409878" y="104190"/>
                    <a:pt x="1404187" y="104190"/>
                  </a:cubicBezTo>
                  <a:cubicBezTo>
                    <a:pt x="1403293" y="104190"/>
                    <a:pt x="1401561" y="104135"/>
                    <a:pt x="1400838" y="103968"/>
                  </a:cubicBezTo>
                  <a:lnTo>
                    <a:pt x="1400838" y="112278"/>
                  </a:lnTo>
                  <a:cubicBezTo>
                    <a:pt x="1401675" y="112390"/>
                    <a:pt x="1403521" y="112446"/>
                    <a:pt x="1404911" y="112446"/>
                  </a:cubicBezTo>
                  <a:close/>
                  <a:moveTo>
                    <a:pt x="1566833" y="91920"/>
                  </a:moveTo>
                  <a:cubicBezTo>
                    <a:pt x="1580821" y="91920"/>
                    <a:pt x="1589966" y="81824"/>
                    <a:pt x="1589966" y="66263"/>
                  </a:cubicBezTo>
                  <a:lnTo>
                    <a:pt x="1589966" y="54996"/>
                  </a:lnTo>
                  <a:cubicBezTo>
                    <a:pt x="1589966" y="39490"/>
                    <a:pt x="1580821" y="29394"/>
                    <a:pt x="1566833" y="29394"/>
                  </a:cubicBezTo>
                  <a:cubicBezTo>
                    <a:pt x="1558078" y="29394"/>
                    <a:pt x="1551664" y="33132"/>
                    <a:pt x="1548990" y="39769"/>
                  </a:cubicBezTo>
                  <a:lnTo>
                    <a:pt x="1547981" y="39769"/>
                  </a:lnTo>
                  <a:lnTo>
                    <a:pt x="1547981" y="6638"/>
                  </a:lnTo>
                  <a:lnTo>
                    <a:pt x="1538342" y="6638"/>
                  </a:lnTo>
                  <a:lnTo>
                    <a:pt x="1538342" y="90916"/>
                  </a:lnTo>
                  <a:lnTo>
                    <a:pt x="1547648" y="90916"/>
                  </a:lnTo>
                  <a:lnTo>
                    <a:pt x="1547648" y="81657"/>
                  </a:lnTo>
                  <a:lnTo>
                    <a:pt x="1548705" y="81657"/>
                  </a:lnTo>
                  <a:cubicBezTo>
                    <a:pt x="1551826" y="88350"/>
                    <a:pt x="1558183" y="91920"/>
                    <a:pt x="1566833" y="91920"/>
                  </a:cubicBezTo>
                  <a:close/>
                  <a:moveTo>
                    <a:pt x="1564044" y="83275"/>
                  </a:moveTo>
                  <a:cubicBezTo>
                    <a:pt x="1554119" y="83275"/>
                    <a:pt x="1547763" y="76135"/>
                    <a:pt x="1547763" y="64924"/>
                  </a:cubicBezTo>
                  <a:lnTo>
                    <a:pt x="1547763" y="56223"/>
                  </a:lnTo>
                  <a:cubicBezTo>
                    <a:pt x="1547763" y="45068"/>
                    <a:pt x="1554119" y="37928"/>
                    <a:pt x="1564044" y="37928"/>
                  </a:cubicBezTo>
                  <a:cubicBezTo>
                    <a:pt x="1574074" y="37928"/>
                    <a:pt x="1580431" y="45068"/>
                    <a:pt x="1580431" y="56223"/>
                  </a:cubicBezTo>
                  <a:lnTo>
                    <a:pt x="1580431" y="64924"/>
                  </a:lnTo>
                  <a:cubicBezTo>
                    <a:pt x="1580431" y="76079"/>
                    <a:pt x="1574074" y="83275"/>
                    <a:pt x="1564044" y="83275"/>
                  </a:cubicBezTo>
                  <a:close/>
                  <a:moveTo>
                    <a:pt x="1658385" y="30399"/>
                  </a:moveTo>
                  <a:lnTo>
                    <a:pt x="1648907" y="30399"/>
                  </a:lnTo>
                  <a:lnTo>
                    <a:pt x="1648907" y="66039"/>
                  </a:lnTo>
                  <a:cubicBezTo>
                    <a:pt x="1648907" y="76358"/>
                    <a:pt x="1642217" y="83330"/>
                    <a:pt x="1632235" y="83330"/>
                  </a:cubicBezTo>
                  <a:cubicBezTo>
                    <a:pt x="1622805" y="83330"/>
                    <a:pt x="1618351" y="78199"/>
                    <a:pt x="1618351" y="67266"/>
                  </a:cubicBezTo>
                  <a:lnTo>
                    <a:pt x="1618351" y="30399"/>
                  </a:lnTo>
                  <a:lnTo>
                    <a:pt x="1608874" y="30399"/>
                  </a:lnTo>
                  <a:lnTo>
                    <a:pt x="1608874" y="69665"/>
                  </a:lnTo>
                  <a:cubicBezTo>
                    <a:pt x="1608874" y="84167"/>
                    <a:pt x="1616010" y="92032"/>
                    <a:pt x="1629161" y="92032"/>
                  </a:cubicBezTo>
                  <a:cubicBezTo>
                    <a:pt x="1638363" y="92032"/>
                    <a:pt x="1645281" y="87793"/>
                    <a:pt x="1648516" y="80263"/>
                  </a:cubicBezTo>
                  <a:lnTo>
                    <a:pt x="1649297" y="80263"/>
                  </a:lnTo>
                  <a:lnTo>
                    <a:pt x="1649297" y="90916"/>
                  </a:lnTo>
                  <a:lnTo>
                    <a:pt x="1658385" y="90916"/>
                  </a:lnTo>
                  <a:lnTo>
                    <a:pt x="1658385" y="30399"/>
                  </a:lnTo>
                  <a:close/>
                  <a:moveTo>
                    <a:pt x="1702433" y="113617"/>
                  </a:moveTo>
                  <a:cubicBezTo>
                    <a:pt x="1718820" y="113617"/>
                    <a:pt x="1728526" y="105139"/>
                    <a:pt x="1728526" y="90916"/>
                  </a:cubicBezTo>
                  <a:lnTo>
                    <a:pt x="1728526" y="30399"/>
                  </a:lnTo>
                  <a:lnTo>
                    <a:pt x="1719153" y="30399"/>
                  </a:lnTo>
                  <a:lnTo>
                    <a:pt x="1719153" y="39769"/>
                  </a:lnTo>
                  <a:lnTo>
                    <a:pt x="1718096" y="39769"/>
                  </a:lnTo>
                  <a:cubicBezTo>
                    <a:pt x="1715480" y="33243"/>
                    <a:pt x="1708838" y="29394"/>
                    <a:pt x="1700092" y="29394"/>
                  </a:cubicBezTo>
                  <a:cubicBezTo>
                    <a:pt x="1685923" y="29394"/>
                    <a:pt x="1676674" y="39434"/>
                    <a:pt x="1676674" y="54996"/>
                  </a:cubicBezTo>
                  <a:lnTo>
                    <a:pt x="1676674" y="65872"/>
                  </a:lnTo>
                  <a:cubicBezTo>
                    <a:pt x="1676674" y="81378"/>
                    <a:pt x="1685866" y="91474"/>
                    <a:pt x="1699864" y="91474"/>
                  </a:cubicBezTo>
                  <a:cubicBezTo>
                    <a:pt x="1708676" y="91474"/>
                    <a:pt x="1715365" y="87625"/>
                    <a:pt x="1718039" y="81266"/>
                  </a:cubicBezTo>
                  <a:lnTo>
                    <a:pt x="1719048" y="81266"/>
                  </a:lnTo>
                  <a:lnTo>
                    <a:pt x="1719048" y="90693"/>
                  </a:lnTo>
                  <a:cubicBezTo>
                    <a:pt x="1719048" y="100398"/>
                    <a:pt x="1713196" y="105753"/>
                    <a:pt x="1702595" y="105753"/>
                  </a:cubicBezTo>
                  <a:cubicBezTo>
                    <a:pt x="1694516" y="105753"/>
                    <a:pt x="1688435" y="102462"/>
                    <a:pt x="1687208" y="97441"/>
                  </a:cubicBezTo>
                  <a:lnTo>
                    <a:pt x="1677844" y="97441"/>
                  </a:lnTo>
                  <a:cubicBezTo>
                    <a:pt x="1679072" y="107481"/>
                    <a:pt x="1688435" y="113617"/>
                    <a:pt x="1702433" y="113617"/>
                  </a:cubicBezTo>
                  <a:close/>
                  <a:moveTo>
                    <a:pt x="1686209" y="64533"/>
                  </a:moveTo>
                  <a:lnTo>
                    <a:pt x="1686209" y="56223"/>
                  </a:lnTo>
                  <a:cubicBezTo>
                    <a:pt x="1686209" y="45124"/>
                    <a:pt x="1692670" y="37928"/>
                    <a:pt x="1702709" y="37928"/>
                  </a:cubicBezTo>
                  <a:cubicBezTo>
                    <a:pt x="1712691" y="37928"/>
                    <a:pt x="1719105" y="45068"/>
                    <a:pt x="1719105" y="56223"/>
                  </a:cubicBezTo>
                  <a:lnTo>
                    <a:pt x="1719105" y="64533"/>
                  </a:lnTo>
                  <a:cubicBezTo>
                    <a:pt x="1719105" y="75689"/>
                    <a:pt x="1712691" y="82884"/>
                    <a:pt x="1702709" y="82884"/>
                  </a:cubicBezTo>
                  <a:cubicBezTo>
                    <a:pt x="1692670" y="82884"/>
                    <a:pt x="1686209" y="75633"/>
                    <a:pt x="1686209" y="64533"/>
                  </a:cubicBezTo>
                  <a:close/>
                  <a:moveTo>
                    <a:pt x="1752782" y="46741"/>
                  </a:moveTo>
                  <a:cubicBezTo>
                    <a:pt x="1752782" y="55330"/>
                    <a:pt x="1758187" y="60852"/>
                    <a:pt x="1769111" y="63363"/>
                  </a:cubicBezTo>
                  <a:lnTo>
                    <a:pt x="1778094" y="65426"/>
                  </a:lnTo>
                  <a:cubicBezTo>
                    <a:pt x="1785783" y="67155"/>
                    <a:pt x="1788742" y="69720"/>
                    <a:pt x="1788742" y="74517"/>
                  </a:cubicBezTo>
                  <a:cubicBezTo>
                    <a:pt x="1788742" y="80318"/>
                    <a:pt x="1783499" y="84055"/>
                    <a:pt x="1775248" y="84055"/>
                  </a:cubicBezTo>
                  <a:cubicBezTo>
                    <a:pt x="1767446" y="84055"/>
                    <a:pt x="1762088" y="80821"/>
                    <a:pt x="1760699" y="75243"/>
                  </a:cubicBezTo>
                  <a:lnTo>
                    <a:pt x="1751050" y="75243"/>
                  </a:lnTo>
                  <a:cubicBezTo>
                    <a:pt x="1752106" y="85617"/>
                    <a:pt x="1761194" y="92032"/>
                    <a:pt x="1774916" y="92032"/>
                  </a:cubicBezTo>
                  <a:cubicBezTo>
                    <a:pt x="1789246" y="92032"/>
                    <a:pt x="1798553" y="84781"/>
                    <a:pt x="1798553" y="73625"/>
                  </a:cubicBezTo>
                  <a:cubicBezTo>
                    <a:pt x="1798553" y="64869"/>
                    <a:pt x="1793205" y="59737"/>
                    <a:pt x="1781434" y="57060"/>
                  </a:cubicBezTo>
                  <a:lnTo>
                    <a:pt x="1772908" y="55108"/>
                  </a:lnTo>
                  <a:cubicBezTo>
                    <a:pt x="1765323" y="53434"/>
                    <a:pt x="1762202" y="50812"/>
                    <a:pt x="1762202" y="46183"/>
                  </a:cubicBezTo>
                  <a:cubicBezTo>
                    <a:pt x="1762202" y="40661"/>
                    <a:pt x="1767160" y="37092"/>
                    <a:pt x="1774858" y="37092"/>
                  </a:cubicBezTo>
                  <a:cubicBezTo>
                    <a:pt x="1781938" y="37092"/>
                    <a:pt x="1787010" y="40326"/>
                    <a:pt x="1788133" y="45625"/>
                  </a:cubicBezTo>
                  <a:lnTo>
                    <a:pt x="1797268" y="45625"/>
                  </a:lnTo>
                  <a:cubicBezTo>
                    <a:pt x="1796155" y="35529"/>
                    <a:pt x="1787629" y="29227"/>
                    <a:pt x="1775030" y="29227"/>
                  </a:cubicBezTo>
                  <a:cubicBezTo>
                    <a:pt x="1761698" y="29227"/>
                    <a:pt x="1752782" y="36255"/>
                    <a:pt x="1752782" y="46741"/>
                  </a:cubicBezTo>
                  <a:close/>
                  <a:moveTo>
                    <a:pt x="10096" y="248318"/>
                  </a:moveTo>
                  <a:cubicBezTo>
                    <a:pt x="15616" y="248318"/>
                    <a:pt x="20183" y="243632"/>
                    <a:pt x="20183" y="237999"/>
                  </a:cubicBezTo>
                  <a:cubicBezTo>
                    <a:pt x="20183" y="232365"/>
                    <a:pt x="15616" y="227680"/>
                    <a:pt x="10096" y="227680"/>
                  </a:cubicBezTo>
                  <a:cubicBezTo>
                    <a:pt x="4577" y="227680"/>
                    <a:pt x="0" y="232365"/>
                    <a:pt x="0" y="237999"/>
                  </a:cubicBezTo>
                  <a:cubicBezTo>
                    <a:pt x="0" y="243632"/>
                    <a:pt x="4577" y="248318"/>
                    <a:pt x="10096" y="248318"/>
                  </a:cubicBezTo>
                  <a:close/>
                  <a:moveTo>
                    <a:pt x="10096" y="291154"/>
                  </a:moveTo>
                  <a:cubicBezTo>
                    <a:pt x="15616" y="291154"/>
                    <a:pt x="20183" y="286524"/>
                    <a:pt x="20183" y="280835"/>
                  </a:cubicBezTo>
                  <a:cubicBezTo>
                    <a:pt x="20183" y="275202"/>
                    <a:pt x="15616" y="270572"/>
                    <a:pt x="10096" y="270572"/>
                  </a:cubicBezTo>
                  <a:cubicBezTo>
                    <a:pt x="4577" y="270572"/>
                    <a:pt x="0" y="275202"/>
                    <a:pt x="0" y="280835"/>
                  </a:cubicBezTo>
                  <a:cubicBezTo>
                    <a:pt x="0" y="286524"/>
                    <a:pt x="4577" y="291154"/>
                    <a:pt x="10096" y="291154"/>
                  </a:cubicBezTo>
                  <a:close/>
                </a:path>
              </a:pathLst>
            </a:custGeom>
            <a:solidFill>
              <a:srgbClr val="FFFFFF"/>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sp>
          <p:nvSpPr>
            <p:cNvPr id="611" name="Google Shape;611;p67"/>
            <p:cNvSpPr/>
            <p:nvPr/>
          </p:nvSpPr>
          <p:spPr>
            <a:xfrm>
              <a:off x="4796385" y="2821973"/>
              <a:ext cx="5385971" cy="3940946"/>
            </a:xfrm>
            <a:custGeom>
              <a:avLst/>
              <a:gdLst/>
              <a:ahLst/>
              <a:cxnLst/>
              <a:rect l="l" t="t" r="r" b="b"/>
              <a:pathLst>
                <a:path w="5385971" h="3940946" extrusionOk="0">
                  <a:moveTo>
                    <a:pt x="66611" y="19038"/>
                  </a:moveTo>
                  <a:lnTo>
                    <a:pt x="5319360" y="19038"/>
                  </a:lnTo>
                  <a:lnTo>
                    <a:pt x="5319360" y="0"/>
                  </a:lnTo>
                  <a:lnTo>
                    <a:pt x="66611" y="0"/>
                  </a:lnTo>
                  <a:lnTo>
                    <a:pt x="66611" y="19038"/>
                  </a:lnTo>
                  <a:close/>
                  <a:moveTo>
                    <a:pt x="5366940" y="66634"/>
                  </a:moveTo>
                  <a:lnTo>
                    <a:pt x="5366940" y="3874313"/>
                  </a:lnTo>
                  <a:lnTo>
                    <a:pt x="5385971" y="3874313"/>
                  </a:lnTo>
                  <a:lnTo>
                    <a:pt x="5385971" y="66634"/>
                  </a:lnTo>
                  <a:lnTo>
                    <a:pt x="5366940" y="66634"/>
                  </a:lnTo>
                  <a:close/>
                  <a:moveTo>
                    <a:pt x="5319360" y="3921909"/>
                  </a:moveTo>
                  <a:lnTo>
                    <a:pt x="66611" y="3921909"/>
                  </a:lnTo>
                  <a:lnTo>
                    <a:pt x="66611" y="3940947"/>
                  </a:lnTo>
                  <a:lnTo>
                    <a:pt x="5319360" y="3940947"/>
                  </a:lnTo>
                  <a:lnTo>
                    <a:pt x="5319360" y="3921909"/>
                  </a:lnTo>
                  <a:close/>
                  <a:moveTo>
                    <a:pt x="19032" y="3874313"/>
                  </a:moveTo>
                  <a:lnTo>
                    <a:pt x="19032" y="66634"/>
                  </a:lnTo>
                  <a:lnTo>
                    <a:pt x="0" y="66634"/>
                  </a:lnTo>
                  <a:lnTo>
                    <a:pt x="0" y="3874313"/>
                  </a:lnTo>
                  <a:lnTo>
                    <a:pt x="19032" y="3874313"/>
                  </a:lnTo>
                  <a:close/>
                  <a:moveTo>
                    <a:pt x="66611" y="3921909"/>
                  </a:moveTo>
                  <a:cubicBezTo>
                    <a:pt x="40334" y="3921909"/>
                    <a:pt x="19032" y="3900595"/>
                    <a:pt x="19032" y="3874313"/>
                  </a:cubicBezTo>
                  <a:lnTo>
                    <a:pt x="0" y="3874313"/>
                  </a:lnTo>
                  <a:cubicBezTo>
                    <a:pt x="0" y="3911114"/>
                    <a:pt x="29823" y="3940947"/>
                    <a:pt x="66611" y="3940947"/>
                  </a:cubicBezTo>
                  <a:lnTo>
                    <a:pt x="66611" y="3921909"/>
                  </a:lnTo>
                  <a:close/>
                  <a:moveTo>
                    <a:pt x="5366940" y="3874313"/>
                  </a:moveTo>
                  <a:cubicBezTo>
                    <a:pt x="5366940" y="3900595"/>
                    <a:pt x="5345634" y="3921909"/>
                    <a:pt x="5319360" y="3921909"/>
                  </a:cubicBezTo>
                  <a:lnTo>
                    <a:pt x="5319360" y="3940947"/>
                  </a:lnTo>
                  <a:cubicBezTo>
                    <a:pt x="5356149" y="3940947"/>
                    <a:pt x="5385971" y="3911114"/>
                    <a:pt x="5385971" y="3874313"/>
                  </a:cubicBezTo>
                  <a:lnTo>
                    <a:pt x="5366940" y="3874313"/>
                  </a:lnTo>
                  <a:close/>
                  <a:moveTo>
                    <a:pt x="5319360" y="19038"/>
                  </a:moveTo>
                  <a:cubicBezTo>
                    <a:pt x="5345634" y="19038"/>
                    <a:pt x="5366940" y="40348"/>
                    <a:pt x="5366940" y="66634"/>
                  </a:cubicBezTo>
                  <a:lnTo>
                    <a:pt x="5385971" y="66634"/>
                  </a:lnTo>
                  <a:cubicBezTo>
                    <a:pt x="5385971" y="29833"/>
                    <a:pt x="5356149" y="0"/>
                    <a:pt x="5319360" y="0"/>
                  </a:cubicBezTo>
                  <a:lnTo>
                    <a:pt x="5319360" y="19038"/>
                  </a:lnTo>
                  <a:close/>
                  <a:moveTo>
                    <a:pt x="66611" y="0"/>
                  </a:moveTo>
                  <a:cubicBezTo>
                    <a:pt x="29823" y="0"/>
                    <a:pt x="0" y="29833"/>
                    <a:pt x="0" y="66634"/>
                  </a:cubicBezTo>
                  <a:lnTo>
                    <a:pt x="19032" y="66634"/>
                  </a:lnTo>
                  <a:cubicBezTo>
                    <a:pt x="19032" y="40348"/>
                    <a:pt x="40334" y="19038"/>
                    <a:pt x="66611" y="19038"/>
                  </a:cubicBezTo>
                  <a:lnTo>
                    <a:pt x="66611" y="0"/>
                  </a:lnTo>
                  <a:close/>
                </a:path>
              </a:pathLst>
            </a:custGeom>
            <a:solidFill>
              <a:srgbClr val="000000">
                <a:alpha val="29411"/>
              </a:srgbClr>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grpSp>
      <p:sp>
        <p:nvSpPr>
          <p:cNvPr id="612" name="Google Shape;612;p67"/>
          <p:cNvSpPr/>
          <p:nvPr/>
        </p:nvSpPr>
        <p:spPr>
          <a:xfrm>
            <a:off x="5435601" y="1041400"/>
            <a:ext cx="5626100" cy="404784"/>
          </a:xfrm>
          <a:prstGeom prst="rect">
            <a:avLst/>
          </a:prstGeom>
          <a:solidFill>
            <a:srgbClr val="161B2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613" name="Google Shape;613;p67"/>
          <p:cNvSpPr/>
          <p:nvPr/>
        </p:nvSpPr>
        <p:spPr>
          <a:xfrm>
            <a:off x="6353605" y="1500676"/>
            <a:ext cx="3759200" cy="298635"/>
          </a:xfrm>
          <a:prstGeom prst="rect">
            <a:avLst/>
          </a:prstGeom>
          <a:solidFill>
            <a:srgbClr val="161B2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614" name="Google Shape;614;p67"/>
          <p:cNvSpPr txBox="1">
            <a:spLocks noGrp="1"/>
          </p:cNvSpPr>
          <p:nvPr>
            <p:ph type="subTitle" idx="1"/>
          </p:nvPr>
        </p:nvSpPr>
        <p:spPr>
          <a:xfrm>
            <a:off x="5608320" y="1109472"/>
            <a:ext cx="4096400" cy="3292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200"/>
              <a:buFont typeface="Arial"/>
              <a:buNone/>
              <a:defRPr sz="1599">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200"/>
              <a:buFont typeface="Arial"/>
              <a:buNone/>
              <a:defRPr sz="1599">
                <a:solidFill>
                  <a:schemeClr val="dk1"/>
                </a:solidFill>
              </a:defRPr>
            </a:lvl2pPr>
            <a:lvl3pPr lvl="2" algn="l">
              <a:lnSpc>
                <a:spcPct val="90000"/>
              </a:lnSpc>
              <a:spcBef>
                <a:spcPts val="0"/>
              </a:spcBef>
              <a:spcAft>
                <a:spcPts val="0"/>
              </a:spcAft>
              <a:buClr>
                <a:schemeClr val="dk1"/>
              </a:buClr>
              <a:buSzPts val="1200"/>
              <a:buFont typeface="Arial"/>
              <a:buNone/>
              <a:defRPr sz="1599">
                <a:solidFill>
                  <a:schemeClr val="dk1"/>
                </a:solidFill>
              </a:defRPr>
            </a:lvl3pPr>
            <a:lvl4pPr lvl="3" algn="l">
              <a:lnSpc>
                <a:spcPct val="90000"/>
              </a:lnSpc>
              <a:spcBef>
                <a:spcPts val="0"/>
              </a:spcBef>
              <a:spcAft>
                <a:spcPts val="0"/>
              </a:spcAft>
              <a:buClr>
                <a:schemeClr val="dk1"/>
              </a:buClr>
              <a:buSzPts val="1200"/>
              <a:buFont typeface="Arial"/>
              <a:buNone/>
              <a:defRPr sz="1599">
                <a:solidFill>
                  <a:schemeClr val="dk1"/>
                </a:solidFill>
              </a:defRPr>
            </a:lvl4pPr>
            <a:lvl5pPr lvl="4" algn="l">
              <a:lnSpc>
                <a:spcPct val="90000"/>
              </a:lnSpc>
              <a:spcBef>
                <a:spcPts val="0"/>
              </a:spcBef>
              <a:spcAft>
                <a:spcPts val="0"/>
              </a:spcAft>
              <a:buClr>
                <a:schemeClr val="dk1"/>
              </a:buClr>
              <a:buSzPts val="1200"/>
              <a:buFont typeface="Arial"/>
              <a:buNone/>
              <a:defRPr sz="1599">
                <a:solidFill>
                  <a:schemeClr val="dk1"/>
                </a:solidFill>
              </a:defRPr>
            </a:lvl5pPr>
            <a:lvl6pPr lvl="5" algn="l">
              <a:lnSpc>
                <a:spcPct val="90000"/>
              </a:lnSpc>
              <a:spcBef>
                <a:spcPts val="0"/>
              </a:spcBef>
              <a:spcAft>
                <a:spcPts val="0"/>
              </a:spcAft>
              <a:buClr>
                <a:schemeClr val="dk1"/>
              </a:buClr>
              <a:buSzPts val="1200"/>
              <a:buNone/>
              <a:defRPr sz="1599">
                <a:solidFill>
                  <a:schemeClr val="dk1"/>
                </a:solidFill>
              </a:defRPr>
            </a:lvl6pPr>
            <a:lvl7pPr lvl="6" algn="l">
              <a:lnSpc>
                <a:spcPct val="90000"/>
              </a:lnSpc>
              <a:spcBef>
                <a:spcPts val="0"/>
              </a:spcBef>
              <a:spcAft>
                <a:spcPts val="0"/>
              </a:spcAft>
              <a:buClr>
                <a:schemeClr val="dk1"/>
              </a:buClr>
              <a:buSzPts val="1200"/>
              <a:buNone/>
              <a:defRPr sz="1599">
                <a:solidFill>
                  <a:schemeClr val="dk1"/>
                </a:solidFill>
              </a:defRPr>
            </a:lvl7pPr>
            <a:lvl8pPr lvl="7" algn="l">
              <a:lnSpc>
                <a:spcPct val="90000"/>
              </a:lnSpc>
              <a:spcBef>
                <a:spcPts val="0"/>
              </a:spcBef>
              <a:spcAft>
                <a:spcPts val="0"/>
              </a:spcAft>
              <a:buClr>
                <a:schemeClr val="dk1"/>
              </a:buClr>
              <a:buSzPts val="1200"/>
              <a:buNone/>
              <a:defRPr sz="1599">
                <a:solidFill>
                  <a:schemeClr val="dk1"/>
                </a:solidFill>
              </a:defRPr>
            </a:lvl8pPr>
            <a:lvl9pPr lvl="8" algn="l">
              <a:lnSpc>
                <a:spcPct val="90000"/>
              </a:lnSpc>
              <a:spcBef>
                <a:spcPts val="0"/>
              </a:spcBef>
              <a:spcAft>
                <a:spcPts val="0"/>
              </a:spcAft>
              <a:buClr>
                <a:schemeClr val="dk1"/>
              </a:buClr>
              <a:buSzPts val="1200"/>
              <a:buNone/>
              <a:defRPr sz="1599">
                <a:solidFill>
                  <a:schemeClr val="dk1"/>
                </a:solidFill>
              </a:defRPr>
            </a:lvl9pPr>
          </a:lstStyle>
          <a:p>
            <a:endParaRPr/>
          </a:p>
        </p:txBody>
      </p:sp>
      <p:sp>
        <p:nvSpPr>
          <p:cNvPr id="615" name="Google Shape;615;p67"/>
          <p:cNvSpPr txBox="1">
            <a:spLocks noGrp="1"/>
          </p:cNvSpPr>
          <p:nvPr>
            <p:ph type="subTitle" idx="2"/>
          </p:nvPr>
        </p:nvSpPr>
        <p:spPr>
          <a:xfrm>
            <a:off x="6352032" y="1560577"/>
            <a:ext cx="5303600" cy="3292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000"/>
              <a:buFont typeface="Courier New"/>
              <a:buNone/>
              <a:defRPr sz="1332">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2pPr>
            <a:lvl3pPr lvl="2"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3pPr>
            <a:lvl4pPr lvl="3"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4pPr>
            <a:lvl5pPr lvl="4"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5pPr>
            <a:lvl6pPr lvl="5"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6pPr>
            <a:lvl7pPr lvl="6"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7pPr>
            <a:lvl8pPr lvl="7"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8pPr>
            <a:lvl9pPr lvl="8"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9pPr>
          </a:lstStyle>
          <a:p>
            <a:endParaRPr/>
          </a:p>
        </p:txBody>
      </p:sp>
      <p:sp>
        <p:nvSpPr>
          <p:cNvPr id="616" name="Google Shape;616;p67"/>
          <p:cNvSpPr txBox="1">
            <a:spLocks noGrp="1"/>
          </p:cNvSpPr>
          <p:nvPr>
            <p:ph type="subTitle" idx="3"/>
          </p:nvPr>
        </p:nvSpPr>
        <p:spPr>
          <a:xfrm>
            <a:off x="6352032" y="1853184"/>
            <a:ext cx="5303600" cy="3682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000"/>
              <a:buFont typeface="Courier New"/>
              <a:buNone/>
              <a:defRPr sz="1332">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2pPr>
            <a:lvl3pPr lvl="2"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3pPr>
            <a:lvl4pPr lvl="3"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4pPr>
            <a:lvl5pPr lvl="4"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5pPr>
            <a:lvl6pPr lvl="5"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6pPr>
            <a:lvl7pPr lvl="6"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7pPr>
            <a:lvl8pPr lvl="7"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8pPr>
            <a:lvl9pPr lvl="8"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9pPr>
          </a:lstStyle>
          <a:p>
            <a:endParaRPr/>
          </a:p>
        </p:txBody>
      </p:sp>
      <p:sp>
        <p:nvSpPr>
          <p:cNvPr id="617" name="Google Shape;617;p67"/>
          <p:cNvSpPr txBox="1">
            <a:spLocks noGrp="1"/>
          </p:cNvSpPr>
          <p:nvPr>
            <p:ph type="subTitle" idx="4"/>
          </p:nvPr>
        </p:nvSpPr>
        <p:spPr>
          <a:xfrm>
            <a:off x="456700" y="33528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618" name="Google Shape;618;p67"/>
          <p:cNvSpPr txBox="1">
            <a:spLocks noGrp="1"/>
          </p:cNvSpPr>
          <p:nvPr>
            <p:ph type="title"/>
          </p:nvPr>
        </p:nvSpPr>
        <p:spPr>
          <a:xfrm>
            <a:off x="456700" y="2117435"/>
            <a:ext cx="4597200" cy="1162000"/>
          </a:xfrm>
          <a:prstGeom prst="rect">
            <a:avLst/>
          </a:prstGeom>
          <a:noFill/>
          <a:ln>
            <a:noFill/>
          </a:ln>
        </p:spPr>
        <p:txBody>
          <a:bodyPr spcFirstLastPara="1" wrap="square" lIns="34275" tIns="17150" rIns="34275" bIns="17150" anchor="b"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9pPr>
          </a:lstStyle>
          <a:p>
            <a:endParaRPr/>
          </a:p>
        </p:txBody>
      </p:sp>
      <p:sp>
        <p:nvSpPr>
          <p:cNvPr id="619" name="Google Shape;619;p67"/>
          <p:cNvSpPr txBox="1">
            <a:spLocks noGrp="1"/>
          </p:cNvSpPr>
          <p:nvPr>
            <p:ph type="subTitle" idx="5"/>
          </p:nvPr>
        </p:nvSpPr>
        <p:spPr>
          <a:xfrm>
            <a:off x="456700" y="37719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Tree>
    <p:extLst>
      <p:ext uri="{BB962C8B-B14F-4D97-AF65-F5344CB8AC3E}">
        <p14:creationId xmlns:p14="http://schemas.microsoft.com/office/powerpoint/2010/main" val="3015490196"/>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matchingName="63. Code snippet_2">
  <p:cSld name="63. Code snippet_2">
    <p:spTree>
      <p:nvGrpSpPr>
        <p:cNvPr id="1" name="Shape 620"/>
        <p:cNvGrpSpPr/>
        <p:nvPr/>
      </p:nvGrpSpPr>
      <p:grpSpPr>
        <a:xfrm>
          <a:off x="0" y="0"/>
          <a:ext cx="0" cy="0"/>
          <a:chOff x="0" y="0"/>
          <a:chExt cx="0" cy="0"/>
        </a:xfrm>
      </p:grpSpPr>
      <p:sp>
        <p:nvSpPr>
          <p:cNvPr id="621" name="Google Shape;621;p68"/>
          <p:cNvSpPr txBox="1">
            <a:spLocks noGrp="1"/>
          </p:cNvSpPr>
          <p:nvPr>
            <p:ph type="title"/>
          </p:nvPr>
        </p:nvSpPr>
        <p:spPr>
          <a:xfrm>
            <a:off x="7124201" y="2117435"/>
            <a:ext cx="4597200" cy="1162000"/>
          </a:xfrm>
          <a:prstGeom prst="rect">
            <a:avLst/>
          </a:prstGeom>
          <a:noFill/>
          <a:ln>
            <a:noFill/>
          </a:ln>
        </p:spPr>
        <p:txBody>
          <a:bodyPr spcFirstLastPara="1" wrap="square" lIns="34275" tIns="17150" rIns="34275" bIns="17150" anchor="b"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2000"/>
              <a:buFont typeface="Arial"/>
              <a:buNone/>
              <a:defRPr sz="2664" b="1" i="0" u="none" strike="noStrike" cap="none">
                <a:solidFill>
                  <a:srgbClr val="F0F6FC"/>
                </a:solidFill>
                <a:latin typeface="Arial"/>
                <a:ea typeface="Arial"/>
                <a:cs typeface="Arial"/>
                <a:sym typeface="Arial"/>
              </a:defRPr>
            </a:lvl9pPr>
          </a:lstStyle>
          <a:p>
            <a:endParaRPr/>
          </a:p>
        </p:txBody>
      </p:sp>
      <p:pic>
        <p:nvPicPr>
          <p:cNvPr id="622" name="Google Shape;622;p68"/>
          <p:cNvPicPr preferRelativeResize="0"/>
          <p:nvPr/>
        </p:nvPicPr>
        <p:blipFill rotWithShape="1">
          <a:blip r:embed="rId2">
            <a:alphaModFix/>
          </a:blip>
          <a:srcRect/>
          <a:stretch/>
        </p:blipFill>
        <p:spPr>
          <a:xfrm>
            <a:off x="-2078540" y="-1167400"/>
            <a:ext cx="6858000" cy="6858000"/>
          </a:xfrm>
          <a:prstGeom prst="rect">
            <a:avLst/>
          </a:prstGeom>
          <a:noFill/>
          <a:ln>
            <a:noFill/>
          </a:ln>
        </p:spPr>
      </p:pic>
      <p:grpSp>
        <p:nvGrpSpPr>
          <p:cNvPr id="623" name="Google Shape;623;p68"/>
          <p:cNvGrpSpPr/>
          <p:nvPr/>
        </p:nvGrpSpPr>
        <p:grpSpPr>
          <a:xfrm>
            <a:off x="319565" y="884374"/>
            <a:ext cx="6568527" cy="4806228"/>
            <a:chOff x="4796385" y="2821973"/>
            <a:chExt cx="5385971" cy="3940946"/>
          </a:xfrm>
        </p:grpSpPr>
        <p:sp>
          <p:nvSpPr>
            <p:cNvPr id="624" name="Google Shape;624;p68"/>
            <p:cNvSpPr/>
            <p:nvPr/>
          </p:nvSpPr>
          <p:spPr>
            <a:xfrm>
              <a:off x="4805901" y="2831493"/>
              <a:ext cx="5366939" cy="3921908"/>
            </a:xfrm>
            <a:custGeom>
              <a:avLst/>
              <a:gdLst/>
              <a:ahLst/>
              <a:cxnLst/>
              <a:rect l="l" t="t" r="r" b="b"/>
              <a:pathLst>
                <a:path w="5366939" h="3921908" extrusionOk="0">
                  <a:moveTo>
                    <a:pt x="0" y="57115"/>
                  </a:moveTo>
                  <a:cubicBezTo>
                    <a:pt x="0" y="25571"/>
                    <a:pt x="25562" y="0"/>
                    <a:pt x="57095" y="0"/>
                  </a:cubicBezTo>
                  <a:lnTo>
                    <a:pt x="5309845" y="0"/>
                  </a:lnTo>
                  <a:cubicBezTo>
                    <a:pt x="5341380" y="0"/>
                    <a:pt x="5366940" y="25571"/>
                    <a:pt x="5366940" y="57115"/>
                  </a:cubicBezTo>
                  <a:lnTo>
                    <a:pt x="5366940" y="3864794"/>
                  </a:lnTo>
                  <a:cubicBezTo>
                    <a:pt x="5366940" y="3896340"/>
                    <a:pt x="5341380" y="3921909"/>
                    <a:pt x="5309845" y="3921909"/>
                  </a:cubicBezTo>
                  <a:lnTo>
                    <a:pt x="57095" y="3921909"/>
                  </a:lnTo>
                  <a:cubicBezTo>
                    <a:pt x="25562" y="3921909"/>
                    <a:pt x="0" y="3896340"/>
                    <a:pt x="0" y="3864794"/>
                  </a:cubicBezTo>
                  <a:lnTo>
                    <a:pt x="0" y="57115"/>
                  </a:lnTo>
                  <a:close/>
                </a:path>
              </a:pathLst>
            </a:custGeom>
            <a:solidFill>
              <a:srgbClr val="161B22"/>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sp>
          <p:nvSpPr>
            <p:cNvPr id="625" name="Google Shape;625;p68"/>
            <p:cNvSpPr/>
            <p:nvPr/>
          </p:nvSpPr>
          <p:spPr>
            <a:xfrm>
              <a:off x="4971313" y="3047906"/>
              <a:ext cx="2361341" cy="147696"/>
            </a:xfrm>
            <a:custGeom>
              <a:avLst/>
              <a:gdLst/>
              <a:ahLst/>
              <a:cxnLst/>
              <a:rect l="l" t="t" r="r" b="b"/>
              <a:pathLst>
                <a:path w="2361341" h="147696" extrusionOk="0">
                  <a:moveTo>
                    <a:pt x="11895" y="118246"/>
                  </a:moveTo>
                  <a:cubicBezTo>
                    <a:pt x="18958" y="118246"/>
                    <a:pt x="23790" y="113263"/>
                    <a:pt x="23790" y="106645"/>
                  </a:cubicBezTo>
                  <a:cubicBezTo>
                    <a:pt x="23790" y="100100"/>
                    <a:pt x="18958" y="95118"/>
                    <a:pt x="11895" y="95118"/>
                  </a:cubicBezTo>
                  <a:cubicBezTo>
                    <a:pt x="4906" y="95118"/>
                    <a:pt x="0" y="100100"/>
                    <a:pt x="0" y="106645"/>
                  </a:cubicBezTo>
                  <a:cubicBezTo>
                    <a:pt x="0" y="113263"/>
                    <a:pt x="4906" y="118246"/>
                    <a:pt x="11895" y="118246"/>
                  </a:cubicBezTo>
                  <a:close/>
                  <a:moveTo>
                    <a:pt x="80216" y="147696"/>
                  </a:moveTo>
                  <a:cubicBezTo>
                    <a:pt x="103931" y="147696"/>
                    <a:pt x="118948" y="135871"/>
                    <a:pt x="118948" y="117205"/>
                  </a:cubicBezTo>
                  <a:lnTo>
                    <a:pt x="118948" y="35473"/>
                  </a:lnTo>
                  <a:lnTo>
                    <a:pt x="101180" y="35473"/>
                  </a:lnTo>
                  <a:lnTo>
                    <a:pt x="101180" y="48488"/>
                  </a:lnTo>
                  <a:lnTo>
                    <a:pt x="99916" y="48488"/>
                  </a:lnTo>
                  <a:cubicBezTo>
                    <a:pt x="95456" y="39638"/>
                    <a:pt x="85791" y="34135"/>
                    <a:pt x="74715" y="34135"/>
                  </a:cubicBezTo>
                  <a:cubicBezTo>
                    <a:pt x="53973" y="34135"/>
                    <a:pt x="41111" y="50347"/>
                    <a:pt x="41111" y="75261"/>
                  </a:cubicBezTo>
                  <a:cubicBezTo>
                    <a:pt x="41111" y="99654"/>
                    <a:pt x="53899" y="115569"/>
                    <a:pt x="74417" y="115569"/>
                  </a:cubicBezTo>
                  <a:cubicBezTo>
                    <a:pt x="85717" y="115569"/>
                    <a:pt x="94564" y="110809"/>
                    <a:pt x="99247" y="102033"/>
                  </a:cubicBezTo>
                  <a:lnTo>
                    <a:pt x="100511" y="102033"/>
                  </a:lnTo>
                  <a:lnTo>
                    <a:pt x="100511" y="117502"/>
                  </a:lnTo>
                  <a:cubicBezTo>
                    <a:pt x="100511" y="127840"/>
                    <a:pt x="93152" y="133938"/>
                    <a:pt x="80514" y="133938"/>
                  </a:cubicBezTo>
                  <a:cubicBezTo>
                    <a:pt x="70402" y="133938"/>
                    <a:pt x="63861" y="130294"/>
                    <a:pt x="62671" y="124567"/>
                  </a:cubicBezTo>
                  <a:lnTo>
                    <a:pt x="44159" y="124567"/>
                  </a:lnTo>
                  <a:cubicBezTo>
                    <a:pt x="45647" y="138549"/>
                    <a:pt x="59326" y="147696"/>
                    <a:pt x="80216" y="147696"/>
                  </a:cubicBezTo>
                  <a:close/>
                  <a:moveTo>
                    <a:pt x="80216" y="100918"/>
                  </a:moveTo>
                  <a:cubicBezTo>
                    <a:pt x="67354" y="100918"/>
                    <a:pt x="60069" y="90953"/>
                    <a:pt x="60069" y="75186"/>
                  </a:cubicBezTo>
                  <a:cubicBezTo>
                    <a:pt x="60069" y="59495"/>
                    <a:pt x="67354" y="49529"/>
                    <a:pt x="80216" y="49529"/>
                  </a:cubicBezTo>
                  <a:cubicBezTo>
                    <a:pt x="93002" y="49529"/>
                    <a:pt x="100809" y="59495"/>
                    <a:pt x="100809" y="75261"/>
                  </a:cubicBezTo>
                  <a:cubicBezTo>
                    <a:pt x="100809" y="90953"/>
                    <a:pt x="93077" y="100918"/>
                    <a:pt x="80216" y="100918"/>
                  </a:cubicBezTo>
                  <a:close/>
                  <a:moveTo>
                    <a:pt x="150990" y="21864"/>
                  </a:moveTo>
                  <a:cubicBezTo>
                    <a:pt x="157086" y="21864"/>
                    <a:pt x="162067" y="17030"/>
                    <a:pt x="162067" y="10932"/>
                  </a:cubicBezTo>
                  <a:cubicBezTo>
                    <a:pt x="162067" y="4908"/>
                    <a:pt x="157086" y="0"/>
                    <a:pt x="150990" y="0"/>
                  </a:cubicBezTo>
                  <a:cubicBezTo>
                    <a:pt x="144968" y="0"/>
                    <a:pt x="139988" y="4908"/>
                    <a:pt x="139988" y="10932"/>
                  </a:cubicBezTo>
                  <a:cubicBezTo>
                    <a:pt x="139988" y="17030"/>
                    <a:pt x="144968" y="21864"/>
                    <a:pt x="150990" y="21864"/>
                  </a:cubicBezTo>
                  <a:close/>
                  <a:moveTo>
                    <a:pt x="141846" y="116759"/>
                  </a:moveTo>
                  <a:lnTo>
                    <a:pt x="160209" y="116759"/>
                  </a:lnTo>
                  <a:lnTo>
                    <a:pt x="160209" y="35473"/>
                  </a:lnTo>
                  <a:lnTo>
                    <a:pt x="141846" y="35473"/>
                  </a:lnTo>
                  <a:lnTo>
                    <a:pt x="141846" y="116759"/>
                  </a:lnTo>
                  <a:close/>
                  <a:moveTo>
                    <a:pt x="188977" y="15543"/>
                  </a:moveTo>
                  <a:lnTo>
                    <a:pt x="188977" y="35994"/>
                  </a:lnTo>
                  <a:lnTo>
                    <a:pt x="176121" y="35994"/>
                  </a:lnTo>
                  <a:lnTo>
                    <a:pt x="176121" y="50347"/>
                  </a:lnTo>
                  <a:lnTo>
                    <a:pt x="188977" y="50347"/>
                  </a:lnTo>
                  <a:lnTo>
                    <a:pt x="188977" y="95192"/>
                  </a:lnTo>
                  <a:cubicBezTo>
                    <a:pt x="188977" y="110883"/>
                    <a:pt x="196409" y="117131"/>
                    <a:pt x="215070" y="117131"/>
                  </a:cubicBezTo>
                  <a:cubicBezTo>
                    <a:pt x="218638" y="117131"/>
                    <a:pt x="222064" y="116833"/>
                    <a:pt x="224738" y="116312"/>
                  </a:cubicBezTo>
                  <a:lnTo>
                    <a:pt x="224738" y="102183"/>
                  </a:lnTo>
                  <a:cubicBezTo>
                    <a:pt x="222511" y="102406"/>
                    <a:pt x="221093" y="102554"/>
                    <a:pt x="218495" y="102554"/>
                  </a:cubicBezTo>
                  <a:cubicBezTo>
                    <a:pt x="210759" y="102554"/>
                    <a:pt x="207343" y="98910"/>
                    <a:pt x="207343" y="90804"/>
                  </a:cubicBezTo>
                  <a:lnTo>
                    <a:pt x="207343" y="50347"/>
                  </a:lnTo>
                  <a:lnTo>
                    <a:pt x="224738" y="50347"/>
                  </a:lnTo>
                  <a:lnTo>
                    <a:pt x="224738" y="35994"/>
                  </a:lnTo>
                  <a:lnTo>
                    <a:pt x="207343" y="35994"/>
                  </a:lnTo>
                  <a:lnTo>
                    <a:pt x="207343" y="15543"/>
                  </a:lnTo>
                  <a:lnTo>
                    <a:pt x="188977" y="15543"/>
                  </a:lnTo>
                  <a:close/>
                  <a:moveTo>
                    <a:pt x="243922" y="116759"/>
                  </a:moveTo>
                  <a:lnTo>
                    <a:pt x="262354" y="116759"/>
                  </a:lnTo>
                  <a:lnTo>
                    <a:pt x="262354" y="69535"/>
                  </a:lnTo>
                  <a:cubicBezTo>
                    <a:pt x="262354" y="57636"/>
                    <a:pt x="269120" y="49678"/>
                    <a:pt x="281243" y="49678"/>
                  </a:cubicBezTo>
                  <a:cubicBezTo>
                    <a:pt x="291939" y="49678"/>
                    <a:pt x="297591" y="56074"/>
                    <a:pt x="297591" y="68642"/>
                  </a:cubicBezTo>
                  <a:lnTo>
                    <a:pt x="297591" y="116759"/>
                  </a:lnTo>
                  <a:lnTo>
                    <a:pt x="316033" y="116759"/>
                  </a:lnTo>
                  <a:lnTo>
                    <a:pt x="316033" y="64329"/>
                  </a:lnTo>
                  <a:cubicBezTo>
                    <a:pt x="316033" y="44992"/>
                    <a:pt x="305470" y="33986"/>
                    <a:pt x="288075" y="33986"/>
                  </a:cubicBezTo>
                  <a:cubicBezTo>
                    <a:pt x="275962" y="33986"/>
                    <a:pt x="267264" y="39489"/>
                    <a:pt x="263391" y="48637"/>
                  </a:cubicBezTo>
                  <a:lnTo>
                    <a:pt x="262059" y="48637"/>
                  </a:lnTo>
                  <a:lnTo>
                    <a:pt x="262059" y="4015"/>
                  </a:lnTo>
                  <a:lnTo>
                    <a:pt x="243922" y="4015"/>
                  </a:lnTo>
                  <a:lnTo>
                    <a:pt x="243922" y="116759"/>
                  </a:lnTo>
                  <a:close/>
                  <a:moveTo>
                    <a:pt x="408660" y="35473"/>
                  </a:moveTo>
                  <a:lnTo>
                    <a:pt x="390228" y="35473"/>
                  </a:lnTo>
                  <a:lnTo>
                    <a:pt x="390228" y="82847"/>
                  </a:lnTo>
                  <a:cubicBezTo>
                    <a:pt x="390228" y="95118"/>
                    <a:pt x="383681" y="102554"/>
                    <a:pt x="371710" y="102554"/>
                  </a:cubicBezTo>
                  <a:cubicBezTo>
                    <a:pt x="360710" y="102554"/>
                    <a:pt x="355581" y="96456"/>
                    <a:pt x="355581" y="83814"/>
                  </a:cubicBezTo>
                  <a:lnTo>
                    <a:pt x="355581" y="35473"/>
                  </a:lnTo>
                  <a:lnTo>
                    <a:pt x="337139" y="35473"/>
                  </a:lnTo>
                  <a:lnTo>
                    <a:pt x="337139" y="88275"/>
                  </a:lnTo>
                  <a:cubicBezTo>
                    <a:pt x="337139" y="107314"/>
                    <a:pt x="347549" y="118395"/>
                    <a:pt x="365315" y="118395"/>
                  </a:cubicBezTo>
                  <a:cubicBezTo>
                    <a:pt x="377734" y="118395"/>
                    <a:pt x="385689" y="113115"/>
                    <a:pt x="389628" y="103818"/>
                  </a:cubicBezTo>
                  <a:lnTo>
                    <a:pt x="390894" y="103818"/>
                  </a:lnTo>
                  <a:lnTo>
                    <a:pt x="390894" y="116759"/>
                  </a:lnTo>
                  <a:lnTo>
                    <a:pt x="408660" y="116759"/>
                  </a:lnTo>
                  <a:lnTo>
                    <a:pt x="408660" y="35473"/>
                  </a:lnTo>
                  <a:close/>
                  <a:moveTo>
                    <a:pt x="476461" y="118097"/>
                  </a:moveTo>
                  <a:cubicBezTo>
                    <a:pt x="496977" y="118097"/>
                    <a:pt x="509842" y="101959"/>
                    <a:pt x="509842" y="76154"/>
                  </a:cubicBezTo>
                  <a:cubicBezTo>
                    <a:pt x="509842" y="50199"/>
                    <a:pt x="497053" y="34135"/>
                    <a:pt x="476461" y="34135"/>
                  </a:cubicBezTo>
                  <a:cubicBezTo>
                    <a:pt x="465308" y="34135"/>
                    <a:pt x="455944" y="39564"/>
                    <a:pt x="451710" y="48414"/>
                  </a:cubicBezTo>
                  <a:lnTo>
                    <a:pt x="450444" y="48414"/>
                  </a:lnTo>
                  <a:lnTo>
                    <a:pt x="450444" y="4015"/>
                  </a:lnTo>
                  <a:lnTo>
                    <a:pt x="432002" y="4015"/>
                  </a:lnTo>
                  <a:lnTo>
                    <a:pt x="432002" y="116759"/>
                  </a:lnTo>
                  <a:lnTo>
                    <a:pt x="449769" y="116759"/>
                  </a:lnTo>
                  <a:lnTo>
                    <a:pt x="449769" y="103893"/>
                  </a:lnTo>
                  <a:lnTo>
                    <a:pt x="451034" y="103893"/>
                  </a:lnTo>
                  <a:cubicBezTo>
                    <a:pt x="455649" y="112817"/>
                    <a:pt x="465089" y="118097"/>
                    <a:pt x="476461" y="118097"/>
                  </a:cubicBezTo>
                  <a:close/>
                  <a:moveTo>
                    <a:pt x="470665" y="49529"/>
                  </a:moveTo>
                  <a:cubicBezTo>
                    <a:pt x="483226" y="49529"/>
                    <a:pt x="490887" y="59569"/>
                    <a:pt x="490887" y="76154"/>
                  </a:cubicBezTo>
                  <a:cubicBezTo>
                    <a:pt x="490887" y="92738"/>
                    <a:pt x="483302" y="102777"/>
                    <a:pt x="470665" y="102777"/>
                  </a:cubicBezTo>
                  <a:cubicBezTo>
                    <a:pt x="458028" y="102777"/>
                    <a:pt x="450149" y="92588"/>
                    <a:pt x="450149" y="76154"/>
                  </a:cubicBezTo>
                  <a:cubicBezTo>
                    <a:pt x="450149" y="59718"/>
                    <a:pt x="458095" y="49529"/>
                    <a:pt x="470665" y="49529"/>
                  </a:cubicBezTo>
                  <a:close/>
                  <a:moveTo>
                    <a:pt x="534079" y="139739"/>
                  </a:moveTo>
                  <a:lnTo>
                    <a:pt x="572590" y="4015"/>
                  </a:lnTo>
                  <a:lnTo>
                    <a:pt x="556004" y="4015"/>
                  </a:lnTo>
                  <a:lnTo>
                    <a:pt x="517426" y="139739"/>
                  </a:lnTo>
                  <a:lnTo>
                    <a:pt x="534079" y="139739"/>
                  </a:lnTo>
                  <a:close/>
                  <a:moveTo>
                    <a:pt x="693317" y="35473"/>
                  </a:moveTo>
                  <a:lnTo>
                    <a:pt x="674952" y="35473"/>
                  </a:lnTo>
                  <a:lnTo>
                    <a:pt x="661496" y="96530"/>
                  </a:lnTo>
                  <a:lnTo>
                    <a:pt x="660240" y="96530"/>
                  </a:lnTo>
                  <a:lnTo>
                    <a:pt x="644472" y="35473"/>
                  </a:lnTo>
                  <a:lnTo>
                    <a:pt x="626859" y="35473"/>
                  </a:lnTo>
                  <a:lnTo>
                    <a:pt x="611243" y="96530"/>
                  </a:lnTo>
                  <a:lnTo>
                    <a:pt x="609977" y="96530"/>
                  </a:lnTo>
                  <a:lnTo>
                    <a:pt x="596446" y="35473"/>
                  </a:lnTo>
                  <a:lnTo>
                    <a:pt x="577861" y="35473"/>
                  </a:lnTo>
                  <a:lnTo>
                    <a:pt x="599872" y="116759"/>
                  </a:lnTo>
                  <a:lnTo>
                    <a:pt x="619056" y="116759"/>
                  </a:lnTo>
                  <a:lnTo>
                    <a:pt x="634814" y="57859"/>
                  </a:lnTo>
                  <a:lnTo>
                    <a:pt x="636079" y="57859"/>
                  </a:lnTo>
                  <a:lnTo>
                    <a:pt x="651914" y="116759"/>
                  </a:lnTo>
                  <a:lnTo>
                    <a:pt x="671317" y="116759"/>
                  </a:lnTo>
                  <a:lnTo>
                    <a:pt x="693317" y="35473"/>
                  </a:lnTo>
                  <a:close/>
                  <a:moveTo>
                    <a:pt x="741268" y="118395"/>
                  </a:moveTo>
                  <a:cubicBezTo>
                    <a:pt x="765581" y="118395"/>
                    <a:pt x="780378" y="102480"/>
                    <a:pt x="780378" y="76079"/>
                  </a:cubicBezTo>
                  <a:cubicBezTo>
                    <a:pt x="780378" y="49827"/>
                    <a:pt x="765505" y="33912"/>
                    <a:pt x="741268" y="33912"/>
                  </a:cubicBezTo>
                  <a:cubicBezTo>
                    <a:pt x="717107" y="33912"/>
                    <a:pt x="702167" y="49902"/>
                    <a:pt x="702167" y="76079"/>
                  </a:cubicBezTo>
                  <a:cubicBezTo>
                    <a:pt x="702167" y="102480"/>
                    <a:pt x="716888" y="118395"/>
                    <a:pt x="741268" y="118395"/>
                  </a:cubicBezTo>
                  <a:close/>
                  <a:moveTo>
                    <a:pt x="741268" y="103298"/>
                  </a:moveTo>
                  <a:cubicBezTo>
                    <a:pt x="728412" y="103298"/>
                    <a:pt x="721047" y="93333"/>
                    <a:pt x="721047" y="76154"/>
                  </a:cubicBezTo>
                  <a:cubicBezTo>
                    <a:pt x="721047" y="58974"/>
                    <a:pt x="728412" y="49009"/>
                    <a:pt x="741268" y="49009"/>
                  </a:cubicBezTo>
                  <a:cubicBezTo>
                    <a:pt x="754057" y="49009"/>
                    <a:pt x="761413" y="58974"/>
                    <a:pt x="761413" y="76154"/>
                  </a:cubicBezTo>
                  <a:cubicBezTo>
                    <a:pt x="761413" y="93333"/>
                    <a:pt x="754133" y="103298"/>
                    <a:pt x="741268" y="103298"/>
                  </a:cubicBezTo>
                  <a:close/>
                  <a:moveTo>
                    <a:pt x="798962" y="116759"/>
                  </a:moveTo>
                  <a:lnTo>
                    <a:pt x="817395" y="116759"/>
                  </a:lnTo>
                  <a:lnTo>
                    <a:pt x="817395" y="69535"/>
                  </a:lnTo>
                  <a:cubicBezTo>
                    <a:pt x="817395" y="58081"/>
                    <a:pt x="825721" y="50645"/>
                    <a:pt x="837692" y="50645"/>
                  </a:cubicBezTo>
                  <a:cubicBezTo>
                    <a:pt x="840813" y="50645"/>
                    <a:pt x="845723" y="51166"/>
                    <a:pt x="847132" y="51686"/>
                  </a:cubicBezTo>
                  <a:lnTo>
                    <a:pt x="847132" y="34878"/>
                  </a:lnTo>
                  <a:cubicBezTo>
                    <a:pt x="845428" y="34433"/>
                    <a:pt x="842155" y="34135"/>
                    <a:pt x="839481" y="34135"/>
                  </a:cubicBezTo>
                  <a:cubicBezTo>
                    <a:pt x="828994" y="34135"/>
                    <a:pt x="820221" y="40084"/>
                    <a:pt x="817994" y="48117"/>
                  </a:cubicBezTo>
                  <a:lnTo>
                    <a:pt x="816728" y="48117"/>
                  </a:lnTo>
                  <a:lnTo>
                    <a:pt x="816728" y="35473"/>
                  </a:lnTo>
                  <a:lnTo>
                    <a:pt x="798962" y="35473"/>
                  </a:lnTo>
                  <a:lnTo>
                    <a:pt x="798962" y="116759"/>
                  </a:lnTo>
                  <a:close/>
                  <a:moveTo>
                    <a:pt x="882740" y="68790"/>
                  </a:moveTo>
                  <a:lnTo>
                    <a:pt x="881484" y="68790"/>
                  </a:lnTo>
                  <a:lnTo>
                    <a:pt x="881484" y="4015"/>
                  </a:lnTo>
                  <a:lnTo>
                    <a:pt x="863042" y="4015"/>
                  </a:lnTo>
                  <a:lnTo>
                    <a:pt x="863042" y="116759"/>
                  </a:lnTo>
                  <a:lnTo>
                    <a:pt x="881484" y="116759"/>
                  </a:lnTo>
                  <a:lnTo>
                    <a:pt x="881484" y="88201"/>
                  </a:lnTo>
                  <a:lnTo>
                    <a:pt x="888021" y="81657"/>
                  </a:lnTo>
                  <a:lnTo>
                    <a:pt x="914114" y="116759"/>
                  </a:lnTo>
                  <a:lnTo>
                    <a:pt x="936419" y="116759"/>
                  </a:lnTo>
                  <a:lnTo>
                    <a:pt x="901771" y="70353"/>
                  </a:lnTo>
                  <a:lnTo>
                    <a:pt x="934192" y="35473"/>
                  </a:lnTo>
                  <a:lnTo>
                    <a:pt x="912781" y="35473"/>
                  </a:lnTo>
                  <a:lnTo>
                    <a:pt x="882740" y="68790"/>
                  </a:lnTo>
                  <a:close/>
                  <a:moveTo>
                    <a:pt x="955527" y="116759"/>
                  </a:moveTo>
                  <a:lnTo>
                    <a:pt x="973892" y="116759"/>
                  </a:lnTo>
                  <a:lnTo>
                    <a:pt x="973892" y="50347"/>
                  </a:lnTo>
                  <a:lnTo>
                    <a:pt x="991354" y="50347"/>
                  </a:lnTo>
                  <a:lnTo>
                    <a:pt x="991354" y="35994"/>
                  </a:lnTo>
                  <a:lnTo>
                    <a:pt x="973664" y="35994"/>
                  </a:lnTo>
                  <a:lnTo>
                    <a:pt x="973664" y="28483"/>
                  </a:lnTo>
                  <a:cubicBezTo>
                    <a:pt x="973664" y="20749"/>
                    <a:pt x="977080" y="16881"/>
                    <a:pt x="985787" y="16881"/>
                  </a:cubicBezTo>
                  <a:cubicBezTo>
                    <a:pt x="988385" y="16881"/>
                    <a:pt x="990611" y="17104"/>
                    <a:pt x="992106" y="17328"/>
                  </a:cubicBezTo>
                  <a:lnTo>
                    <a:pt x="992106" y="4015"/>
                  </a:lnTo>
                  <a:cubicBezTo>
                    <a:pt x="989127" y="3495"/>
                    <a:pt x="985787" y="3272"/>
                    <a:pt x="981838" y="3272"/>
                  </a:cubicBezTo>
                  <a:cubicBezTo>
                    <a:pt x="963777" y="3272"/>
                    <a:pt x="955527" y="11230"/>
                    <a:pt x="955527" y="27442"/>
                  </a:cubicBezTo>
                  <a:lnTo>
                    <a:pt x="955527" y="35994"/>
                  </a:lnTo>
                  <a:lnTo>
                    <a:pt x="942214" y="35994"/>
                  </a:lnTo>
                  <a:lnTo>
                    <a:pt x="942214" y="50347"/>
                  </a:lnTo>
                  <a:lnTo>
                    <a:pt x="955527" y="50347"/>
                  </a:lnTo>
                  <a:lnTo>
                    <a:pt x="955527" y="116759"/>
                  </a:lnTo>
                  <a:close/>
                  <a:moveTo>
                    <a:pt x="1009948" y="116759"/>
                  </a:moveTo>
                  <a:lnTo>
                    <a:pt x="1028380" y="116759"/>
                  </a:lnTo>
                  <a:lnTo>
                    <a:pt x="1028380" y="4015"/>
                  </a:lnTo>
                  <a:lnTo>
                    <a:pt x="1009948" y="4015"/>
                  </a:lnTo>
                  <a:lnTo>
                    <a:pt x="1009948" y="116759"/>
                  </a:lnTo>
                  <a:close/>
                  <a:moveTo>
                    <a:pt x="1086817" y="118395"/>
                  </a:moveTo>
                  <a:cubicBezTo>
                    <a:pt x="1111120" y="118395"/>
                    <a:pt x="1125917" y="102480"/>
                    <a:pt x="1125917" y="76079"/>
                  </a:cubicBezTo>
                  <a:cubicBezTo>
                    <a:pt x="1125917" y="49827"/>
                    <a:pt x="1111054" y="33912"/>
                    <a:pt x="1086817" y="33912"/>
                  </a:cubicBezTo>
                  <a:cubicBezTo>
                    <a:pt x="1062656" y="33912"/>
                    <a:pt x="1047707" y="49902"/>
                    <a:pt x="1047707" y="76079"/>
                  </a:cubicBezTo>
                  <a:cubicBezTo>
                    <a:pt x="1047707" y="102480"/>
                    <a:pt x="1062428" y="118395"/>
                    <a:pt x="1086817" y="118395"/>
                  </a:cubicBezTo>
                  <a:close/>
                  <a:moveTo>
                    <a:pt x="1086817" y="103298"/>
                  </a:moveTo>
                  <a:cubicBezTo>
                    <a:pt x="1073951" y="103298"/>
                    <a:pt x="1066596" y="93333"/>
                    <a:pt x="1066596" y="76154"/>
                  </a:cubicBezTo>
                  <a:cubicBezTo>
                    <a:pt x="1066596" y="58974"/>
                    <a:pt x="1073951" y="49009"/>
                    <a:pt x="1086817" y="49009"/>
                  </a:cubicBezTo>
                  <a:cubicBezTo>
                    <a:pt x="1099606" y="49009"/>
                    <a:pt x="1106962" y="58974"/>
                    <a:pt x="1106962" y="76154"/>
                  </a:cubicBezTo>
                  <a:cubicBezTo>
                    <a:pt x="1106962" y="93333"/>
                    <a:pt x="1099673" y="103298"/>
                    <a:pt x="1086817" y="103298"/>
                  </a:cubicBezTo>
                  <a:close/>
                  <a:moveTo>
                    <a:pt x="1250147" y="35473"/>
                  </a:moveTo>
                  <a:lnTo>
                    <a:pt x="1231781" y="35473"/>
                  </a:lnTo>
                  <a:lnTo>
                    <a:pt x="1218326" y="96530"/>
                  </a:lnTo>
                  <a:lnTo>
                    <a:pt x="1217060" y="96530"/>
                  </a:lnTo>
                  <a:lnTo>
                    <a:pt x="1201302" y="35473"/>
                  </a:lnTo>
                  <a:lnTo>
                    <a:pt x="1183679" y="35473"/>
                  </a:lnTo>
                  <a:lnTo>
                    <a:pt x="1168073" y="96530"/>
                  </a:lnTo>
                  <a:lnTo>
                    <a:pt x="1166807" y="96530"/>
                  </a:lnTo>
                  <a:lnTo>
                    <a:pt x="1153275" y="35473"/>
                  </a:lnTo>
                  <a:lnTo>
                    <a:pt x="1134691" y="35473"/>
                  </a:lnTo>
                  <a:lnTo>
                    <a:pt x="1156701" y="116759"/>
                  </a:lnTo>
                  <a:lnTo>
                    <a:pt x="1175876" y="116759"/>
                  </a:lnTo>
                  <a:lnTo>
                    <a:pt x="1191634" y="57859"/>
                  </a:lnTo>
                  <a:lnTo>
                    <a:pt x="1192899" y="57859"/>
                  </a:lnTo>
                  <a:lnTo>
                    <a:pt x="1208734" y="116759"/>
                  </a:lnTo>
                  <a:lnTo>
                    <a:pt x="1228137" y="116759"/>
                  </a:lnTo>
                  <a:lnTo>
                    <a:pt x="1250147" y="35473"/>
                  </a:lnTo>
                  <a:close/>
                  <a:moveTo>
                    <a:pt x="1262184" y="58676"/>
                  </a:moveTo>
                  <a:cubicBezTo>
                    <a:pt x="1262184" y="70873"/>
                    <a:pt x="1269550" y="78013"/>
                    <a:pt x="1285165" y="81582"/>
                  </a:cubicBezTo>
                  <a:lnTo>
                    <a:pt x="1299582" y="84928"/>
                  </a:lnTo>
                  <a:cubicBezTo>
                    <a:pt x="1307318" y="86714"/>
                    <a:pt x="1310810" y="89688"/>
                    <a:pt x="1310810" y="94299"/>
                  </a:cubicBezTo>
                  <a:cubicBezTo>
                    <a:pt x="1310810" y="100472"/>
                    <a:pt x="1304340" y="104711"/>
                    <a:pt x="1295052" y="104711"/>
                  </a:cubicBezTo>
                  <a:cubicBezTo>
                    <a:pt x="1285831" y="104711"/>
                    <a:pt x="1280103" y="100993"/>
                    <a:pt x="1278323" y="94968"/>
                  </a:cubicBezTo>
                  <a:lnTo>
                    <a:pt x="1260110" y="94968"/>
                  </a:lnTo>
                  <a:cubicBezTo>
                    <a:pt x="1261518" y="109619"/>
                    <a:pt x="1274308" y="118395"/>
                    <a:pt x="1294605" y="118395"/>
                  </a:cubicBezTo>
                  <a:cubicBezTo>
                    <a:pt x="1314893" y="118395"/>
                    <a:pt x="1329243" y="108057"/>
                    <a:pt x="1329243" y="92514"/>
                  </a:cubicBezTo>
                  <a:cubicBezTo>
                    <a:pt x="1329243" y="80541"/>
                    <a:pt x="1322030" y="73922"/>
                    <a:pt x="1306500" y="70353"/>
                  </a:cubicBezTo>
                  <a:lnTo>
                    <a:pt x="1292150" y="67155"/>
                  </a:lnTo>
                  <a:cubicBezTo>
                    <a:pt x="1283966" y="65221"/>
                    <a:pt x="1280103" y="62320"/>
                    <a:pt x="1280103" y="57710"/>
                  </a:cubicBezTo>
                  <a:cubicBezTo>
                    <a:pt x="1280103" y="51686"/>
                    <a:pt x="1286421" y="47596"/>
                    <a:pt x="1294824" y="47596"/>
                  </a:cubicBezTo>
                  <a:cubicBezTo>
                    <a:pt x="1303445" y="47596"/>
                    <a:pt x="1308879" y="51314"/>
                    <a:pt x="1310211" y="57041"/>
                  </a:cubicBezTo>
                  <a:lnTo>
                    <a:pt x="1327539" y="57041"/>
                  </a:lnTo>
                  <a:cubicBezTo>
                    <a:pt x="1326197" y="42390"/>
                    <a:pt x="1314084" y="33912"/>
                    <a:pt x="1294748" y="33912"/>
                  </a:cubicBezTo>
                  <a:cubicBezTo>
                    <a:pt x="1275573" y="33912"/>
                    <a:pt x="1262184" y="44101"/>
                    <a:pt x="1262184" y="58676"/>
                  </a:cubicBezTo>
                  <a:close/>
                  <a:moveTo>
                    <a:pt x="1353632" y="139739"/>
                  </a:moveTo>
                  <a:lnTo>
                    <a:pt x="1392142" y="4015"/>
                  </a:lnTo>
                  <a:lnTo>
                    <a:pt x="1375566" y="4015"/>
                  </a:lnTo>
                  <a:lnTo>
                    <a:pt x="1336979" y="139739"/>
                  </a:lnTo>
                  <a:lnTo>
                    <a:pt x="1353632" y="139739"/>
                  </a:lnTo>
                  <a:close/>
                  <a:moveTo>
                    <a:pt x="1448267" y="34135"/>
                  </a:moveTo>
                  <a:cubicBezTo>
                    <a:pt x="1437114" y="34135"/>
                    <a:pt x="1427675" y="39712"/>
                    <a:pt x="1422993" y="48934"/>
                  </a:cubicBezTo>
                  <a:lnTo>
                    <a:pt x="1421727" y="48934"/>
                  </a:lnTo>
                  <a:lnTo>
                    <a:pt x="1421727" y="35473"/>
                  </a:lnTo>
                  <a:lnTo>
                    <a:pt x="1403961" y="35473"/>
                  </a:lnTo>
                  <a:lnTo>
                    <a:pt x="1403961" y="143754"/>
                  </a:lnTo>
                  <a:lnTo>
                    <a:pt x="1422393" y="143754"/>
                  </a:lnTo>
                  <a:lnTo>
                    <a:pt x="1422393" y="104413"/>
                  </a:lnTo>
                  <a:lnTo>
                    <a:pt x="1423659" y="104413"/>
                  </a:lnTo>
                  <a:cubicBezTo>
                    <a:pt x="1427827" y="113040"/>
                    <a:pt x="1436819" y="118097"/>
                    <a:pt x="1448495" y="118097"/>
                  </a:cubicBezTo>
                  <a:cubicBezTo>
                    <a:pt x="1469011" y="118097"/>
                    <a:pt x="1481801" y="101959"/>
                    <a:pt x="1481801" y="76154"/>
                  </a:cubicBezTo>
                  <a:cubicBezTo>
                    <a:pt x="1481801" y="50124"/>
                    <a:pt x="1468859" y="34135"/>
                    <a:pt x="1448267" y="34135"/>
                  </a:cubicBezTo>
                  <a:close/>
                  <a:moveTo>
                    <a:pt x="1442472" y="102777"/>
                  </a:moveTo>
                  <a:cubicBezTo>
                    <a:pt x="1429901" y="102777"/>
                    <a:pt x="1422098" y="92588"/>
                    <a:pt x="1422022" y="76154"/>
                  </a:cubicBezTo>
                  <a:cubicBezTo>
                    <a:pt x="1422098" y="59718"/>
                    <a:pt x="1429977" y="49529"/>
                    <a:pt x="1442548" y="49529"/>
                  </a:cubicBezTo>
                  <a:cubicBezTo>
                    <a:pt x="1455185" y="49529"/>
                    <a:pt x="1462836" y="59495"/>
                    <a:pt x="1462836" y="76154"/>
                  </a:cubicBezTo>
                  <a:cubicBezTo>
                    <a:pt x="1462836" y="92812"/>
                    <a:pt x="1455251" y="102777"/>
                    <a:pt x="1442472" y="102777"/>
                  </a:cubicBezTo>
                  <a:close/>
                  <a:moveTo>
                    <a:pt x="1500309" y="116759"/>
                  </a:moveTo>
                  <a:lnTo>
                    <a:pt x="1518741" y="116759"/>
                  </a:lnTo>
                  <a:lnTo>
                    <a:pt x="1518741" y="69535"/>
                  </a:lnTo>
                  <a:cubicBezTo>
                    <a:pt x="1518741" y="58081"/>
                    <a:pt x="1527067" y="50645"/>
                    <a:pt x="1539039" y="50645"/>
                  </a:cubicBezTo>
                  <a:cubicBezTo>
                    <a:pt x="1542160" y="50645"/>
                    <a:pt x="1547070" y="51166"/>
                    <a:pt x="1548478" y="51686"/>
                  </a:cubicBezTo>
                  <a:lnTo>
                    <a:pt x="1548478" y="34878"/>
                  </a:lnTo>
                  <a:cubicBezTo>
                    <a:pt x="1546775" y="34433"/>
                    <a:pt x="1543501" y="34135"/>
                    <a:pt x="1540827" y="34135"/>
                  </a:cubicBezTo>
                  <a:cubicBezTo>
                    <a:pt x="1530341" y="34135"/>
                    <a:pt x="1521567" y="40084"/>
                    <a:pt x="1519341" y="48117"/>
                  </a:cubicBezTo>
                  <a:lnTo>
                    <a:pt x="1518075" y="48117"/>
                  </a:lnTo>
                  <a:lnTo>
                    <a:pt x="1518075" y="35473"/>
                  </a:lnTo>
                  <a:lnTo>
                    <a:pt x="1500309" y="35473"/>
                  </a:lnTo>
                  <a:lnTo>
                    <a:pt x="1500309" y="116759"/>
                  </a:lnTo>
                  <a:close/>
                  <a:moveTo>
                    <a:pt x="1573020" y="21864"/>
                  </a:moveTo>
                  <a:cubicBezTo>
                    <a:pt x="1579110" y="21864"/>
                    <a:pt x="1584096" y="17030"/>
                    <a:pt x="1584096" y="10932"/>
                  </a:cubicBezTo>
                  <a:cubicBezTo>
                    <a:pt x="1584096" y="4908"/>
                    <a:pt x="1579110" y="0"/>
                    <a:pt x="1573020" y="0"/>
                  </a:cubicBezTo>
                  <a:cubicBezTo>
                    <a:pt x="1566996" y="0"/>
                    <a:pt x="1562010" y="4908"/>
                    <a:pt x="1562010" y="10932"/>
                  </a:cubicBezTo>
                  <a:cubicBezTo>
                    <a:pt x="1562010" y="17030"/>
                    <a:pt x="1566996" y="21864"/>
                    <a:pt x="1573020" y="21864"/>
                  </a:cubicBezTo>
                  <a:close/>
                  <a:moveTo>
                    <a:pt x="1563875" y="116759"/>
                  </a:moveTo>
                  <a:lnTo>
                    <a:pt x="1582231" y="116759"/>
                  </a:lnTo>
                  <a:lnTo>
                    <a:pt x="1582231" y="35473"/>
                  </a:lnTo>
                  <a:lnTo>
                    <a:pt x="1563875" y="35473"/>
                  </a:lnTo>
                  <a:lnTo>
                    <a:pt x="1563875" y="116759"/>
                  </a:lnTo>
                  <a:close/>
                  <a:moveTo>
                    <a:pt x="1640221" y="118395"/>
                  </a:moveTo>
                  <a:cubicBezTo>
                    <a:pt x="1664533" y="118395"/>
                    <a:pt x="1679321" y="102480"/>
                    <a:pt x="1679321" y="76079"/>
                  </a:cubicBezTo>
                  <a:cubicBezTo>
                    <a:pt x="1679321" y="49827"/>
                    <a:pt x="1664457" y="33912"/>
                    <a:pt x="1640221" y="33912"/>
                  </a:cubicBezTo>
                  <a:cubicBezTo>
                    <a:pt x="1616060" y="33912"/>
                    <a:pt x="1601120" y="49902"/>
                    <a:pt x="1601120" y="76079"/>
                  </a:cubicBezTo>
                  <a:cubicBezTo>
                    <a:pt x="1601120" y="102480"/>
                    <a:pt x="1615841" y="118395"/>
                    <a:pt x="1640221" y="118395"/>
                  </a:cubicBezTo>
                  <a:close/>
                  <a:moveTo>
                    <a:pt x="1640221" y="103298"/>
                  </a:moveTo>
                  <a:cubicBezTo>
                    <a:pt x="1627355" y="103298"/>
                    <a:pt x="1619999" y="93333"/>
                    <a:pt x="1619999" y="76154"/>
                  </a:cubicBezTo>
                  <a:cubicBezTo>
                    <a:pt x="1619999" y="58974"/>
                    <a:pt x="1627355" y="49009"/>
                    <a:pt x="1640221" y="49009"/>
                  </a:cubicBezTo>
                  <a:cubicBezTo>
                    <a:pt x="1653010" y="49009"/>
                    <a:pt x="1660366" y="58974"/>
                    <a:pt x="1660366" y="76154"/>
                  </a:cubicBezTo>
                  <a:cubicBezTo>
                    <a:pt x="1660366" y="93333"/>
                    <a:pt x="1653086" y="103298"/>
                    <a:pt x="1640221" y="103298"/>
                  </a:cubicBezTo>
                  <a:close/>
                  <a:moveTo>
                    <a:pt x="1697906" y="116759"/>
                  </a:moveTo>
                  <a:lnTo>
                    <a:pt x="1716347" y="116759"/>
                  </a:lnTo>
                  <a:lnTo>
                    <a:pt x="1716347" y="69535"/>
                  </a:lnTo>
                  <a:cubicBezTo>
                    <a:pt x="1716347" y="58081"/>
                    <a:pt x="1724674" y="50645"/>
                    <a:pt x="1736645" y="50645"/>
                  </a:cubicBezTo>
                  <a:cubicBezTo>
                    <a:pt x="1739766" y="50645"/>
                    <a:pt x="1744676" y="51166"/>
                    <a:pt x="1746084" y="51686"/>
                  </a:cubicBezTo>
                  <a:lnTo>
                    <a:pt x="1746084" y="34878"/>
                  </a:lnTo>
                  <a:cubicBezTo>
                    <a:pt x="1744372" y="34433"/>
                    <a:pt x="1741107" y="34135"/>
                    <a:pt x="1738424" y="34135"/>
                  </a:cubicBezTo>
                  <a:cubicBezTo>
                    <a:pt x="1727947" y="34135"/>
                    <a:pt x="1719174" y="40084"/>
                    <a:pt x="1716937" y="48117"/>
                  </a:cubicBezTo>
                  <a:lnTo>
                    <a:pt x="1715681" y="48117"/>
                  </a:lnTo>
                  <a:lnTo>
                    <a:pt x="1715681" y="35473"/>
                  </a:lnTo>
                  <a:lnTo>
                    <a:pt x="1697906" y="35473"/>
                  </a:lnTo>
                  <a:lnTo>
                    <a:pt x="1697906" y="116759"/>
                  </a:lnTo>
                  <a:close/>
                  <a:moveTo>
                    <a:pt x="1770616" y="21864"/>
                  </a:moveTo>
                  <a:cubicBezTo>
                    <a:pt x="1776716" y="21864"/>
                    <a:pt x="1781693" y="17030"/>
                    <a:pt x="1781693" y="10932"/>
                  </a:cubicBezTo>
                  <a:cubicBezTo>
                    <a:pt x="1781693" y="4908"/>
                    <a:pt x="1776716" y="0"/>
                    <a:pt x="1770616" y="0"/>
                  </a:cubicBezTo>
                  <a:cubicBezTo>
                    <a:pt x="1764593" y="0"/>
                    <a:pt x="1759616" y="4908"/>
                    <a:pt x="1759616" y="10932"/>
                  </a:cubicBezTo>
                  <a:cubicBezTo>
                    <a:pt x="1759616" y="17030"/>
                    <a:pt x="1764593" y="21864"/>
                    <a:pt x="1770616" y="21864"/>
                  </a:cubicBezTo>
                  <a:close/>
                  <a:moveTo>
                    <a:pt x="1761472" y="116759"/>
                  </a:moveTo>
                  <a:lnTo>
                    <a:pt x="1779837" y="116759"/>
                  </a:lnTo>
                  <a:lnTo>
                    <a:pt x="1779837" y="35473"/>
                  </a:lnTo>
                  <a:lnTo>
                    <a:pt x="1761472" y="35473"/>
                  </a:lnTo>
                  <a:lnTo>
                    <a:pt x="1761472" y="116759"/>
                  </a:lnTo>
                  <a:close/>
                  <a:moveTo>
                    <a:pt x="1808604" y="15543"/>
                  </a:moveTo>
                  <a:lnTo>
                    <a:pt x="1808604" y="35994"/>
                  </a:lnTo>
                  <a:lnTo>
                    <a:pt x="1795748" y="35994"/>
                  </a:lnTo>
                  <a:lnTo>
                    <a:pt x="1795748" y="50347"/>
                  </a:lnTo>
                  <a:lnTo>
                    <a:pt x="1808604" y="50347"/>
                  </a:lnTo>
                  <a:lnTo>
                    <a:pt x="1808604" y="95192"/>
                  </a:lnTo>
                  <a:cubicBezTo>
                    <a:pt x="1808604" y="110883"/>
                    <a:pt x="1816045" y="117131"/>
                    <a:pt x="1834705" y="117131"/>
                  </a:cubicBezTo>
                  <a:cubicBezTo>
                    <a:pt x="1838265" y="117131"/>
                    <a:pt x="1841690" y="116833"/>
                    <a:pt x="1844364" y="116312"/>
                  </a:cubicBezTo>
                  <a:lnTo>
                    <a:pt x="1844364" y="102183"/>
                  </a:lnTo>
                  <a:cubicBezTo>
                    <a:pt x="1842137" y="102406"/>
                    <a:pt x="1840720" y="102554"/>
                    <a:pt x="1838122" y="102554"/>
                  </a:cubicBezTo>
                  <a:cubicBezTo>
                    <a:pt x="1830385" y="102554"/>
                    <a:pt x="1826969" y="98910"/>
                    <a:pt x="1826969" y="90804"/>
                  </a:cubicBezTo>
                  <a:lnTo>
                    <a:pt x="1826969" y="50347"/>
                  </a:lnTo>
                  <a:lnTo>
                    <a:pt x="1844364" y="50347"/>
                  </a:lnTo>
                  <a:lnTo>
                    <a:pt x="1844364" y="35994"/>
                  </a:lnTo>
                  <a:lnTo>
                    <a:pt x="1826969" y="35994"/>
                  </a:lnTo>
                  <a:lnTo>
                    <a:pt x="1826969" y="15543"/>
                  </a:lnTo>
                  <a:lnTo>
                    <a:pt x="1808604" y="15543"/>
                  </a:lnTo>
                  <a:close/>
                  <a:moveTo>
                    <a:pt x="1872169" y="21864"/>
                  </a:moveTo>
                  <a:cubicBezTo>
                    <a:pt x="1878269" y="21864"/>
                    <a:pt x="1883246" y="17030"/>
                    <a:pt x="1883246" y="10932"/>
                  </a:cubicBezTo>
                  <a:cubicBezTo>
                    <a:pt x="1883246" y="4908"/>
                    <a:pt x="1878269" y="0"/>
                    <a:pt x="1872169" y="0"/>
                  </a:cubicBezTo>
                  <a:cubicBezTo>
                    <a:pt x="1866146" y="0"/>
                    <a:pt x="1861169" y="4908"/>
                    <a:pt x="1861169" y="10932"/>
                  </a:cubicBezTo>
                  <a:cubicBezTo>
                    <a:pt x="1861169" y="17030"/>
                    <a:pt x="1866146" y="21864"/>
                    <a:pt x="1872169" y="21864"/>
                  </a:cubicBezTo>
                  <a:close/>
                  <a:moveTo>
                    <a:pt x="1863025" y="116759"/>
                  </a:moveTo>
                  <a:lnTo>
                    <a:pt x="1881390" y="116759"/>
                  </a:lnTo>
                  <a:lnTo>
                    <a:pt x="1881390" y="35473"/>
                  </a:lnTo>
                  <a:lnTo>
                    <a:pt x="1863025" y="35473"/>
                  </a:lnTo>
                  <a:lnTo>
                    <a:pt x="1863025" y="116759"/>
                  </a:lnTo>
                  <a:close/>
                  <a:moveTo>
                    <a:pt x="1902430" y="116759"/>
                  </a:moveTo>
                  <a:lnTo>
                    <a:pt x="1968298" y="116759"/>
                  </a:lnTo>
                  <a:lnTo>
                    <a:pt x="1968298" y="102257"/>
                  </a:lnTo>
                  <a:lnTo>
                    <a:pt x="1925991" y="102257"/>
                  </a:lnTo>
                  <a:lnTo>
                    <a:pt x="1925991" y="100993"/>
                  </a:lnTo>
                  <a:lnTo>
                    <a:pt x="1967623" y="47819"/>
                  </a:lnTo>
                  <a:lnTo>
                    <a:pt x="1967623" y="35473"/>
                  </a:lnTo>
                  <a:lnTo>
                    <a:pt x="1902801" y="35473"/>
                  </a:lnTo>
                  <a:lnTo>
                    <a:pt x="1902801" y="49976"/>
                  </a:lnTo>
                  <a:lnTo>
                    <a:pt x="1945622" y="49976"/>
                  </a:lnTo>
                  <a:lnTo>
                    <a:pt x="1945622" y="51314"/>
                  </a:lnTo>
                  <a:lnTo>
                    <a:pt x="1902430" y="105455"/>
                  </a:lnTo>
                  <a:lnTo>
                    <a:pt x="1902430" y="116759"/>
                  </a:lnTo>
                  <a:close/>
                  <a:moveTo>
                    <a:pt x="2039962" y="94523"/>
                  </a:moveTo>
                  <a:cubicBezTo>
                    <a:pt x="2037288" y="100621"/>
                    <a:pt x="2030960" y="104042"/>
                    <a:pt x="2021825" y="104042"/>
                  </a:cubicBezTo>
                  <a:cubicBezTo>
                    <a:pt x="2009702" y="104042"/>
                    <a:pt x="2001899" y="95415"/>
                    <a:pt x="2001452" y="81657"/>
                  </a:cubicBezTo>
                  <a:lnTo>
                    <a:pt x="2001452" y="80689"/>
                  </a:lnTo>
                  <a:lnTo>
                    <a:pt x="2058252" y="80689"/>
                  </a:lnTo>
                  <a:lnTo>
                    <a:pt x="2058252" y="74815"/>
                  </a:lnTo>
                  <a:cubicBezTo>
                    <a:pt x="2058252" y="49307"/>
                    <a:pt x="2044349" y="33912"/>
                    <a:pt x="2021150" y="33912"/>
                  </a:cubicBezTo>
                  <a:cubicBezTo>
                    <a:pt x="1997588" y="33912"/>
                    <a:pt x="1982943" y="50347"/>
                    <a:pt x="1982943" y="76451"/>
                  </a:cubicBezTo>
                  <a:cubicBezTo>
                    <a:pt x="1982943" y="102480"/>
                    <a:pt x="1997360" y="118395"/>
                    <a:pt x="2021302" y="118395"/>
                  </a:cubicBezTo>
                  <a:cubicBezTo>
                    <a:pt x="2040476" y="118395"/>
                    <a:pt x="2054084" y="109173"/>
                    <a:pt x="2057433" y="94523"/>
                  </a:cubicBezTo>
                  <a:lnTo>
                    <a:pt x="2039962" y="94523"/>
                  </a:lnTo>
                  <a:close/>
                  <a:moveTo>
                    <a:pt x="2021074" y="48265"/>
                  </a:moveTo>
                  <a:cubicBezTo>
                    <a:pt x="2032159" y="48265"/>
                    <a:pt x="2039439" y="56074"/>
                    <a:pt x="2039810" y="68419"/>
                  </a:cubicBezTo>
                  <a:lnTo>
                    <a:pt x="2001528" y="68419"/>
                  </a:lnTo>
                  <a:cubicBezTo>
                    <a:pt x="2002346" y="56222"/>
                    <a:pt x="2010073" y="48265"/>
                    <a:pt x="2021074" y="48265"/>
                  </a:cubicBezTo>
                  <a:close/>
                  <a:moveTo>
                    <a:pt x="2090511" y="118246"/>
                  </a:moveTo>
                  <a:cubicBezTo>
                    <a:pt x="2097571" y="118246"/>
                    <a:pt x="2102406" y="113263"/>
                    <a:pt x="2102406" y="106645"/>
                  </a:cubicBezTo>
                  <a:cubicBezTo>
                    <a:pt x="2102406" y="100100"/>
                    <a:pt x="2097571" y="95118"/>
                    <a:pt x="2090511" y="95118"/>
                  </a:cubicBezTo>
                  <a:cubicBezTo>
                    <a:pt x="2083526" y="95118"/>
                    <a:pt x="2078616" y="100100"/>
                    <a:pt x="2078616" y="106645"/>
                  </a:cubicBezTo>
                  <a:cubicBezTo>
                    <a:pt x="2078616" y="113263"/>
                    <a:pt x="2083526" y="118246"/>
                    <a:pt x="2090511" y="118246"/>
                  </a:cubicBezTo>
                  <a:close/>
                  <a:moveTo>
                    <a:pt x="2125082" y="146209"/>
                  </a:moveTo>
                  <a:cubicBezTo>
                    <a:pt x="2143295" y="146209"/>
                    <a:pt x="2151993" y="139589"/>
                    <a:pt x="2158911" y="119585"/>
                  </a:cubicBezTo>
                  <a:lnTo>
                    <a:pt x="2188276" y="35473"/>
                  </a:lnTo>
                  <a:lnTo>
                    <a:pt x="2168797" y="35473"/>
                  </a:lnTo>
                  <a:lnTo>
                    <a:pt x="2149842" y="99282"/>
                  </a:lnTo>
                  <a:lnTo>
                    <a:pt x="2148576" y="99282"/>
                  </a:lnTo>
                  <a:lnTo>
                    <a:pt x="2129545" y="35473"/>
                  </a:lnTo>
                  <a:lnTo>
                    <a:pt x="2109323" y="35473"/>
                  </a:lnTo>
                  <a:lnTo>
                    <a:pt x="2138394" y="117056"/>
                  </a:lnTo>
                  <a:lnTo>
                    <a:pt x="2137424" y="120849"/>
                  </a:lnTo>
                  <a:cubicBezTo>
                    <a:pt x="2135045" y="128509"/>
                    <a:pt x="2130658" y="131484"/>
                    <a:pt x="2122855" y="131484"/>
                  </a:cubicBezTo>
                  <a:cubicBezTo>
                    <a:pt x="2121589" y="131484"/>
                    <a:pt x="2118839" y="131410"/>
                    <a:pt x="2117802" y="131260"/>
                  </a:cubicBezTo>
                  <a:lnTo>
                    <a:pt x="2117802" y="145911"/>
                  </a:lnTo>
                  <a:cubicBezTo>
                    <a:pt x="2118982" y="146134"/>
                    <a:pt x="2123968" y="146209"/>
                    <a:pt x="2125082" y="146209"/>
                  </a:cubicBezTo>
                  <a:close/>
                  <a:moveTo>
                    <a:pt x="2204187" y="116759"/>
                  </a:moveTo>
                  <a:lnTo>
                    <a:pt x="2222619" y="116759"/>
                  </a:lnTo>
                  <a:lnTo>
                    <a:pt x="2222619" y="67304"/>
                  </a:lnTo>
                  <a:cubicBezTo>
                    <a:pt x="2222619" y="57189"/>
                    <a:pt x="2229385" y="49529"/>
                    <a:pt x="2238530" y="49529"/>
                  </a:cubicBezTo>
                  <a:cubicBezTo>
                    <a:pt x="2247598" y="49529"/>
                    <a:pt x="2253251" y="55032"/>
                    <a:pt x="2253251" y="64031"/>
                  </a:cubicBezTo>
                  <a:lnTo>
                    <a:pt x="2253251" y="116759"/>
                  </a:lnTo>
                  <a:lnTo>
                    <a:pt x="2271169" y="116759"/>
                  </a:lnTo>
                  <a:lnTo>
                    <a:pt x="2271169" y="65965"/>
                  </a:lnTo>
                  <a:cubicBezTo>
                    <a:pt x="2271169" y="56669"/>
                    <a:pt x="2277488" y="49529"/>
                    <a:pt x="2287079" y="49529"/>
                  </a:cubicBezTo>
                  <a:cubicBezTo>
                    <a:pt x="2296966" y="49529"/>
                    <a:pt x="2301943" y="54810"/>
                    <a:pt x="2301943" y="65370"/>
                  </a:cubicBezTo>
                  <a:lnTo>
                    <a:pt x="2301943" y="116759"/>
                  </a:lnTo>
                  <a:lnTo>
                    <a:pt x="2320309" y="116759"/>
                  </a:lnTo>
                  <a:lnTo>
                    <a:pt x="2320309" y="60833"/>
                  </a:lnTo>
                  <a:cubicBezTo>
                    <a:pt x="2320309" y="43952"/>
                    <a:pt x="2310498" y="33912"/>
                    <a:pt x="2294216" y="33912"/>
                  </a:cubicBezTo>
                  <a:cubicBezTo>
                    <a:pt x="2282912" y="33912"/>
                    <a:pt x="2273548" y="39712"/>
                    <a:pt x="2269532" y="48562"/>
                  </a:cubicBezTo>
                  <a:lnTo>
                    <a:pt x="2268267" y="48562"/>
                  </a:lnTo>
                  <a:cubicBezTo>
                    <a:pt x="2264850" y="39564"/>
                    <a:pt x="2257038" y="33912"/>
                    <a:pt x="2245819" y="33912"/>
                  </a:cubicBezTo>
                  <a:cubicBezTo>
                    <a:pt x="2235037" y="33912"/>
                    <a:pt x="2226711" y="39415"/>
                    <a:pt x="2223219" y="48562"/>
                  </a:cubicBezTo>
                  <a:lnTo>
                    <a:pt x="2221953" y="48562"/>
                  </a:lnTo>
                  <a:lnTo>
                    <a:pt x="2221953" y="35473"/>
                  </a:lnTo>
                  <a:lnTo>
                    <a:pt x="2204187" y="35473"/>
                  </a:lnTo>
                  <a:lnTo>
                    <a:pt x="2204187" y="116759"/>
                  </a:lnTo>
                  <a:close/>
                  <a:moveTo>
                    <a:pt x="2342909" y="116759"/>
                  </a:moveTo>
                  <a:lnTo>
                    <a:pt x="2361341" y="116759"/>
                  </a:lnTo>
                  <a:lnTo>
                    <a:pt x="2361341" y="4015"/>
                  </a:lnTo>
                  <a:lnTo>
                    <a:pt x="2342909" y="4015"/>
                  </a:lnTo>
                  <a:lnTo>
                    <a:pt x="2342909" y="116759"/>
                  </a:lnTo>
                  <a:close/>
                </a:path>
              </a:pathLst>
            </a:custGeom>
            <a:solidFill>
              <a:srgbClr val="FAFBFC"/>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sp>
          <p:nvSpPr>
            <p:cNvPr id="626" name="Google Shape;626;p68"/>
            <p:cNvSpPr/>
            <p:nvPr/>
          </p:nvSpPr>
          <p:spPr>
            <a:xfrm>
              <a:off x="4969138" y="3464946"/>
              <a:ext cx="127181" cy="3080707"/>
            </a:xfrm>
            <a:custGeom>
              <a:avLst/>
              <a:gdLst/>
              <a:ahLst/>
              <a:cxnLst/>
              <a:rect l="l" t="t" r="r" b="b"/>
              <a:pathLst>
                <a:path w="127181" h="3080707" extrusionOk="0">
                  <a:moveTo>
                    <a:pt x="126847" y="80486"/>
                  </a:moveTo>
                  <a:lnTo>
                    <a:pt x="126847" y="71840"/>
                  </a:lnTo>
                  <a:lnTo>
                    <a:pt x="104210" y="71840"/>
                  </a:lnTo>
                  <a:lnTo>
                    <a:pt x="104210" y="0"/>
                  </a:lnTo>
                  <a:lnTo>
                    <a:pt x="94564" y="0"/>
                  </a:lnTo>
                  <a:lnTo>
                    <a:pt x="70589" y="15562"/>
                  </a:lnTo>
                  <a:lnTo>
                    <a:pt x="70589" y="26047"/>
                  </a:lnTo>
                  <a:lnTo>
                    <a:pt x="93616" y="11156"/>
                  </a:lnTo>
                  <a:lnTo>
                    <a:pt x="94508" y="11156"/>
                  </a:lnTo>
                  <a:lnTo>
                    <a:pt x="94508" y="71840"/>
                  </a:lnTo>
                  <a:lnTo>
                    <a:pt x="70755" y="71840"/>
                  </a:lnTo>
                  <a:lnTo>
                    <a:pt x="70755" y="80486"/>
                  </a:lnTo>
                  <a:lnTo>
                    <a:pt x="126847" y="80486"/>
                  </a:lnTo>
                  <a:close/>
                  <a:moveTo>
                    <a:pt x="70811" y="222548"/>
                  </a:moveTo>
                  <a:lnTo>
                    <a:pt x="70811" y="222883"/>
                  </a:lnTo>
                  <a:lnTo>
                    <a:pt x="80290" y="222883"/>
                  </a:lnTo>
                  <a:lnTo>
                    <a:pt x="80290" y="222548"/>
                  </a:lnTo>
                  <a:cubicBezTo>
                    <a:pt x="80290" y="213066"/>
                    <a:pt x="86423" y="206875"/>
                    <a:pt x="95679" y="206875"/>
                  </a:cubicBezTo>
                  <a:cubicBezTo>
                    <a:pt x="105046" y="206875"/>
                    <a:pt x="111123" y="212565"/>
                    <a:pt x="111123" y="221210"/>
                  </a:cubicBezTo>
                  <a:cubicBezTo>
                    <a:pt x="111123" y="227569"/>
                    <a:pt x="108670" y="231863"/>
                    <a:pt x="98467" y="243297"/>
                  </a:cubicBezTo>
                  <a:lnTo>
                    <a:pt x="71258" y="273585"/>
                  </a:lnTo>
                  <a:lnTo>
                    <a:pt x="71258" y="280389"/>
                  </a:lnTo>
                  <a:lnTo>
                    <a:pt x="122164" y="280389"/>
                  </a:lnTo>
                  <a:lnTo>
                    <a:pt x="122164" y="271465"/>
                  </a:lnTo>
                  <a:lnTo>
                    <a:pt x="85308" y="271465"/>
                  </a:lnTo>
                  <a:lnTo>
                    <a:pt x="85308" y="270517"/>
                  </a:lnTo>
                  <a:lnTo>
                    <a:pt x="104265" y="249879"/>
                  </a:lnTo>
                  <a:cubicBezTo>
                    <a:pt x="117090" y="235879"/>
                    <a:pt x="120881" y="229186"/>
                    <a:pt x="120881" y="220820"/>
                  </a:cubicBezTo>
                  <a:cubicBezTo>
                    <a:pt x="120881" y="207378"/>
                    <a:pt x="110733" y="198230"/>
                    <a:pt x="95958" y="198230"/>
                  </a:cubicBezTo>
                  <a:cubicBezTo>
                    <a:pt x="81294" y="198230"/>
                    <a:pt x="70811" y="208381"/>
                    <a:pt x="70811" y="222548"/>
                  </a:cubicBezTo>
                  <a:close/>
                  <a:moveTo>
                    <a:pt x="86647" y="442977"/>
                  </a:moveTo>
                  <a:lnTo>
                    <a:pt x="95847" y="442977"/>
                  </a:lnTo>
                  <a:cubicBezTo>
                    <a:pt x="106997" y="442977"/>
                    <a:pt x="114079" y="448945"/>
                    <a:pt x="114079" y="458312"/>
                  </a:cubicBezTo>
                  <a:cubicBezTo>
                    <a:pt x="114079" y="467403"/>
                    <a:pt x="107221" y="473096"/>
                    <a:pt x="96181" y="473096"/>
                  </a:cubicBezTo>
                  <a:cubicBezTo>
                    <a:pt x="86144" y="473096"/>
                    <a:pt x="79007" y="467517"/>
                    <a:pt x="78116" y="458931"/>
                  </a:cubicBezTo>
                  <a:lnTo>
                    <a:pt x="68804" y="458931"/>
                  </a:lnTo>
                  <a:cubicBezTo>
                    <a:pt x="69529" y="472819"/>
                    <a:pt x="80569" y="481967"/>
                    <a:pt x="96459" y="481967"/>
                  </a:cubicBezTo>
                  <a:cubicBezTo>
                    <a:pt x="112517" y="481967"/>
                    <a:pt x="124003" y="472201"/>
                    <a:pt x="124003" y="458541"/>
                  </a:cubicBezTo>
                  <a:cubicBezTo>
                    <a:pt x="124003" y="447555"/>
                    <a:pt x="117647" y="440026"/>
                    <a:pt x="106942" y="438626"/>
                  </a:cubicBezTo>
                  <a:lnTo>
                    <a:pt x="106942" y="437732"/>
                  </a:lnTo>
                  <a:cubicBezTo>
                    <a:pt x="115584" y="435618"/>
                    <a:pt x="120658" y="428698"/>
                    <a:pt x="120658" y="418998"/>
                  </a:cubicBezTo>
                  <a:cubicBezTo>
                    <a:pt x="120658" y="406775"/>
                    <a:pt x="110399" y="398132"/>
                    <a:pt x="96013" y="398132"/>
                  </a:cubicBezTo>
                  <a:cubicBezTo>
                    <a:pt x="81126" y="398132"/>
                    <a:pt x="71313" y="406775"/>
                    <a:pt x="70365" y="420721"/>
                  </a:cubicBezTo>
                  <a:lnTo>
                    <a:pt x="79789" y="420721"/>
                  </a:lnTo>
                  <a:cubicBezTo>
                    <a:pt x="80569" y="412077"/>
                    <a:pt x="86590" y="406775"/>
                    <a:pt x="95623" y="406775"/>
                  </a:cubicBezTo>
                  <a:cubicBezTo>
                    <a:pt x="104712" y="406775"/>
                    <a:pt x="110733" y="412192"/>
                    <a:pt x="110733" y="420388"/>
                  </a:cubicBezTo>
                  <a:cubicBezTo>
                    <a:pt x="110733" y="428812"/>
                    <a:pt x="104433" y="434724"/>
                    <a:pt x="95400" y="434724"/>
                  </a:cubicBezTo>
                  <a:lnTo>
                    <a:pt x="86647" y="434724"/>
                  </a:lnTo>
                  <a:lnTo>
                    <a:pt x="86647" y="442977"/>
                  </a:lnTo>
                  <a:close/>
                  <a:moveTo>
                    <a:pt x="105882" y="680195"/>
                  </a:moveTo>
                  <a:lnTo>
                    <a:pt x="114859" y="680195"/>
                  </a:lnTo>
                  <a:lnTo>
                    <a:pt x="114859" y="663184"/>
                  </a:lnTo>
                  <a:lnTo>
                    <a:pt x="127181" y="663184"/>
                  </a:lnTo>
                  <a:lnTo>
                    <a:pt x="127181" y="654541"/>
                  </a:lnTo>
                  <a:lnTo>
                    <a:pt x="114915" y="654541"/>
                  </a:lnTo>
                  <a:lnTo>
                    <a:pt x="114915" y="631666"/>
                  </a:lnTo>
                  <a:lnTo>
                    <a:pt x="105994" y="631666"/>
                  </a:lnTo>
                  <a:lnTo>
                    <a:pt x="105994" y="654646"/>
                  </a:lnTo>
                  <a:lnTo>
                    <a:pt x="79621" y="654646"/>
                  </a:lnTo>
                  <a:lnTo>
                    <a:pt x="79621" y="653922"/>
                  </a:lnTo>
                  <a:lnTo>
                    <a:pt x="106552" y="599710"/>
                  </a:lnTo>
                  <a:lnTo>
                    <a:pt x="96515" y="599710"/>
                  </a:lnTo>
                  <a:lnTo>
                    <a:pt x="69195" y="655207"/>
                  </a:lnTo>
                  <a:lnTo>
                    <a:pt x="69195" y="663184"/>
                  </a:lnTo>
                  <a:lnTo>
                    <a:pt x="105882" y="663184"/>
                  </a:lnTo>
                  <a:lnTo>
                    <a:pt x="105882" y="680195"/>
                  </a:lnTo>
                  <a:close/>
                  <a:moveTo>
                    <a:pt x="95790" y="881716"/>
                  </a:moveTo>
                  <a:cubicBezTo>
                    <a:pt x="112127" y="881716"/>
                    <a:pt x="123223" y="870674"/>
                    <a:pt x="123223" y="854387"/>
                  </a:cubicBezTo>
                  <a:cubicBezTo>
                    <a:pt x="123223" y="838547"/>
                    <a:pt x="112852" y="827447"/>
                    <a:pt x="97965" y="827447"/>
                  </a:cubicBezTo>
                  <a:cubicBezTo>
                    <a:pt x="90884" y="827447"/>
                    <a:pt x="85141" y="829951"/>
                    <a:pt x="81182" y="834749"/>
                  </a:cubicBezTo>
                  <a:lnTo>
                    <a:pt x="80290" y="834749"/>
                  </a:lnTo>
                  <a:lnTo>
                    <a:pt x="82521" y="808485"/>
                  </a:lnTo>
                  <a:lnTo>
                    <a:pt x="118763" y="808485"/>
                  </a:lnTo>
                  <a:lnTo>
                    <a:pt x="118763" y="799613"/>
                  </a:lnTo>
                  <a:lnTo>
                    <a:pt x="74770" y="799613"/>
                  </a:lnTo>
                  <a:lnTo>
                    <a:pt x="70700" y="845068"/>
                  </a:lnTo>
                  <a:lnTo>
                    <a:pt x="80011" y="845068"/>
                  </a:lnTo>
                  <a:cubicBezTo>
                    <a:pt x="83189" y="839385"/>
                    <a:pt x="89155" y="836091"/>
                    <a:pt x="96348" y="836091"/>
                  </a:cubicBezTo>
                  <a:cubicBezTo>
                    <a:pt x="106663" y="836091"/>
                    <a:pt x="113633" y="843564"/>
                    <a:pt x="113633" y="854606"/>
                  </a:cubicBezTo>
                  <a:cubicBezTo>
                    <a:pt x="113633" y="865543"/>
                    <a:pt x="106718" y="872845"/>
                    <a:pt x="96348" y="872845"/>
                  </a:cubicBezTo>
                  <a:cubicBezTo>
                    <a:pt x="86925" y="872845"/>
                    <a:pt x="79732" y="867047"/>
                    <a:pt x="78841" y="858623"/>
                  </a:cubicBezTo>
                  <a:lnTo>
                    <a:pt x="69362" y="858623"/>
                  </a:lnTo>
                  <a:cubicBezTo>
                    <a:pt x="70197" y="872454"/>
                    <a:pt x="80792" y="881716"/>
                    <a:pt x="95790" y="881716"/>
                  </a:cubicBezTo>
                  <a:close/>
                  <a:moveTo>
                    <a:pt x="124059" y="1054176"/>
                  </a:moveTo>
                  <a:cubicBezTo>
                    <a:pt x="124059" y="1039507"/>
                    <a:pt x="113465" y="1028636"/>
                    <a:pt x="99136" y="1028636"/>
                  </a:cubicBezTo>
                  <a:cubicBezTo>
                    <a:pt x="94006" y="1028636"/>
                    <a:pt x="88207" y="1031025"/>
                    <a:pt x="85810" y="1034262"/>
                  </a:cubicBezTo>
                  <a:lnTo>
                    <a:pt x="84974" y="1033814"/>
                  </a:lnTo>
                  <a:cubicBezTo>
                    <a:pt x="85364" y="1032929"/>
                    <a:pt x="85141" y="1033148"/>
                    <a:pt x="87594" y="1029692"/>
                  </a:cubicBezTo>
                  <a:lnTo>
                    <a:pt x="109563" y="999517"/>
                  </a:lnTo>
                  <a:lnTo>
                    <a:pt x="98244" y="999517"/>
                  </a:lnTo>
                  <a:cubicBezTo>
                    <a:pt x="97686" y="1000354"/>
                    <a:pt x="80959" y="1023781"/>
                    <a:pt x="80234" y="1025009"/>
                  </a:cubicBezTo>
                  <a:cubicBezTo>
                    <a:pt x="72539" y="1036213"/>
                    <a:pt x="69362" y="1044752"/>
                    <a:pt x="69362" y="1054176"/>
                  </a:cubicBezTo>
                  <a:cubicBezTo>
                    <a:pt x="69362" y="1070187"/>
                    <a:pt x="80792" y="1081677"/>
                    <a:pt x="96627" y="1081677"/>
                  </a:cubicBezTo>
                  <a:cubicBezTo>
                    <a:pt x="112573" y="1081677"/>
                    <a:pt x="124059" y="1070130"/>
                    <a:pt x="124059" y="1054176"/>
                  </a:cubicBezTo>
                  <a:close/>
                  <a:moveTo>
                    <a:pt x="96683" y="1072919"/>
                  </a:moveTo>
                  <a:cubicBezTo>
                    <a:pt x="86590" y="1072919"/>
                    <a:pt x="78896" y="1064999"/>
                    <a:pt x="78896" y="1054680"/>
                  </a:cubicBezTo>
                  <a:cubicBezTo>
                    <a:pt x="78896" y="1044304"/>
                    <a:pt x="86590" y="1036384"/>
                    <a:pt x="96683" y="1036384"/>
                  </a:cubicBezTo>
                  <a:cubicBezTo>
                    <a:pt x="106831" y="1036384"/>
                    <a:pt x="114525" y="1044304"/>
                    <a:pt x="114525" y="1054680"/>
                  </a:cubicBezTo>
                  <a:cubicBezTo>
                    <a:pt x="114525" y="1064999"/>
                    <a:pt x="106831" y="1072919"/>
                    <a:pt x="96683" y="1072919"/>
                  </a:cubicBezTo>
                  <a:close/>
                  <a:moveTo>
                    <a:pt x="77168" y="1279904"/>
                  </a:moveTo>
                  <a:lnTo>
                    <a:pt x="87650" y="1279904"/>
                  </a:lnTo>
                  <a:lnTo>
                    <a:pt x="123724" y="1208511"/>
                  </a:lnTo>
                  <a:lnTo>
                    <a:pt x="123724" y="1199420"/>
                  </a:lnTo>
                  <a:lnTo>
                    <a:pt x="70031" y="1199420"/>
                  </a:lnTo>
                  <a:lnTo>
                    <a:pt x="70031" y="1208234"/>
                  </a:lnTo>
                  <a:lnTo>
                    <a:pt x="113689" y="1208234"/>
                  </a:lnTo>
                  <a:lnTo>
                    <a:pt x="113689" y="1208958"/>
                  </a:lnTo>
                  <a:lnTo>
                    <a:pt x="77168" y="1279904"/>
                  </a:lnTo>
                  <a:close/>
                  <a:moveTo>
                    <a:pt x="96738" y="1481597"/>
                  </a:moveTo>
                  <a:cubicBezTo>
                    <a:pt x="113465" y="1481597"/>
                    <a:pt x="125063" y="1472002"/>
                    <a:pt x="125063" y="1458275"/>
                  </a:cubicBezTo>
                  <a:cubicBezTo>
                    <a:pt x="125063" y="1448128"/>
                    <a:pt x="118428" y="1439817"/>
                    <a:pt x="108670" y="1437752"/>
                  </a:cubicBezTo>
                  <a:lnTo>
                    <a:pt x="108670" y="1436857"/>
                  </a:lnTo>
                  <a:cubicBezTo>
                    <a:pt x="116866" y="1434572"/>
                    <a:pt x="121829" y="1427709"/>
                    <a:pt x="121829" y="1418951"/>
                  </a:cubicBezTo>
                  <a:cubicBezTo>
                    <a:pt x="121829" y="1406405"/>
                    <a:pt x="111402" y="1397533"/>
                    <a:pt x="96738" y="1397533"/>
                  </a:cubicBezTo>
                  <a:cubicBezTo>
                    <a:pt x="82074" y="1397533"/>
                    <a:pt x="71592" y="1406405"/>
                    <a:pt x="71592" y="1418951"/>
                  </a:cubicBezTo>
                  <a:cubicBezTo>
                    <a:pt x="71592" y="1427709"/>
                    <a:pt x="76665" y="1434629"/>
                    <a:pt x="84750" y="1436857"/>
                  </a:cubicBezTo>
                  <a:lnTo>
                    <a:pt x="84750" y="1437752"/>
                  </a:lnTo>
                  <a:cubicBezTo>
                    <a:pt x="74826" y="1440151"/>
                    <a:pt x="68358" y="1448289"/>
                    <a:pt x="68358" y="1458275"/>
                  </a:cubicBezTo>
                  <a:cubicBezTo>
                    <a:pt x="68358" y="1472002"/>
                    <a:pt x="80011" y="1481597"/>
                    <a:pt x="96738" y="1481597"/>
                  </a:cubicBezTo>
                  <a:close/>
                  <a:moveTo>
                    <a:pt x="96738" y="1433516"/>
                  </a:moveTo>
                  <a:cubicBezTo>
                    <a:pt x="87427" y="1433516"/>
                    <a:pt x="81238" y="1428042"/>
                    <a:pt x="81238" y="1419789"/>
                  </a:cubicBezTo>
                  <a:cubicBezTo>
                    <a:pt x="81238" y="1411593"/>
                    <a:pt x="87427" y="1406129"/>
                    <a:pt x="96738" y="1406129"/>
                  </a:cubicBezTo>
                  <a:cubicBezTo>
                    <a:pt x="106049" y="1406129"/>
                    <a:pt x="112183" y="1411593"/>
                    <a:pt x="112183" y="1419789"/>
                  </a:cubicBezTo>
                  <a:cubicBezTo>
                    <a:pt x="112183" y="1428042"/>
                    <a:pt x="106049" y="1433516"/>
                    <a:pt x="96738" y="1433516"/>
                  </a:cubicBezTo>
                  <a:close/>
                  <a:moveTo>
                    <a:pt x="96738" y="1473058"/>
                  </a:moveTo>
                  <a:cubicBezTo>
                    <a:pt x="85810" y="1473058"/>
                    <a:pt x="78283" y="1466700"/>
                    <a:pt x="78283" y="1457495"/>
                  </a:cubicBezTo>
                  <a:cubicBezTo>
                    <a:pt x="78283" y="1448289"/>
                    <a:pt x="85810" y="1441931"/>
                    <a:pt x="96738" y="1441931"/>
                  </a:cubicBezTo>
                  <a:cubicBezTo>
                    <a:pt x="107667" y="1441931"/>
                    <a:pt x="115194" y="1448289"/>
                    <a:pt x="115194" y="1457495"/>
                  </a:cubicBezTo>
                  <a:cubicBezTo>
                    <a:pt x="115194" y="1466700"/>
                    <a:pt x="107667" y="1473058"/>
                    <a:pt x="96738" y="1473058"/>
                  </a:cubicBezTo>
                  <a:close/>
                  <a:moveTo>
                    <a:pt x="68971" y="1625051"/>
                  </a:moveTo>
                  <a:cubicBezTo>
                    <a:pt x="68971" y="1639778"/>
                    <a:pt x="79510" y="1650591"/>
                    <a:pt x="93895" y="1650591"/>
                  </a:cubicBezTo>
                  <a:cubicBezTo>
                    <a:pt x="98969" y="1650591"/>
                    <a:pt x="104655" y="1648193"/>
                    <a:pt x="107053" y="1644966"/>
                  </a:cubicBezTo>
                  <a:lnTo>
                    <a:pt x="107890" y="1645403"/>
                  </a:lnTo>
                  <a:cubicBezTo>
                    <a:pt x="107388" y="1646298"/>
                    <a:pt x="106997" y="1647022"/>
                    <a:pt x="105158" y="1649535"/>
                  </a:cubicBezTo>
                  <a:lnTo>
                    <a:pt x="83245" y="1679711"/>
                  </a:lnTo>
                  <a:lnTo>
                    <a:pt x="94508" y="1679711"/>
                  </a:lnTo>
                  <a:cubicBezTo>
                    <a:pt x="95121" y="1678873"/>
                    <a:pt x="111792" y="1655446"/>
                    <a:pt x="112517" y="1654218"/>
                  </a:cubicBezTo>
                  <a:cubicBezTo>
                    <a:pt x="120435" y="1642729"/>
                    <a:pt x="123669" y="1634199"/>
                    <a:pt x="123669" y="1625051"/>
                  </a:cubicBezTo>
                  <a:cubicBezTo>
                    <a:pt x="123669" y="1608983"/>
                    <a:pt x="112239" y="1597551"/>
                    <a:pt x="96348" y="1597551"/>
                  </a:cubicBezTo>
                  <a:cubicBezTo>
                    <a:pt x="80457" y="1597551"/>
                    <a:pt x="68971" y="1609097"/>
                    <a:pt x="68971" y="1625051"/>
                  </a:cubicBezTo>
                  <a:close/>
                  <a:moveTo>
                    <a:pt x="96292" y="1606308"/>
                  </a:moveTo>
                  <a:cubicBezTo>
                    <a:pt x="106440" y="1606308"/>
                    <a:pt x="114134" y="1614228"/>
                    <a:pt x="114134" y="1624547"/>
                  </a:cubicBezTo>
                  <a:cubicBezTo>
                    <a:pt x="114134" y="1634923"/>
                    <a:pt x="106440" y="1642843"/>
                    <a:pt x="96292" y="1642843"/>
                  </a:cubicBezTo>
                  <a:cubicBezTo>
                    <a:pt x="86200" y="1642843"/>
                    <a:pt x="78506" y="1634923"/>
                    <a:pt x="78506" y="1624547"/>
                  </a:cubicBezTo>
                  <a:cubicBezTo>
                    <a:pt x="78506" y="1614228"/>
                    <a:pt x="86200" y="1606308"/>
                    <a:pt x="96292" y="1606308"/>
                  </a:cubicBezTo>
                  <a:close/>
                  <a:moveTo>
                    <a:pt x="56259" y="1879614"/>
                  </a:moveTo>
                  <a:lnTo>
                    <a:pt x="56259" y="1870970"/>
                  </a:lnTo>
                  <a:lnTo>
                    <a:pt x="33621" y="1870970"/>
                  </a:lnTo>
                  <a:lnTo>
                    <a:pt x="33621" y="1799129"/>
                  </a:lnTo>
                  <a:lnTo>
                    <a:pt x="23975" y="1799129"/>
                  </a:lnTo>
                  <a:lnTo>
                    <a:pt x="0" y="1814693"/>
                  </a:lnTo>
                  <a:lnTo>
                    <a:pt x="0" y="1825174"/>
                  </a:lnTo>
                  <a:lnTo>
                    <a:pt x="23027" y="1810286"/>
                  </a:lnTo>
                  <a:lnTo>
                    <a:pt x="23920" y="1810286"/>
                  </a:lnTo>
                  <a:lnTo>
                    <a:pt x="23920" y="1870970"/>
                  </a:lnTo>
                  <a:lnTo>
                    <a:pt x="167" y="1870970"/>
                  </a:lnTo>
                  <a:lnTo>
                    <a:pt x="167" y="1879614"/>
                  </a:lnTo>
                  <a:lnTo>
                    <a:pt x="56259" y="1879614"/>
                  </a:lnTo>
                  <a:close/>
                  <a:moveTo>
                    <a:pt x="96515" y="1881451"/>
                  </a:moveTo>
                  <a:cubicBezTo>
                    <a:pt x="113968" y="1881451"/>
                    <a:pt x="123669" y="1866506"/>
                    <a:pt x="123669" y="1839395"/>
                  </a:cubicBezTo>
                  <a:cubicBezTo>
                    <a:pt x="123669" y="1812294"/>
                    <a:pt x="113968" y="1797339"/>
                    <a:pt x="96515" y="1797339"/>
                  </a:cubicBezTo>
                  <a:cubicBezTo>
                    <a:pt x="79007" y="1797339"/>
                    <a:pt x="69362" y="1812294"/>
                    <a:pt x="69362" y="1839395"/>
                  </a:cubicBezTo>
                  <a:cubicBezTo>
                    <a:pt x="69362" y="1866506"/>
                    <a:pt x="79007" y="1881451"/>
                    <a:pt x="96515" y="1881451"/>
                  </a:cubicBezTo>
                  <a:close/>
                  <a:moveTo>
                    <a:pt x="79120" y="1839395"/>
                  </a:moveTo>
                  <a:cubicBezTo>
                    <a:pt x="79120" y="1817539"/>
                    <a:pt x="85141" y="1806040"/>
                    <a:pt x="96515" y="1806040"/>
                  </a:cubicBezTo>
                  <a:cubicBezTo>
                    <a:pt x="104099" y="1806040"/>
                    <a:pt x="109339" y="1811180"/>
                    <a:pt x="111960" y="1821156"/>
                  </a:cubicBezTo>
                  <a:lnTo>
                    <a:pt x="79510" y="1848267"/>
                  </a:lnTo>
                  <a:cubicBezTo>
                    <a:pt x="79286" y="1845535"/>
                    <a:pt x="79120" y="1842575"/>
                    <a:pt x="79120" y="1839395"/>
                  </a:cubicBezTo>
                  <a:close/>
                  <a:moveTo>
                    <a:pt x="96515" y="1872750"/>
                  </a:moveTo>
                  <a:cubicBezTo>
                    <a:pt x="88932" y="1872750"/>
                    <a:pt x="83747" y="1867620"/>
                    <a:pt x="81126" y="1857748"/>
                  </a:cubicBezTo>
                  <a:lnTo>
                    <a:pt x="113465" y="1830419"/>
                  </a:lnTo>
                  <a:cubicBezTo>
                    <a:pt x="113744" y="1833208"/>
                    <a:pt x="113855" y="1836168"/>
                    <a:pt x="113855" y="1839395"/>
                  </a:cubicBezTo>
                  <a:cubicBezTo>
                    <a:pt x="113855" y="1861204"/>
                    <a:pt x="107890" y="1872750"/>
                    <a:pt x="96515" y="1872750"/>
                  </a:cubicBezTo>
                  <a:close/>
                  <a:moveTo>
                    <a:pt x="56259" y="2079517"/>
                  </a:moveTo>
                  <a:lnTo>
                    <a:pt x="56259" y="2070874"/>
                  </a:lnTo>
                  <a:lnTo>
                    <a:pt x="33621" y="2070874"/>
                  </a:lnTo>
                  <a:lnTo>
                    <a:pt x="33621" y="1999032"/>
                  </a:lnTo>
                  <a:lnTo>
                    <a:pt x="23975" y="1999032"/>
                  </a:lnTo>
                  <a:lnTo>
                    <a:pt x="0" y="2014596"/>
                  </a:lnTo>
                  <a:lnTo>
                    <a:pt x="0" y="2025077"/>
                  </a:lnTo>
                  <a:lnTo>
                    <a:pt x="23027" y="2010189"/>
                  </a:lnTo>
                  <a:lnTo>
                    <a:pt x="23920" y="2010189"/>
                  </a:lnTo>
                  <a:lnTo>
                    <a:pt x="23920" y="2070874"/>
                  </a:lnTo>
                  <a:lnTo>
                    <a:pt x="167" y="2070874"/>
                  </a:lnTo>
                  <a:lnTo>
                    <a:pt x="167" y="2079517"/>
                  </a:lnTo>
                  <a:lnTo>
                    <a:pt x="56259" y="2079517"/>
                  </a:lnTo>
                  <a:close/>
                  <a:moveTo>
                    <a:pt x="126847" y="2079517"/>
                  </a:moveTo>
                  <a:lnTo>
                    <a:pt x="126847" y="2070874"/>
                  </a:lnTo>
                  <a:lnTo>
                    <a:pt x="104210" y="2070874"/>
                  </a:lnTo>
                  <a:lnTo>
                    <a:pt x="104210" y="1999032"/>
                  </a:lnTo>
                  <a:lnTo>
                    <a:pt x="94564" y="1999032"/>
                  </a:lnTo>
                  <a:lnTo>
                    <a:pt x="70589" y="2014596"/>
                  </a:lnTo>
                  <a:lnTo>
                    <a:pt x="70589" y="2025077"/>
                  </a:lnTo>
                  <a:lnTo>
                    <a:pt x="93616" y="2010189"/>
                  </a:lnTo>
                  <a:lnTo>
                    <a:pt x="94508" y="2010189"/>
                  </a:lnTo>
                  <a:lnTo>
                    <a:pt x="94508" y="2070874"/>
                  </a:lnTo>
                  <a:lnTo>
                    <a:pt x="70755" y="2070874"/>
                  </a:lnTo>
                  <a:lnTo>
                    <a:pt x="70755" y="2079517"/>
                  </a:lnTo>
                  <a:lnTo>
                    <a:pt x="126847" y="2079517"/>
                  </a:lnTo>
                  <a:close/>
                  <a:moveTo>
                    <a:pt x="56259" y="2279420"/>
                  </a:moveTo>
                  <a:lnTo>
                    <a:pt x="56259" y="2270777"/>
                  </a:lnTo>
                  <a:lnTo>
                    <a:pt x="33621" y="2270777"/>
                  </a:lnTo>
                  <a:lnTo>
                    <a:pt x="33621" y="2198935"/>
                  </a:lnTo>
                  <a:lnTo>
                    <a:pt x="23975" y="2198935"/>
                  </a:lnTo>
                  <a:lnTo>
                    <a:pt x="0" y="2214499"/>
                  </a:lnTo>
                  <a:lnTo>
                    <a:pt x="0" y="2224980"/>
                  </a:lnTo>
                  <a:lnTo>
                    <a:pt x="23027" y="2210092"/>
                  </a:lnTo>
                  <a:lnTo>
                    <a:pt x="23920" y="2210092"/>
                  </a:lnTo>
                  <a:lnTo>
                    <a:pt x="23920" y="2270777"/>
                  </a:lnTo>
                  <a:lnTo>
                    <a:pt x="167" y="2270777"/>
                  </a:lnTo>
                  <a:lnTo>
                    <a:pt x="167" y="2279420"/>
                  </a:lnTo>
                  <a:lnTo>
                    <a:pt x="56259" y="2279420"/>
                  </a:lnTo>
                  <a:close/>
                  <a:moveTo>
                    <a:pt x="70811" y="2221582"/>
                  </a:moveTo>
                  <a:lnTo>
                    <a:pt x="70811" y="2221915"/>
                  </a:lnTo>
                  <a:lnTo>
                    <a:pt x="80290" y="2221915"/>
                  </a:lnTo>
                  <a:lnTo>
                    <a:pt x="80290" y="2221582"/>
                  </a:lnTo>
                  <a:cubicBezTo>
                    <a:pt x="80290" y="2212100"/>
                    <a:pt x="86423" y="2205903"/>
                    <a:pt x="95679" y="2205903"/>
                  </a:cubicBezTo>
                  <a:cubicBezTo>
                    <a:pt x="105046" y="2205903"/>
                    <a:pt x="111123" y="2211596"/>
                    <a:pt x="111123" y="2220239"/>
                  </a:cubicBezTo>
                  <a:cubicBezTo>
                    <a:pt x="111123" y="2226598"/>
                    <a:pt x="108670" y="2230891"/>
                    <a:pt x="98467" y="2242333"/>
                  </a:cubicBezTo>
                  <a:lnTo>
                    <a:pt x="71258" y="2272614"/>
                  </a:lnTo>
                  <a:lnTo>
                    <a:pt x="71258" y="2279420"/>
                  </a:lnTo>
                  <a:lnTo>
                    <a:pt x="122164" y="2279420"/>
                  </a:lnTo>
                  <a:lnTo>
                    <a:pt x="122164" y="2270491"/>
                  </a:lnTo>
                  <a:lnTo>
                    <a:pt x="85308" y="2270491"/>
                  </a:lnTo>
                  <a:lnTo>
                    <a:pt x="85308" y="2269549"/>
                  </a:lnTo>
                  <a:lnTo>
                    <a:pt x="104265" y="2248911"/>
                  </a:lnTo>
                  <a:cubicBezTo>
                    <a:pt x="117090" y="2234908"/>
                    <a:pt x="120881" y="2228216"/>
                    <a:pt x="120881" y="2219849"/>
                  </a:cubicBezTo>
                  <a:cubicBezTo>
                    <a:pt x="120881" y="2206408"/>
                    <a:pt x="110733" y="2197260"/>
                    <a:pt x="95958" y="2197260"/>
                  </a:cubicBezTo>
                  <a:cubicBezTo>
                    <a:pt x="81294" y="2197260"/>
                    <a:pt x="70811" y="2207417"/>
                    <a:pt x="70811" y="2221582"/>
                  </a:cubicBezTo>
                  <a:close/>
                  <a:moveTo>
                    <a:pt x="56259" y="2479323"/>
                  </a:moveTo>
                  <a:lnTo>
                    <a:pt x="56259" y="2470680"/>
                  </a:lnTo>
                  <a:lnTo>
                    <a:pt x="33621" y="2470680"/>
                  </a:lnTo>
                  <a:lnTo>
                    <a:pt x="33621" y="2398839"/>
                  </a:lnTo>
                  <a:lnTo>
                    <a:pt x="23975" y="2398839"/>
                  </a:lnTo>
                  <a:lnTo>
                    <a:pt x="0" y="2414402"/>
                  </a:lnTo>
                  <a:lnTo>
                    <a:pt x="0" y="2424883"/>
                  </a:lnTo>
                  <a:lnTo>
                    <a:pt x="23027" y="2409995"/>
                  </a:lnTo>
                  <a:lnTo>
                    <a:pt x="23920" y="2409995"/>
                  </a:lnTo>
                  <a:lnTo>
                    <a:pt x="23920" y="2470680"/>
                  </a:lnTo>
                  <a:lnTo>
                    <a:pt x="167" y="2470680"/>
                  </a:lnTo>
                  <a:lnTo>
                    <a:pt x="167" y="2479323"/>
                  </a:lnTo>
                  <a:lnTo>
                    <a:pt x="56259" y="2479323"/>
                  </a:lnTo>
                  <a:close/>
                  <a:moveTo>
                    <a:pt x="86647" y="2442008"/>
                  </a:moveTo>
                  <a:lnTo>
                    <a:pt x="95847" y="2442008"/>
                  </a:lnTo>
                  <a:cubicBezTo>
                    <a:pt x="106997" y="2442008"/>
                    <a:pt x="114079" y="2447976"/>
                    <a:pt x="114079" y="2457343"/>
                  </a:cubicBezTo>
                  <a:cubicBezTo>
                    <a:pt x="114079" y="2466434"/>
                    <a:pt x="107221" y="2472127"/>
                    <a:pt x="96181" y="2472127"/>
                  </a:cubicBezTo>
                  <a:cubicBezTo>
                    <a:pt x="86144" y="2472127"/>
                    <a:pt x="79007" y="2466548"/>
                    <a:pt x="78116" y="2457962"/>
                  </a:cubicBezTo>
                  <a:lnTo>
                    <a:pt x="68804" y="2457962"/>
                  </a:lnTo>
                  <a:cubicBezTo>
                    <a:pt x="69529" y="2471851"/>
                    <a:pt x="80569" y="2480999"/>
                    <a:pt x="96459" y="2480999"/>
                  </a:cubicBezTo>
                  <a:cubicBezTo>
                    <a:pt x="112517" y="2480999"/>
                    <a:pt x="124003" y="2471232"/>
                    <a:pt x="124003" y="2457572"/>
                  </a:cubicBezTo>
                  <a:cubicBezTo>
                    <a:pt x="124003" y="2446587"/>
                    <a:pt x="117647" y="2439057"/>
                    <a:pt x="106942" y="2437658"/>
                  </a:cubicBezTo>
                  <a:lnTo>
                    <a:pt x="106942" y="2436763"/>
                  </a:lnTo>
                  <a:cubicBezTo>
                    <a:pt x="115584" y="2434650"/>
                    <a:pt x="120658" y="2427729"/>
                    <a:pt x="120658" y="2418029"/>
                  </a:cubicBezTo>
                  <a:cubicBezTo>
                    <a:pt x="120658" y="2405807"/>
                    <a:pt x="110399" y="2397163"/>
                    <a:pt x="96013" y="2397163"/>
                  </a:cubicBezTo>
                  <a:cubicBezTo>
                    <a:pt x="81126" y="2397163"/>
                    <a:pt x="71313" y="2405807"/>
                    <a:pt x="70365" y="2419752"/>
                  </a:cubicBezTo>
                  <a:lnTo>
                    <a:pt x="79789" y="2419752"/>
                  </a:lnTo>
                  <a:cubicBezTo>
                    <a:pt x="80569" y="2411109"/>
                    <a:pt x="86590" y="2405807"/>
                    <a:pt x="95623" y="2405807"/>
                  </a:cubicBezTo>
                  <a:cubicBezTo>
                    <a:pt x="104712" y="2405807"/>
                    <a:pt x="110733" y="2411223"/>
                    <a:pt x="110733" y="2419419"/>
                  </a:cubicBezTo>
                  <a:cubicBezTo>
                    <a:pt x="110733" y="2427843"/>
                    <a:pt x="104433" y="2433755"/>
                    <a:pt x="95400" y="2433755"/>
                  </a:cubicBezTo>
                  <a:lnTo>
                    <a:pt x="86647" y="2433755"/>
                  </a:lnTo>
                  <a:lnTo>
                    <a:pt x="86647" y="2442008"/>
                  </a:lnTo>
                  <a:close/>
                  <a:moveTo>
                    <a:pt x="56259" y="2679226"/>
                  </a:moveTo>
                  <a:lnTo>
                    <a:pt x="56259" y="2670583"/>
                  </a:lnTo>
                  <a:lnTo>
                    <a:pt x="33621" y="2670583"/>
                  </a:lnTo>
                  <a:lnTo>
                    <a:pt x="33621" y="2598742"/>
                  </a:lnTo>
                  <a:lnTo>
                    <a:pt x="23975" y="2598742"/>
                  </a:lnTo>
                  <a:lnTo>
                    <a:pt x="0" y="2614305"/>
                  </a:lnTo>
                  <a:lnTo>
                    <a:pt x="0" y="2624786"/>
                  </a:lnTo>
                  <a:lnTo>
                    <a:pt x="23027" y="2609898"/>
                  </a:lnTo>
                  <a:lnTo>
                    <a:pt x="23920" y="2609898"/>
                  </a:lnTo>
                  <a:lnTo>
                    <a:pt x="23920" y="2670583"/>
                  </a:lnTo>
                  <a:lnTo>
                    <a:pt x="167" y="2670583"/>
                  </a:lnTo>
                  <a:lnTo>
                    <a:pt x="167" y="2679226"/>
                  </a:lnTo>
                  <a:lnTo>
                    <a:pt x="56259" y="2679226"/>
                  </a:lnTo>
                  <a:close/>
                  <a:moveTo>
                    <a:pt x="105882" y="2679226"/>
                  </a:moveTo>
                  <a:lnTo>
                    <a:pt x="114859" y="2679226"/>
                  </a:lnTo>
                  <a:lnTo>
                    <a:pt x="114859" y="2662216"/>
                  </a:lnTo>
                  <a:lnTo>
                    <a:pt x="127181" y="2662216"/>
                  </a:lnTo>
                  <a:lnTo>
                    <a:pt x="127181" y="2653572"/>
                  </a:lnTo>
                  <a:lnTo>
                    <a:pt x="114915" y="2653572"/>
                  </a:lnTo>
                  <a:lnTo>
                    <a:pt x="114915" y="2630698"/>
                  </a:lnTo>
                  <a:lnTo>
                    <a:pt x="105994" y="2630698"/>
                  </a:lnTo>
                  <a:lnTo>
                    <a:pt x="105994" y="2653677"/>
                  </a:lnTo>
                  <a:lnTo>
                    <a:pt x="79621" y="2653677"/>
                  </a:lnTo>
                  <a:lnTo>
                    <a:pt x="79621" y="2652953"/>
                  </a:lnTo>
                  <a:lnTo>
                    <a:pt x="106552" y="2598742"/>
                  </a:lnTo>
                  <a:lnTo>
                    <a:pt x="96515" y="2598742"/>
                  </a:lnTo>
                  <a:lnTo>
                    <a:pt x="69195" y="2654238"/>
                  </a:lnTo>
                  <a:lnTo>
                    <a:pt x="69195" y="2662216"/>
                  </a:lnTo>
                  <a:lnTo>
                    <a:pt x="105882" y="2662216"/>
                  </a:lnTo>
                  <a:lnTo>
                    <a:pt x="105882" y="2679226"/>
                  </a:lnTo>
                  <a:close/>
                  <a:moveTo>
                    <a:pt x="56259" y="2879129"/>
                  </a:moveTo>
                  <a:lnTo>
                    <a:pt x="56259" y="2870486"/>
                  </a:lnTo>
                  <a:lnTo>
                    <a:pt x="33621" y="2870486"/>
                  </a:lnTo>
                  <a:lnTo>
                    <a:pt x="33621" y="2798645"/>
                  </a:lnTo>
                  <a:lnTo>
                    <a:pt x="23975" y="2798645"/>
                  </a:lnTo>
                  <a:lnTo>
                    <a:pt x="0" y="2814208"/>
                  </a:lnTo>
                  <a:lnTo>
                    <a:pt x="0" y="2824689"/>
                  </a:lnTo>
                  <a:lnTo>
                    <a:pt x="23027" y="2809801"/>
                  </a:lnTo>
                  <a:lnTo>
                    <a:pt x="23920" y="2809801"/>
                  </a:lnTo>
                  <a:lnTo>
                    <a:pt x="23920" y="2870486"/>
                  </a:lnTo>
                  <a:lnTo>
                    <a:pt x="167" y="2870486"/>
                  </a:lnTo>
                  <a:lnTo>
                    <a:pt x="167" y="2879129"/>
                  </a:lnTo>
                  <a:lnTo>
                    <a:pt x="56259" y="2879129"/>
                  </a:lnTo>
                  <a:close/>
                  <a:moveTo>
                    <a:pt x="95790" y="2880748"/>
                  </a:moveTo>
                  <a:cubicBezTo>
                    <a:pt x="112127" y="2880748"/>
                    <a:pt x="123223" y="2869705"/>
                    <a:pt x="123223" y="2853418"/>
                  </a:cubicBezTo>
                  <a:cubicBezTo>
                    <a:pt x="123223" y="2837578"/>
                    <a:pt x="112852" y="2826479"/>
                    <a:pt x="97965" y="2826479"/>
                  </a:cubicBezTo>
                  <a:cubicBezTo>
                    <a:pt x="90884" y="2826479"/>
                    <a:pt x="85141" y="2828982"/>
                    <a:pt x="81182" y="2833780"/>
                  </a:cubicBezTo>
                  <a:lnTo>
                    <a:pt x="80290" y="2833780"/>
                  </a:lnTo>
                  <a:lnTo>
                    <a:pt x="82521" y="2807516"/>
                  </a:lnTo>
                  <a:lnTo>
                    <a:pt x="118763" y="2807516"/>
                  </a:lnTo>
                  <a:lnTo>
                    <a:pt x="118763" y="2798645"/>
                  </a:lnTo>
                  <a:lnTo>
                    <a:pt x="74770" y="2798645"/>
                  </a:lnTo>
                  <a:lnTo>
                    <a:pt x="70700" y="2844099"/>
                  </a:lnTo>
                  <a:lnTo>
                    <a:pt x="80011" y="2844099"/>
                  </a:lnTo>
                  <a:cubicBezTo>
                    <a:pt x="83189" y="2838416"/>
                    <a:pt x="89155" y="2835122"/>
                    <a:pt x="96348" y="2835122"/>
                  </a:cubicBezTo>
                  <a:cubicBezTo>
                    <a:pt x="106663" y="2835122"/>
                    <a:pt x="113633" y="2842595"/>
                    <a:pt x="113633" y="2853637"/>
                  </a:cubicBezTo>
                  <a:cubicBezTo>
                    <a:pt x="113633" y="2864575"/>
                    <a:pt x="106718" y="2871876"/>
                    <a:pt x="96348" y="2871876"/>
                  </a:cubicBezTo>
                  <a:cubicBezTo>
                    <a:pt x="86925" y="2871876"/>
                    <a:pt x="79732" y="2866079"/>
                    <a:pt x="78841" y="2857654"/>
                  </a:cubicBezTo>
                  <a:lnTo>
                    <a:pt x="69362" y="2857654"/>
                  </a:lnTo>
                  <a:cubicBezTo>
                    <a:pt x="70197" y="2871485"/>
                    <a:pt x="80792" y="2880748"/>
                    <a:pt x="95790" y="2880748"/>
                  </a:cubicBezTo>
                  <a:close/>
                  <a:moveTo>
                    <a:pt x="56259" y="3079033"/>
                  </a:moveTo>
                  <a:lnTo>
                    <a:pt x="56259" y="3070389"/>
                  </a:lnTo>
                  <a:lnTo>
                    <a:pt x="33621" y="3070389"/>
                  </a:lnTo>
                  <a:lnTo>
                    <a:pt x="33621" y="2998548"/>
                  </a:lnTo>
                  <a:lnTo>
                    <a:pt x="23975" y="2998548"/>
                  </a:lnTo>
                  <a:lnTo>
                    <a:pt x="0" y="3014112"/>
                  </a:lnTo>
                  <a:lnTo>
                    <a:pt x="0" y="3024592"/>
                  </a:lnTo>
                  <a:lnTo>
                    <a:pt x="23027" y="3009704"/>
                  </a:lnTo>
                  <a:lnTo>
                    <a:pt x="23920" y="3009704"/>
                  </a:lnTo>
                  <a:lnTo>
                    <a:pt x="23920" y="3070389"/>
                  </a:lnTo>
                  <a:lnTo>
                    <a:pt x="167" y="3070389"/>
                  </a:lnTo>
                  <a:lnTo>
                    <a:pt x="167" y="3079033"/>
                  </a:lnTo>
                  <a:lnTo>
                    <a:pt x="56259" y="3079033"/>
                  </a:lnTo>
                  <a:close/>
                  <a:moveTo>
                    <a:pt x="124059" y="3053207"/>
                  </a:moveTo>
                  <a:cubicBezTo>
                    <a:pt x="124059" y="3038538"/>
                    <a:pt x="113465" y="3027667"/>
                    <a:pt x="99136" y="3027667"/>
                  </a:cubicBezTo>
                  <a:cubicBezTo>
                    <a:pt x="94006" y="3027667"/>
                    <a:pt x="88207" y="3030056"/>
                    <a:pt x="85810" y="3033293"/>
                  </a:cubicBezTo>
                  <a:lnTo>
                    <a:pt x="84974" y="3032845"/>
                  </a:lnTo>
                  <a:cubicBezTo>
                    <a:pt x="85364" y="3031960"/>
                    <a:pt x="85141" y="3032179"/>
                    <a:pt x="87594" y="3028724"/>
                  </a:cubicBezTo>
                  <a:lnTo>
                    <a:pt x="109563" y="2998548"/>
                  </a:lnTo>
                  <a:lnTo>
                    <a:pt x="98244" y="2998548"/>
                  </a:lnTo>
                  <a:cubicBezTo>
                    <a:pt x="97686" y="2999385"/>
                    <a:pt x="80959" y="3022812"/>
                    <a:pt x="80234" y="3024040"/>
                  </a:cubicBezTo>
                  <a:cubicBezTo>
                    <a:pt x="72539" y="3035244"/>
                    <a:pt x="69362" y="3043783"/>
                    <a:pt x="69362" y="3053207"/>
                  </a:cubicBezTo>
                  <a:cubicBezTo>
                    <a:pt x="69362" y="3069218"/>
                    <a:pt x="80792" y="3080708"/>
                    <a:pt x="96627" y="3080708"/>
                  </a:cubicBezTo>
                  <a:cubicBezTo>
                    <a:pt x="112573" y="3080708"/>
                    <a:pt x="124059" y="3069161"/>
                    <a:pt x="124059" y="3053207"/>
                  </a:cubicBezTo>
                  <a:close/>
                  <a:moveTo>
                    <a:pt x="96683" y="3071950"/>
                  </a:moveTo>
                  <a:cubicBezTo>
                    <a:pt x="86590" y="3071950"/>
                    <a:pt x="78896" y="3064030"/>
                    <a:pt x="78896" y="3053711"/>
                  </a:cubicBezTo>
                  <a:cubicBezTo>
                    <a:pt x="78896" y="3043336"/>
                    <a:pt x="86590" y="3035416"/>
                    <a:pt x="96683" y="3035416"/>
                  </a:cubicBezTo>
                  <a:cubicBezTo>
                    <a:pt x="106831" y="3035416"/>
                    <a:pt x="114525" y="3043336"/>
                    <a:pt x="114525" y="3053711"/>
                  </a:cubicBezTo>
                  <a:cubicBezTo>
                    <a:pt x="114525" y="3064030"/>
                    <a:pt x="106831" y="3071950"/>
                    <a:pt x="96683" y="3071950"/>
                  </a:cubicBezTo>
                  <a:close/>
                </a:path>
              </a:pathLst>
            </a:custGeom>
            <a:solidFill>
              <a:srgbClr val="586069"/>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sp>
          <p:nvSpPr>
            <p:cNvPr id="627" name="Google Shape;627;p68"/>
            <p:cNvSpPr/>
            <p:nvPr/>
          </p:nvSpPr>
          <p:spPr>
            <a:xfrm>
              <a:off x="5262233" y="3483799"/>
              <a:ext cx="263674" cy="262651"/>
            </a:xfrm>
            <a:custGeom>
              <a:avLst/>
              <a:gdLst/>
              <a:ahLst/>
              <a:cxnLst/>
              <a:rect l="l" t="t" r="r" b="b"/>
              <a:pathLst>
                <a:path w="263674" h="262651" extrusionOk="0">
                  <a:moveTo>
                    <a:pt x="1446" y="61633"/>
                  </a:moveTo>
                  <a:lnTo>
                    <a:pt x="10934" y="61633"/>
                  </a:lnTo>
                  <a:lnTo>
                    <a:pt x="10934" y="25992"/>
                  </a:lnTo>
                  <a:cubicBezTo>
                    <a:pt x="10934" y="15673"/>
                    <a:pt x="17623" y="8702"/>
                    <a:pt x="27596" y="8702"/>
                  </a:cubicBezTo>
                  <a:cubicBezTo>
                    <a:pt x="37026" y="8702"/>
                    <a:pt x="41480" y="13832"/>
                    <a:pt x="41480" y="24765"/>
                  </a:cubicBezTo>
                  <a:lnTo>
                    <a:pt x="41480" y="61633"/>
                  </a:lnTo>
                  <a:lnTo>
                    <a:pt x="50967" y="61633"/>
                  </a:lnTo>
                  <a:lnTo>
                    <a:pt x="50967" y="22366"/>
                  </a:lnTo>
                  <a:cubicBezTo>
                    <a:pt x="50967" y="7865"/>
                    <a:pt x="43830" y="0"/>
                    <a:pt x="30670" y="0"/>
                  </a:cubicBezTo>
                  <a:cubicBezTo>
                    <a:pt x="21468" y="0"/>
                    <a:pt x="14550" y="4239"/>
                    <a:pt x="11324" y="11769"/>
                  </a:cubicBezTo>
                  <a:lnTo>
                    <a:pt x="10534" y="11769"/>
                  </a:lnTo>
                  <a:lnTo>
                    <a:pt x="10534" y="1116"/>
                  </a:lnTo>
                  <a:lnTo>
                    <a:pt x="1446" y="1116"/>
                  </a:lnTo>
                  <a:lnTo>
                    <a:pt x="1446" y="61633"/>
                  </a:lnTo>
                  <a:close/>
                  <a:moveTo>
                    <a:pt x="90658" y="62692"/>
                  </a:moveTo>
                  <a:cubicBezTo>
                    <a:pt x="99469" y="62692"/>
                    <a:pt x="106054" y="59068"/>
                    <a:pt x="108947" y="52597"/>
                  </a:cubicBezTo>
                  <a:lnTo>
                    <a:pt x="109899" y="52597"/>
                  </a:lnTo>
                  <a:lnTo>
                    <a:pt x="109899" y="61689"/>
                  </a:lnTo>
                  <a:lnTo>
                    <a:pt x="118929" y="61689"/>
                  </a:lnTo>
                  <a:lnTo>
                    <a:pt x="118929" y="20246"/>
                  </a:lnTo>
                  <a:cubicBezTo>
                    <a:pt x="118929" y="7641"/>
                    <a:pt x="110793" y="390"/>
                    <a:pt x="96576" y="390"/>
                  </a:cubicBezTo>
                  <a:cubicBezTo>
                    <a:pt x="84196" y="390"/>
                    <a:pt x="74823" y="7028"/>
                    <a:pt x="73710" y="16733"/>
                  </a:cubicBezTo>
                  <a:lnTo>
                    <a:pt x="83026" y="16733"/>
                  </a:lnTo>
                  <a:cubicBezTo>
                    <a:pt x="84586" y="11546"/>
                    <a:pt x="89487" y="8589"/>
                    <a:pt x="96462" y="8589"/>
                  </a:cubicBezTo>
                  <a:cubicBezTo>
                    <a:pt x="104884" y="8589"/>
                    <a:pt x="109508" y="12773"/>
                    <a:pt x="109508" y="20359"/>
                  </a:cubicBezTo>
                  <a:lnTo>
                    <a:pt x="109508" y="25825"/>
                  </a:lnTo>
                  <a:lnTo>
                    <a:pt x="92894" y="26661"/>
                  </a:lnTo>
                  <a:cubicBezTo>
                    <a:pt x="79124" y="27386"/>
                    <a:pt x="71426" y="33745"/>
                    <a:pt x="71426" y="44454"/>
                  </a:cubicBezTo>
                  <a:cubicBezTo>
                    <a:pt x="71426" y="55442"/>
                    <a:pt x="79124" y="62692"/>
                    <a:pt x="90658" y="62692"/>
                  </a:cubicBezTo>
                  <a:close/>
                  <a:moveTo>
                    <a:pt x="93398" y="54382"/>
                  </a:moveTo>
                  <a:cubicBezTo>
                    <a:pt x="85757" y="54382"/>
                    <a:pt x="81018" y="50477"/>
                    <a:pt x="81018" y="44120"/>
                  </a:cubicBezTo>
                  <a:cubicBezTo>
                    <a:pt x="81018" y="37816"/>
                    <a:pt x="85481" y="34191"/>
                    <a:pt x="93950" y="33801"/>
                  </a:cubicBezTo>
                  <a:lnTo>
                    <a:pt x="109508" y="33075"/>
                  </a:lnTo>
                  <a:lnTo>
                    <a:pt x="109508" y="40215"/>
                  </a:lnTo>
                  <a:cubicBezTo>
                    <a:pt x="109508" y="48302"/>
                    <a:pt x="102533" y="54382"/>
                    <a:pt x="93398" y="54382"/>
                  </a:cubicBezTo>
                  <a:close/>
                  <a:moveTo>
                    <a:pt x="196540" y="17068"/>
                  </a:moveTo>
                  <a:cubicBezTo>
                    <a:pt x="196540" y="5856"/>
                    <a:pt x="192134" y="0"/>
                    <a:pt x="183722" y="0"/>
                  </a:cubicBezTo>
                  <a:cubicBezTo>
                    <a:pt x="177642" y="0"/>
                    <a:pt x="172789" y="3681"/>
                    <a:pt x="171228" y="9482"/>
                  </a:cubicBezTo>
                  <a:lnTo>
                    <a:pt x="170229" y="9482"/>
                  </a:lnTo>
                  <a:cubicBezTo>
                    <a:pt x="168944" y="3514"/>
                    <a:pt x="164929" y="0"/>
                    <a:pt x="159238" y="0"/>
                  </a:cubicBezTo>
                  <a:cubicBezTo>
                    <a:pt x="153557" y="0"/>
                    <a:pt x="149208" y="3570"/>
                    <a:pt x="147705" y="9650"/>
                  </a:cubicBezTo>
                  <a:lnTo>
                    <a:pt x="146696" y="9650"/>
                  </a:lnTo>
                  <a:lnTo>
                    <a:pt x="146696" y="1116"/>
                  </a:lnTo>
                  <a:lnTo>
                    <a:pt x="138218" y="1116"/>
                  </a:lnTo>
                  <a:lnTo>
                    <a:pt x="138218" y="61633"/>
                  </a:lnTo>
                  <a:lnTo>
                    <a:pt x="146753" y="61633"/>
                  </a:lnTo>
                  <a:lnTo>
                    <a:pt x="146753" y="20804"/>
                  </a:lnTo>
                  <a:cubicBezTo>
                    <a:pt x="146753" y="13275"/>
                    <a:pt x="150103" y="8645"/>
                    <a:pt x="155451" y="8645"/>
                  </a:cubicBezTo>
                  <a:cubicBezTo>
                    <a:pt x="160580" y="8645"/>
                    <a:pt x="163254" y="12494"/>
                    <a:pt x="163254" y="19801"/>
                  </a:cubicBezTo>
                  <a:lnTo>
                    <a:pt x="163254" y="61633"/>
                  </a:lnTo>
                  <a:lnTo>
                    <a:pt x="171733" y="61633"/>
                  </a:lnTo>
                  <a:lnTo>
                    <a:pt x="171733" y="20804"/>
                  </a:lnTo>
                  <a:cubicBezTo>
                    <a:pt x="171733" y="13275"/>
                    <a:pt x="174968" y="8645"/>
                    <a:pt x="180259" y="8645"/>
                  </a:cubicBezTo>
                  <a:cubicBezTo>
                    <a:pt x="185340" y="8645"/>
                    <a:pt x="188014" y="12494"/>
                    <a:pt x="188014" y="19856"/>
                  </a:cubicBezTo>
                  <a:lnTo>
                    <a:pt x="188014" y="61633"/>
                  </a:lnTo>
                  <a:lnTo>
                    <a:pt x="196540" y="61633"/>
                  </a:lnTo>
                  <a:lnTo>
                    <a:pt x="196540" y="17068"/>
                  </a:lnTo>
                  <a:close/>
                  <a:moveTo>
                    <a:pt x="254311" y="46016"/>
                  </a:moveTo>
                  <a:cubicBezTo>
                    <a:pt x="252636" y="51314"/>
                    <a:pt x="247003" y="54550"/>
                    <a:pt x="239362" y="54550"/>
                  </a:cubicBezTo>
                  <a:cubicBezTo>
                    <a:pt x="229046" y="54550"/>
                    <a:pt x="222471" y="47410"/>
                    <a:pt x="222471" y="36310"/>
                  </a:cubicBezTo>
                  <a:lnTo>
                    <a:pt x="222471" y="33856"/>
                  </a:lnTo>
                  <a:lnTo>
                    <a:pt x="263675" y="33856"/>
                  </a:lnTo>
                  <a:lnTo>
                    <a:pt x="263675" y="27944"/>
                  </a:lnTo>
                  <a:cubicBezTo>
                    <a:pt x="263675" y="10430"/>
                    <a:pt x="254416" y="0"/>
                    <a:pt x="238696" y="0"/>
                  </a:cubicBezTo>
                  <a:cubicBezTo>
                    <a:pt x="223308" y="0"/>
                    <a:pt x="213108" y="10486"/>
                    <a:pt x="213108" y="26438"/>
                  </a:cubicBezTo>
                  <a:lnTo>
                    <a:pt x="213108" y="35529"/>
                  </a:lnTo>
                  <a:cubicBezTo>
                    <a:pt x="213108" y="52765"/>
                    <a:pt x="222747" y="62749"/>
                    <a:pt x="239362" y="62749"/>
                  </a:cubicBezTo>
                  <a:cubicBezTo>
                    <a:pt x="252075" y="62749"/>
                    <a:pt x="261667" y="56000"/>
                    <a:pt x="263503" y="46016"/>
                  </a:cubicBezTo>
                  <a:lnTo>
                    <a:pt x="254311" y="46016"/>
                  </a:lnTo>
                  <a:close/>
                  <a:moveTo>
                    <a:pt x="238639" y="8144"/>
                  </a:moveTo>
                  <a:cubicBezTo>
                    <a:pt x="248402" y="8144"/>
                    <a:pt x="254311" y="15116"/>
                    <a:pt x="254311" y="26661"/>
                  </a:cubicBezTo>
                  <a:lnTo>
                    <a:pt x="222471" y="26661"/>
                  </a:lnTo>
                  <a:cubicBezTo>
                    <a:pt x="222471" y="15059"/>
                    <a:pt x="228552" y="8144"/>
                    <a:pt x="238639" y="8144"/>
                  </a:cubicBezTo>
                  <a:close/>
                  <a:moveTo>
                    <a:pt x="26207" y="262652"/>
                  </a:moveTo>
                  <a:cubicBezTo>
                    <a:pt x="42212" y="262652"/>
                    <a:pt x="52413" y="252222"/>
                    <a:pt x="52413" y="235879"/>
                  </a:cubicBezTo>
                  <a:lnTo>
                    <a:pt x="52413" y="226732"/>
                  </a:lnTo>
                  <a:cubicBezTo>
                    <a:pt x="52413" y="210389"/>
                    <a:pt x="42212" y="199958"/>
                    <a:pt x="26207" y="199958"/>
                  </a:cubicBezTo>
                  <a:cubicBezTo>
                    <a:pt x="10201" y="199958"/>
                    <a:pt x="0" y="210389"/>
                    <a:pt x="0" y="226732"/>
                  </a:cubicBezTo>
                  <a:lnTo>
                    <a:pt x="0" y="235879"/>
                  </a:lnTo>
                  <a:cubicBezTo>
                    <a:pt x="0" y="252222"/>
                    <a:pt x="10201" y="262652"/>
                    <a:pt x="26207" y="262652"/>
                  </a:cubicBezTo>
                  <a:close/>
                  <a:moveTo>
                    <a:pt x="26207" y="208326"/>
                  </a:moveTo>
                  <a:cubicBezTo>
                    <a:pt x="36579" y="208326"/>
                    <a:pt x="43050" y="215688"/>
                    <a:pt x="43050" y="227568"/>
                  </a:cubicBezTo>
                  <a:lnTo>
                    <a:pt x="43050" y="234986"/>
                  </a:lnTo>
                  <a:cubicBezTo>
                    <a:pt x="43050" y="246922"/>
                    <a:pt x="36579" y="254229"/>
                    <a:pt x="26207" y="254229"/>
                  </a:cubicBezTo>
                  <a:cubicBezTo>
                    <a:pt x="15834" y="254229"/>
                    <a:pt x="9364" y="246922"/>
                    <a:pt x="9364" y="234986"/>
                  </a:cubicBezTo>
                  <a:lnTo>
                    <a:pt x="9364" y="227568"/>
                  </a:lnTo>
                  <a:cubicBezTo>
                    <a:pt x="9364" y="215688"/>
                    <a:pt x="15834" y="208326"/>
                    <a:pt x="26207" y="208326"/>
                  </a:cubicBezTo>
                  <a:close/>
                  <a:moveTo>
                    <a:pt x="72035" y="261536"/>
                  </a:moveTo>
                  <a:lnTo>
                    <a:pt x="81513" y="261536"/>
                  </a:lnTo>
                  <a:lnTo>
                    <a:pt x="81513" y="225895"/>
                  </a:lnTo>
                  <a:cubicBezTo>
                    <a:pt x="81513" y="215576"/>
                    <a:pt x="88212" y="208605"/>
                    <a:pt x="98185" y="208605"/>
                  </a:cubicBezTo>
                  <a:cubicBezTo>
                    <a:pt x="107615" y="208605"/>
                    <a:pt x="112068" y="213735"/>
                    <a:pt x="112068" y="224668"/>
                  </a:cubicBezTo>
                  <a:lnTo>
                    <a:pt x="112068" y="261536"/>
                  </a:lnTo>
                  <a:lnTo>
                    <a:pt x="121555" y="261536"/>
                  </a:lnTo>
                  <a:lnTo>
                    <a:pt x="121555" y="222269"/>
                  </a:lnTo>
                  <a:cubicBezTo>
                    <a:pt x="121555" y="207768"/>
                    <a:pt x="114419" y="199903"/>
                    <a:pt x="101258" y="199903"/>
                  </a:cubicBezTo>
                  <a:cubicBezTo>
                    <a:pt x="92056" y="199903"/>
                    <a:pt x="85138" y="204142"/>
                    <a:pt x="81903" y="211672"/>
                  </a:cubicBezTo>
                  <a:lnTo>
                    <a:pt x="81123" y="211672"/>
                  </a:lnTo>
                  <a:lnTo>
                    <a:pt x="81123" y="201019"/>
                  </a:lnTo>
                  <a:lnTo>
                    <a:pt x="72035" y="201019"/>
                  </a:lnTo>
                  <a:lnTo>
                    <a:pt x="72035" y="261536"/>
                  </a:lnTo>
                  <a:close/>
                </a:path>
              </a:pathLst>
            </a:custGeom>
            <a:solidFill>
              <a:srgbClr val="6E7681"/>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sp>
          <p:nvSpPr>
            <p:cNvPr id="628" name="Google Shape;628;p68"/>
            <p:cNvSpPr/>
            <p:nvPr/>
          </p:nvSpPr>
          <p:spPr>
            <a:xfrm>
              <a:off x="5419521" y="3454516"/>
              <a:ext cx="1798552" cy="291154"/>
            </a:xfrm>
            <a:custGeom>
              <a:avLst/>
              <a:gdLst/>
              <a:ahLst/>
              <a:cxnLst/>
              <a:rect l="l" t="t" r="r" b="b"/>
              <a:pathLst>
                <a:path w="1798552" h="291154" extrusionOk="0">
                  <a:moveTo>
                    <a:pt x="151274" y="48415"/>
                  </a:moveTo>
                  <a:cubicBezTo>
                    <a:pt x="156793" y="48415"/>
                    <a:pt x="161360" y="43729"/>
                    <a:pt x="161360" y="38096"/>
                  </a:cubicBezTo>
                  <a:cubicBezTo>
                    <a:pt x="161360" y="32462"/>
                    <a:pt x="156793" y="27777"/>
                    <a:pt x="151274" y="27777"/>
                  </a:cubicBezTo>
                  <a:cubicBezTo>
                    <a:pt x="145754" y="27777"/>
                    <a:pt x="141177" y="32462"/>
                    <a:pt x="141177" y="38096"/>
                  </a:cubicBezTo>
                  <a:cubicBezTo>
                    <a:pt x="141177" y="43729"/>
                    <a:pt x="145754" y="48415"/>
                    <a:pt x="151274" y="48415"/>
                  </a:cubicBezTo>
                  <a:close/>
                  <a:moveTo>
                    <a:pt x="151274" y="91251"/>
                  </a:moveTo>
                  <a:cubicBezTo>
                    <a:pt x="156793" y="91251"/>
                    <a:pt x="161360" y="86621"/>
                    <a:pt x="161360" y="80932"/>
                  </a:cubicBezTo>
                  <a:cubicBezTo>
                    <a:pt x="161360" y="75299"/>
                    <a:pt x="156793" y="70669"/>
                    <a:pt x="151274" y="70669"/>
                  </a:cubicBezTo>
                  <a:cubicBezTo>
                    <a:pt x="145754" y="70669"/>
                    <a:pt x="141177" y="75299"/>
                    <a:pt x="141177" y="80932"/>
                  </a:cubicBezTo>
                  <a:cubicBezTo>
                    <a:pt x="141177" y="86621"/>
                    <a:pt x="145754" y="91251"/>
                    <a:pt x="151274" y="91251"/>
                  </a:cubicBezTo>
                  <a:close/>
                  <a:moveTo>
                    <a:pt x="313243" y="90916"/>
                  </a:moveTo>
                  <a:lnTo>
                    <a:pt x="323615" y="90916"/>
                  </a:lnTo>
                  <a:lnTo>
                    <a:pt x="297694" y="10430"/>
                  </a:lnTo>
                  <a:lnTo>
                    <a:pt x="287207" y="10430"/>
                  </a:lnTo>
                  <a:lnTo>
                    <a:pt x="261277" y="90916"/>
                  </a:lnTo>
                  <a:lnTo>
                    <a:pt x="271259" y="90916"/>
                  </a:lnTo>
                  <a:lnTo>
                    <a:pt x="278291" y="67824"/>
                  </a:lnTo>
                  <a:lnTo>
                    <a:pt x="306277" y="67824"/>
                  </a:lnTo>
                  <a:lnTo>
                    <a:pt x="313243" y="90916"/>
                  </a:lnTo>
                  <a:close/>
                  <a:moveTo>
                    <a:pt x="292175" y="22255"/>
                  </a:moveTo>
                  <a:lnTo>
                    <a:pt x="292451" y="22255"/>
                  </a:lnTo>
                  <a:lnTo>
                    <a:pt x="303708" y="59403"/>
                  </a:lnTo>
                  <a:lnTo>
                    <a:pt x="280851" y="59403"/>
                  </a:lnTo>
                  <a:lnTo>
                    <a:pt x="292175" y="22255"/>
                  </a:lnTo>
                  <a:close/>
                  <a:moveTo>
                    <a:pt x="359242" y="91920"/>
                  </a:moveTo>
                  <a:cubicBezTo>
                    <a:pt x="367892" y="91920"/>
                    <a:pt x="374239" y="88350"/>
                    <a:pt x="377370" y="81657"/>
                  </a:cubicBezTo>
                  <a:lnTo>
                    <a:pt x="378426" y="81657"/>
                  </a:lnTo>
                  <a:lnTo>
                    <a:pt x="378426" y="90916"/>
                  </a:lnTo>
                  <a:lnTo>
                    <a:pt x="387733" y="90916"/>
                  </a:lnTo>
                  <a:lnTo>
                    <a:pt x="387733" y="6638"/>
                  </a:lnTo>
                  <a:lnTo>
                    <a:pt x="378093" y="6638"/>
                  </a:lnTo>
                  <a:lnTo>
                    <a:pt x="378093" y="39769"/>
                  </a:lnTo>
                  <a:lnTo>
                    <a:pt x="377085" y="39769"/>
                  </a:lnTo>
                  <a:cubicBezTo>
                    <a:pt x="374468" y="33132"/>
                    <a:pt x="367997" y="29394"/>
                    <a:pt x="359242" y="29394"/>
                  </a:cubicBezTo>
                  <a:cubicBezTo>
                    <a:pt x="345254" y="29394"/>
                    <a:pt x="336109" y="39490"/>
                    <a:pt x="336109" y="54996"/>
                  </a:cubicBezTo>
                  <a:lnTo>
                    <a:pt x="336109" y="66263"/>
                  </a:lnTo>
                  <a:cubicBezTo>
                    <a:pt x="336109" y="81824"/>
                    <a:pt x="345254" y="91920"/>
                    <a:pt x="359242" y="91920"/>
                  </a:cubicBezTo>
                  <a:close/>
                  <a:moveTo>
                    <a:pt x="362031" y="83275"/>
                  </a:moveTo>
                  <a:cubicBezTo>
                    <a:pt x="352048" y="83275"/>
                    <a:pt x="345644" y="76079"/>
                    <a:pt x="345644" y="64924"/>
                  </a:cubicBezTo>
                  <a:lnTo>
                    <a:pt x="345644" y="56223"/>
                  </a:lnTo>
                  <a:cubicBezTo>
                    <a:pt x="345644" y="45068"/>
                    <a:pt x="352048" y="37928"/>
                    <a:pt x="362031" y="37928"/>
                  </a:cubicBezTo>
                  <a:cubicBezTo>
                    <a:pt x="371956" y="37928"/>
                    <a:pt x="378369" y="45068"/>
                    <a:pt x="378369" y="56223"/>
                  </a:cubicBezTo>
                  <a:lnTo>
                    <a:pt x="378369" y="64924"/>
                  </a:lnTo>
                  <a:cubicBezTo>
                    <a:pt x="378369" y="76135"/>
                    <a:pt x="371956" y="83275"/>
                    <a:pt x="362031" y="83275"/>
                  </a:cubicBezTo>
                  <a:close/>
                  <a:moveTo>
                    <a:pt x="429831" y="91920"/>
                  </a:moveTo>
                  <a:cubicBezTo>
                    <a:pt x="438471" y="91920"/>
                    <a:pt x="444828" y="88350"/>
                    <a:pt x="447959" y="81657"/>
                  </a:cubicBezTo>
                  <a:lnTo>
                    <a:pt x="449015" y="81657"/>
                  </a:lnTo>
                  <a:lnTo>
                    <a:pt x="449015" y="90916"/>
                  </a:lnTo>
                  <a:lnTo>
                    <a:pt x="458321" y="90916"/>
                  </a:lnTo>
                  <a:lnTo>
                    <a:pt x="458321" y="6638"/>
                  </a:lnTo>
                  <a:lnTo>
                    <a:pt x="448682" y="6638"/>
                  </a:lnTo>
                  <a:lnTo>
                    <a:pt x="448682" y="39769"/>
                  </a:lnTo>
                  <a:lnTo>
                    <a:pt x="447673" y="39769"/>
                  </a:lnTo>
                  <a:cubicBezTo>
                    <a:pt x="445056" y="33132"/>
                    <a:pt x="438586" y="29394"/>
                    <a:pt x="429831" y="29394"/>
                  </a:cubicBezTo>
                  <a:cubicBezTo>
                    <a:pt x="415843" y="29394"/>
                    <a:pt x="406698" y="39490"/>
                    <a:pt x="406698" y="54996"/>
                  </a:cubicBezTo>
                  <a:lnTo>
                    <a:pt x="406698" y="66263"/>
                  </a:lnTo>
                  <a:cubicBezTo>
                    <a:pt x="406698" y="81824"/>
                    <a:pt x="415843" y="91920"/>
                    <a:pt x="429831" y="91920"/>
                  </a:cubicBezTo>
                  <a:close/>
                  <a:moveTo>
                    <a:pt x="432619" y="83275"/>
                  </a:moveTo>
                  <a:cubicBezTo>
                    <a:pt x="422637" y="83275"/>
                    <a:pt x="416233" y="76079"/>
                    <a:pt x="416233" y="64924"/>
                  </a:cubicBezTo>
                  <a:lnTo>
                    <a:pt x="416233" y="56223"/>
                  </a:lnTo>
                  <a:cubicBezTo>
                    <a:pt x="416233" y="45068"/>
                    <a:pt x="422637" y="37928"/>
                    <a:pt x="432619" y="37928"/>
                  </a:cubicBezTo>
                  <a:cubicBezTo>
                    <a:pt x="442544" y="37928"/>
                    <a:pt x="448958" y="45068"/>
                    <a:pt x="448958" y="56223"/>
                  </a:cubicBezTo>
                  <a:lnTo>
                    <a:pt x="448958" y="64924"/>
                  </a:lnTo>
                  <a:cubicBezTo>
                    <a:pt x="448958" y="76135"/>
                    <a:pt x="442544" y="83275"/>
                    <a:pt x="432619" y="83275"/>
                  </a:cubicBezTo>
                  <a:close/>
                  <a:moveTo>
                    <a:pt x="549988" y="90916"/>
                  </a:moveTo>
                  <a:lnTo>
                    <a:pt x="559465" y="90916"/>
                  </a:lnTo>
                  <a:lnTo>
                    <a:pt x="559465" y="55330"/>
                  </a:lnTo>
                  <a:cubicBezTo>
                    <a:pt x="559465" y="45011"/>
                    <a:pt x="566212" y="38040"/>
                    <a:pt x="576194" y="38040"/>
                  </a:cubicBezTo>
                  <a:cubicBezTo>
                    <a:pt x="585672" y="38040"/>
                    <a:pt x="590135" y="43227"/>
                    <a:pt x="590135" y="54103"/>
                  </a:cubicBezTo>
                  <a:lnTo>
                    <a:pt x="590135" y="90916"/>
                  </a:lnTo>
                  <a:lnTo>
                    <a:pt x="599613" y="90916"/>
                  </a:lnTo>
                  <a:lnTo>
                    <a:pt x="599613" y="51705"/>
                  </a:lnTo>
                  <a:cubicBezTo>
                    <a:pt x="599613" y="37259"/>
                    <a:pt x="592476" y="29338"/>
                    <a:pt x="579316" y="29338"/>
                  </a:cubicBezTo>
                  <a:cubicBezTo>
                    <a:pt x="570066" y="29338"/>
                    <a:pt x="563091" y="33578"/>
                    <a:pt x="559913" y="41108"/>
                  </a:cubicBezTo>
                  <a:lnTo>
                    <a:pt x="559132" y="41108"/>
                  </a:lnTo>
                  <a:lnTo>
                    <a:pt x="559132" y="6638"/>
                  </a:lnTo>
                  <a:lnTo>
                    <a:pt x="549988" y="6638"/>
                  </a:lnTo>
                  <a:lnTo>
                    <a:pt x="549988" y="90916"/>
                  </a:lnTo>
                  <a:close/>
                  <a:moveTo>
                    <a:pt x="646450" y="15562"/>
                  </a:moveTo>
                  <a:cubicBezTo>
                    <a:pt x="650913" y="15562"/>
                    <a:pt x="654310" y="12215"/>
                    <a:pt x="654310" y="7753"/>
                  </a:cubicBezTo>
                  <a:cubicBezTo>
                    <a:pt x="654310" y="3347"/>
                    <a:pt x="650913" y="0"/>
                    <a:pt x="646450" y="0"/>
                  </a:cubicBezTo>
                  <a:cubicBezTo>
                    <a:pt x="641987" y="0"/>
                    <a:pt x="638590" y="3347"/>
                    <a:pt x="638590" y="7753"/>
                  </a:cubicBezTo>
                  <a:cubicBezTo>
                    <a:pt x="638590" y="12215"/>
                    <a:pt x="641987" y="15562"/>
                    <a:pt x="646450" y="15562"/>
                  </a:cubicBezTo>
                  <a:close/>
                  <a:moveTo>
                    <a:pt x="671819" y="90916"/>
                  </a:moveTo>
                  <a:lnTo>
                    <a:pt x="671819" y="83051"/>
                  </a:lnTo>
                  <a:lnTo>
                    <a:pt x="651798" y="83051"/>
                  </a:lnTo>
                  <a:lnTo>
                    <a:pt x="651798" y="30399"/>
                  </a:lnTo>
                  <a:lnTo>
                    <a:pt x="621861" y="30399"/>
                  </a:lnTo>
                  <a:lnTo>
                    <a:pt x="621861" y="38263"/>
                  </a:lnTo>
                  <a:lnTo>
                    <a:pt x="642434" y="38263"/>
                  </a:lnTo>
                  <a:lnTo>
                    <a:pt x="642434" y="83051"/>
                  </a:lnTo>
                  <a:lnTo>
                    <a:pt x="621690" y="83051"/>
                  </a:lnTo>
                  <a:lnTo>
                    <a:pt x="621690" y="90916"/>
                  </a:lnTo>
                  <a:lnTo>
                    <a:pt x="671819" y="90916"/>
                  </a:lnTo>
                  <a:close/>
                  <a:moveTo>
                    <a:pt x="714193" y="113617"/>
                  </a:moveTo>
                  <a:cubicBezTo>
                    <a:pt x="730589" y="113617"/>
                    <a:pt x="740286" y="105139"/>
                    <a:pt x="740286" y="90916"/>
                  </a:cubicBezTo>
                  <a:lnTo>
                    <a:pt x="740286" y="30399"/>
                  </a:lnTo>
                  <a:lnTo>
                    <a:pt x="730922" y="30399"/>
                  </a:lnTo>
                  <a:lnTo>
                    <a:pt x="730922" y="39769"/>
                  </a:lnTo>
                  <a:lnTo>
                    <a:pt x="729866" y="39769"/>
                  </a:lnTo>
                  <a:cubicBezTo>
                    <a:pt x="727239" y="33243"/>
                    <a:pt x="720607" y="29394"/>
                    <a:pt x="711852" y="29394"/>
                  </a:cubicBezTo>
                  <a:cubicBezTo>
                    <a:pt x="697693" y="29394"/>
                    <a:pt x="688434" y="39434"/>
                    <a:pt x="688434" y="54996"/>
                  </a:cubicBezTo>
                  <a:lnTo>
                    <a:pt x="688434" y="65872"/>
                  </a:lnTo>
                  <a:cubicBezTo>
                    <a:pt x="688434" y="81378"/>
                    <a:pt x="697636" y="91474"/>
                    <a:pt x="711633" y="91474"/>
                  </a:cubicBezTo>
                  <a:cubicBezTo>
                    <a:pt x="720436" y="91474"/>
                    <a:pt x="727125" y="87625"/>
                    <a:pt x="729809" y="81266"/>
                  </a:cubicBezTo>
                  <a:lnTo>
                    <a:pt x="730808" y="81266"/>
                  </a:lnTo>
                  <a:lnTo>
                    <a:pt x="730808" y="90693"/>
                  </a:lnTo>
                  <a:cubicBezTo>
                    <a:pt x="730808" y="100398"/>
                    <a:pt x="724956" y="105753"/>
                    <a:pt x="714364" y="105753"/>
                  </a:cubicBezTo>
                  <a:cubicBezTo>
                    <a:pt x="706276" y="105753"/>
                    <a:pt x="700195" y="102462"/>
                    <a:pt x="698977" y="97441"/>
                  </a:cubicBezTo>
                  <a:lnTo>
                    <a:pt x="689604" y="97441"/>
                  </a:lnTo>
                  <a:cubicBezTo>
                    <a:pt x="690832" y="107481"/>
                    <a:pt x="700195" y="113617"/>
                    <a:pt x="714193" y="113617"/>
                  </a:cubicBezTo>
                  <a:close/>
                  <a:moveTo>
                    <a:pt x="697969" y="64533"/>
                  </a:moveTo>
                  <a:lnTo>
                    <a:pt x="697969" y="56223"/>
                  </a:lnTo>
                  <a:cubicBezTo>
                    <a:pt x="697969" y="45124"/>
                    <a:pt x="704439" y="37928"/>
                    <a:pt x="714469" y="37928"/>
                  </a:cubicBezTo>
                  <a:cubicBezTo>
                    <a:pt x="724451" y="37928"/>
                    <a:pt x="730865" y="45068"/>
                    <a:pt x="730865" y="56223"/>
                  </a:cubicBezTo>
                  <a:lnTo>
                    <a:pt x="730865" y="64533"/>
                  </a:lnTo>
                  <a:cubicBezTo>
                    <a:pt x="730865" y="75689"/>
                    <a:pt x="724451" y="82884"/>
                    <a:pt x="714469" y="82884"/>
                  </a:cubicBezTo>
                  <a:cubicBezTo>
                    <a:pt x="704439" y="82884"/>
                    <a:pt x="697969" y="75633"/>
                    <a:pt x="697969" y="64533"/>
                  </a:cubicBezTo>
                  <a:close/>
                  <a:moveTo>
                    <a:pt x="761753" y="90916"/>
                  </a:moveTo>
                  <a:lnTo>
                    <a:pt x="771231" y="90916"/>
                  </a:lnTo>
                  <a:lnTo>
                    <a:pt x="771231" y="55330"/>
                  </a:lnTo>
                  <a:cubicBezTo>
                    <a:pt x="771231" y="45011"/>
                    <a:pt x="777978" y="38040"/>
                    <a:pt x="787960" y="38040"/>
                  </a:cubicBezTo>
                  <a:cubicBezTo>
                    <a:pt x="797438" y="38040"/>
                    <a:pt x="801901" y="43227"/>
                    <a:pt x="801901" y="54103"/>
                  </a:cubicBezTo>
                  <a:lnTo>
                    <a:pt x="801901" y="90916"/>
                  </a:lnTo>
                  <a:lnTo>
                    <a:pt x="811379" y="90916"/>
                  </a:lnTo>
                  <a:lnTo>
                    <a:pt x="811379" y="51705"/>
                  </a:lnTo>
                  <a:cubicBezTo>
                    <a:pt x="811379" y="37259"/>
                    <a:pt x="804242" y="29338"/>
                    <a:pt x="791081" y="29338"/>
                  </a:cubicBezTo>
                  <a:cubicBezTo>
                    <a:pt x="781832" y="29338"/>
                    <a:pt x="774857" y="33578"/>
                    <a:pt x="771678" y="41108"/>
                  </a:cubicBezTo>
                  <a:lnTo>
                    <a:pt x="770898" y="41108"/>
                  </a:lnTo>
                  <a:lnTo>
                    <a:pt x="770898" y="6638"/>
                  </a:lnTo>
                  <a:lnTo>
                    <a:pt x="761753" y="6638"/>
                  </a:lnTo>
                  <a:lnTo>
                    <a:pt x="761753" y="90916"/>
                  </a:lnTo>
                  <a:close/>
                  <a:moveTo>
                    <a:pt x="931535" y="29394"/>
                  </a:moveTo>
                  <a:cubicBezTo>
                    <a:pt x="922895" y="29394"/>
                    <a:pt x="916595" y="32964"/>
                    <a:pt x="913417" y="39657"/>
                  </a:cubicBezTo>
                  <a:lnTo>
                    <a:pt x="912408" y="39657"/>
                  </a:lnTo>
                  <a:lnTo>
                    <a:pt x="912408" y="30399"/>
                  </a:lnTo>
                  <a:lnTo>
                    <a:pt x="903045" y="30399"/>
                  </a:lnTo>
                  <a:lnTo>
                    <a:pt x="903045" y="111330"/>
                  </a:lnTo>
                  <a:lnTo>
                    <a:pt x="912684" y="111330"/>
                  </a:lnTo>
                  <a:lnTo>
                    <a:pt x="912684" y="81545"/>
                  </a:lnTo>
                  <a:lnTo>
                    <a:pt x="913750" y="81545"/>
                  </a:lnTo>
                  <a:cubicBezTo>
                    <a:pt x="916367" y="88183"/>
                    <a:pt x="922781" y="91920"/>
                    <a:pt x="931535" y="91920"/>
                  </a:cubicBezTo>
                  <a:cubicBezTo>
                    <a:pt x="945533" y="91920"/>
                    <a:pt x="954678" y="81824"/>
                    <a:pt x="954678" y="66318"/>
                  </a:cubicBezTo>
                  <a:lnTo>
                    <a:pt x="954678" y="55051"/>
                  </a:lnTo>
                  <a:cubicBezTo>
                    <a:pt x="954678" y="39490"/>
                    <a:pt x="945533" y="29394"/>
                    <a:pt x="931535" y="29394"/>
                  </a:cubicBezTo>
                  <a:close/>
                  <a:moveTo>
                    <a:pt x="928804" y="38096"/>
                  </a:moveTo>
                  <a:cubicBezTo>
                    <a:pt x="938786" y="38096"/>
                    <a:pt x="945143" y="45235"/>
                    <a:pt x="945143" y="56390"/>
                  </a:cubicBezTo>
                  <a:lnTo>
                    <a:pt x="945143" y="65091"/>
                  </a:lnTo>
                  <a:cubicBezTo>
                    <a:pt x="945143" y="76247"/>
                    <a:pt x="938786" y="83441"/>
                    <a:pt x="928804" y="83441"/>
                  </a:cubicBezTo>
                  <a:cubicBezTo>
                    <a:pt x="918822" y="83441"/>
                    <a:pt x="912465" y="76302"/>
                    <a:pt x="912465" y="65091"/>
                  </a:cubicBezTo>
                  <a:lnTo>
                    <a:pt x="912465" y="56390"/>
                  </a:lnTo>
                  <a:cubicBezTo>
                    <a:pt x="912465" y="45235"/>
                    <a:pt x="918822" y="38096"/>
                    <a:pt x="928804" y="38096"/>
                  </a:cubicBezTo>
                  <a:close/>
                  <a:moveTo>
                    <a:pt x="995939" y="63808"/>
                  </a:moveTo>
                  <a:cubicBezTo>
                    <a:pt x="995939" y="48415"/>
                    <a:pt x="1003856" y="39155"/>
                    <a:pt x="1017235" y="39155"/>
                  </a:cubicBezTo>
                  <a:cubicBezTo>
                    <a:pt x="1020527" y="39155"/>
                    <a:pt x="1024429" y="39824"/>
                    <a:pt x="1027217" y="40829"/>
                  </a:cubicBezTo>
                  <a:lnTo>
                    <a:pt x="1027217" y="30175"/>
                  </a:lnTo>
                  <a:cubicBezTo>
                    <a:pt x="1025209" y="29338"/>
                    <a:pt x="1021917" y="28836"/>
                    <a:pt x="1018462" y="28836"/>
                  </a:cubicBezTo>
                  <a:cubicBezTo>
                    <a:pt x="1006806" y="28836"/>
                    <a:pt x="999279" y="34637"/>
                    <a:pt x="997052" y="45848"/>
                  </a:cubicBezTo>
                  <a:lnTo>
                    <a:pt x="995824" y="45848"/>
                  </a:lnTo>
                  <a:lnTo>
                    <a:pt x="995824" y="30399"/>
                  </a:lnTo>
                  <a:lnTo>
                    <a:pt x="973243" y="30399"/>
                  </a:lnTo>
                  <a:lnTo>
                    <a:pt x="973243" y="37984"/>
                  </a:lnTo>
                  <a:lnTo>
                    <a:pt x="986680" y="37984"/>
                  </a:lnTo>
                  <a:lnTo>
                    <a:pt x="986680" y="83330"/>
                  </a:lnTo>
                  <a:lnTo>
                    <a:pt x="974471" y="83330"/>
                  </a:lnTo>
                  <a:lnTo>
                    <a:pt x="974471" y="90916"/>
                  </a:lnTo>
                  <a:lnTo>
                    <a:pt x="1014666" y="90916"/>
                  </a:lnTo>
                  <a:lnTo>
                    <a:pt x="1014666" y="83330"/>
                  </a:lnTo>
                  <a:lnTo>
                    <a:pt x="995939" y="83330"/>
                  </a:lnTo>
                  <a:lnTo>
                    <a:pt x="995939" y="63808"/>
                  </a:lnTo>
                  <a:close/>
                  <a:moveTo>
                    <a:pt x="1069981" y="15562"/>
                  </a:moveTo>
                  <a:cubicBezTo>
                    <a:pt x="1074444" y="15562"/>
                    <a:pt x="1077841" y="12215"/>
                    <a:pt x="1077841" y="7753"/>
                  </a:cubicBezTo>
                  <a:cubicBezTo>
                    <a:pt x="1077841" y="3347"/>
                    <a:pt x="1074444" y="0"/>
                    <a:pt x="1069981" y="0"/>
                  </a:cubicBezTo>
                  <a:cubicBezTo>
                    <a:pt x="1065518" y="0"/>
                    <a:pt x="1062121" y="3347"/>
                    <a:pt x="1062121" y="7753"/>
                  </a:cubicBezTo>
                  <a:cubicBezTo>
                    <a:pt x="1062121" y="12215"/>
                    <a:pt x="1065518" y="15562"/>
                    <a:pt x="1069981" y="15562"/>
                  </a:cubicBezTo>
                  <a:close/>
                  <a:moveTo>
                    <a:pt x="1095351" y="90916"/>
                  </a:moveTo>
                  <a:lnTo>
                    <a:pt x="1095351" y="83051"/>
                  </a:lnTo>
                  <a:lnTo>
                    <a:pt x="1075329" y="83051"/>
                  </a:lnTo>
                  <a:lnTo>
                    <a:pt x="1075329" y="30399"/>
                  </a:lnTo>
                  <a:lnTo>
                    <a:pt x="1045392" y="30399"/>
                  </a:lnTo>
                  <a:lnTo>
                    <a:pt x="1045392" y="38263"/>
                  </a:lnTo>
                  <a:lnTo>
                    <a:pt x="1065966" y="38263"/>
                  </a:lnTo>
                  <a:lnTo>
                    <a:pt x="1065966" y="83051"/>
                  </a:lnTo>
                  <a:lnTo>
                    <a:pt x="1045221" y="83051"/>
                  </a:lnTo>
                  <a:lnTo>
                    <a:pt x="1045221" y="90916"/>
                  </a:lnTo>
                  <a:lnTo>
                    <a:pt x="1095351" y="90916"/>
                  </a:lnTo>
                  <a:close/>
                  <a:moveTo>
                    <a:pt x="1139504" y="92032"/>
                  </a:moveTo>
                  <a:cubicBezTo>
                    <a:pt x="1155510" y="92032"/>
                    <a:pt x="1165711" y="81601"/>
                    <a:pt x="1165711" y="65259"/>
                  </a:cubicBezTo>
                  <a:lnTo>
                    <a:pt x="1165711" y="56112"/>
                  </a:lnTo>
                  <a:cubicBezTo>
                    <a:pt x="1165711" y="39769"/>
                    <a:pt x="1155510" y="29338"/>
                    <a:pt x="1139504" y="29338"/>
                  </a:cubicBezTo>
                  <a:cubicBezTo>
                    <a:pt x="1123508" y="29338"/>
                    <a:pt x="1113307" y="39769"/>
                    <a:pt x="1113307" y="56112"/>
                  </a:cubicBezTo>
                  <a:lnTo>
                    <a:pt x="1113307" y="65259"/>
                  </a:lnTo>
                  <a:cubicBezTo>
                    <a:pt x="1113307" y="81601"/>
                    <a:pt x="1123508" y="92032"/>
                    <a:pt x="1139504" y="92032"/>
                  </a:cubicBezTo>
                  <a:close/>
                  <a:moveTo>
                    <a:pt x="1139504" y="37706"/>
                  </a:moveTo>
                  <a:cubicBezTo>
                    <a:pt x="1149876" y="37706"/>
                    <a:pt x="1156347" y="45068"/>
                    <a:pt x="1156347" y="56948"/>
                  </a:cubicBezTo>
                  <a:lnTo>
                    <a:pt x="1156347" y="64366"/>
                  </a:lnTo>
                  <a:cubicBezTo>
                    <a:pt x="1156347" y="76302"/>
                    <a:pt x="1149876" y="83609"/>
                    <a:pt x="1139504" y="83609"/>
                  </a:cubicBezTo>
                  <a:cubicBezTo>
                    <a:pt x="1129141" y="83609"/>
                    <a:pt x="1122671" y="76302"/>
                    <a:pt x="1122671" y="64366"/>
                  </a:cubicBezTo>
                  <a:lnTo>
                    <a:pt x="1122671" y="56948"/>
                  </a:lnTo>
                  <a:cubicBezTo>
                    <a:pt x="1122671" y="45068"/>
                    <a:pt x="1129141" y="37706"/>
                    <a:pt x="1139504" y="37706"/>
                  </a:cubicBezTo>
                  <a:close/>
                  <a:moveTo>
                    <a:pt x="1207695" y="63808"/>
                  </a:moveTo>
                  <a:cubicBezTo>
                    <a:pt x="1207695" y="48415"/>
                    <a:pt x="1215612" y="39155"/>
                    <a:pt x="1229001" y="39155"/>
                  </a:cubicBezTo>
                  <a:cubicBezTo>
                    <a:pt x="1232284" y="39155"/>
                    <a:pt x="1236195" y="39824"/>
                    <a:pt x="1238983" y="40829"/>
                  </a:cubicBezTo>
                  <a:lnTo>
                    <a:pt x="1238983" y="30175"/>
                  </a:lnTo>
                  <a:cubicBezTo>
                    <a:pt x="1236975" y="29338"/>
                    <a:pt x="1233682" y="28836"/>
                    <a:pt x="1230228" y="28836"/>
                  </a:cubicBezTo>
                  <a:cubicBezTo>
                    <a:pt x="1218571" y="28836"/>
                    <a:pt x="1211044" y="34637"/>
                    <a:pt x="1208818" y="45848"/>
                  </a:cubicBezTo>
                  <a:lnTo>
                    <a:pt x="1207590" y="45848"/>
                  </a:lnTo>
                  <a:lnTo>
                    <a:pt x="1207590" y="30399"/>
                  </a:lnTo>
                  <a:lnTo>
                    <a:pt x="1185009" y="30399"/>
                  </a:lnTo>
                  <a:lnTo>
                    <a:pt x="1185009" y="37984"/>
                  </a:lnTo>
                  <a:lnTo>
                    <a:pt x="1198445" y="37984"/>
                  </a:lnTo>
                  <a:lnTo>
                    <a:pt x="1198445" y="83330"/>
                  </a:lnTo>
                  <a:lnTo>
                    <a:pt x="1186237" y="83330"/>
                  </a:lnTo>
                  <a:lnTo>
                    <a:pt x="1186237" y="90916"/>
                  </a:lnTo>
                  <a:lnTo>
                    <a:pt x="1226431" y="90916"/>
                  </a:lnTo>
                  <a:lnTo>
                    <a:pt x="1226431" y="83330"/>
                  </a:lnTo>
                  <a:lnTo>
                    <a:pt x="1207695" y="83330"/>
                  </a:lnTo>
                  <a:lnTo>
                    <a:pt x="1207695" y="63808"/>
                  </a:lnTo>
                  <a:close/>
                  <a:moveTo>
                    <a:pt x="1281747" y="15562"/>
                  </a:moveTo>
                  <a:cubicBezTo>
                    <a:pt x="1286201" y="15562"/>
                    <a:pt x="1289607" y="12215"/>
                    <a:pt x="1289607" y="7753"/>
                  </a:cubicBezTo>
                  <a:cubicBezTo>
                    <a:pt x="1289607" y="3347"/>
                    <a:pt x="1286201" y="0"/>
                    <a:pt x="1281747" y="0"/>
                  </a:cubicBezTo>
                  <a:cubicBezTo>
                    <a:pt x="1277284" y="0"/>
                    <a:pt x="1273887" y="3347"/>
                    <a:pt x="1273887" y="7753"/>
                  </a:cubicBezTo>
                  <a:cubicBezTo>
                    <a:pt x="1273887" y="12215"/>
                    <a:pt x="1277284" y="15562"/>
                    <a:pt x="1281747" y="15562"/>
                  </a:cubicBezTo>
                  <a:close/>
                  <a:moveTo>
                    <a:pt x="1307116" y="90916"/>
                  </a:moveTo>
                  <a:lnTo>
                    <a:pt x="1307116" y="83051"/>
                  </a:lnTo>
                  <a:lnTo>
                    <a:pt x="1287095" y="83051"/>
                  </a:lnTo>
                  <a:lnTo>
                    <a:pt x="1287095" y="30399"/>
                  </a:lnTo>
                  <a:lnTo>
                    <a:pt x="1257158" y="30399"/>
                  </a:lnTo>
                  <a:lnTo>
                    <a:pt x="1257158" y="38263"/>
                  </a:lnTo>
                  <a:lnTo>
                    <a:pt x="1277731" y="38263"/>
                  </a:lnTo>
                  <a:lnTo>
                    <a:pt x="1277731" y="83051"/>
                  </a:lnTo>
                  <a:lnTo>
                    <a:pt x="1256987" y="83051"/>
                  </a:lnTo>
                  <a:lnTo>
                    <a:pt x="1256987" y="90916"/>
                  </a:lnTo>
                  <a:lnTo>
                    <a:pt x="1307116" y="90916"/>
                  </a:lnTo>
                  <a:close/>
                  <a:moveTo>
                    <a:pt x="1340955" y="14167"/>
                  </a:moveTo>
                  <a:lnTo>
                    <a:pt x="1340955" y="30566"/>
                  </a:lnTo>
                  <a:lnTo>
                    <a:pt x="1324845" y="30566"/>
                  </a:lnTo>
                  <a:lnTo>
                    <a:pt x="1324845" y="38654"/>
                  </a:lnTo>
                  <a:lnTo>
                    <a:pt x="1340955" y="38654"/>
                  </a:lnTo>
                  <a:lnTo>
                    <a:pt x="1340955" y="72900"/>
                  </a:lnTo>
                  <a:cubicBezTo>
                    <a:pt x="1340955" y="85505"/>
                    <a:pt x="1347930" y="91195"/>
                    <a:pt x="1362927" y="91195"/>
                  </a:cubicBezTo>
                  <a:cubicBezTo>
                    <a:pt x="1365829" y="91195"/>
                    <a:pt x="1373185" y="90916"/>
                    <a:pt x="1374688" y="90637"/>
                  </a:cubicBezTo>
                  <a:lnTo>
                    <a:pt x="1374688" y="82606"/>
                  </a:lnTo>
                  <a:cubicBezTo>
                    <a:pt x="1373071" y="82772"/>
                    <a:pt x="1367000" y="82940"/>
                    <a:pt x="1363593" y="82940"/>
                  </a:cubicBezTo>
                  <a:cubicBezTo>
                    <a:pt x="1355067" y="82940"/>
                    <a:pt x="1350433" y="79370"/>
                    <a:pt x="1350433" y="72789"/>
                  </a:cubicBezTo>
                  <a:lnTo>
                    <a:pt x="1350433" y="38654"/>
                  </a:lnTo>
                  <a:lnTo>
                    <a:pt x="1374860" y="38654"/>
                  </a:lnTo>
                  <a:lnTo>
                    <a:pt x="1374860" y="30566"/>
                  </a:lnTo>
                  <a:lnTo>
                    <a:pt x="1350328" y="30566"/>
                  </a:lnTo>
                  <a:lnTo>
                    <a:pt x="1350328" y="14167"/>
                  </a:lnTo>
                  <a:lnTo>
                    <a:pt x="1340955" y="14167"/>
                  </a:lnTo>
                  <a:close/>
                  <a:moveTo>
                    <a:pt x="1404911" y="112446"/>
                  </a:moveTo>
                  <a:cubicBezTo>
                    <a:pt x="1416120" y="112446"/>
                    <a:pt x="1421192" y="108039"/>
                    <a:pt x="1426493" y="93147"/>
                  </a:cubicBezTo>
                  <a:lnTo>
                    <a:pt x="1449293" y="30399"/>
                  </a:lnTo>
                  <a:lnTo>
                    <a:pt x="1439206" y="30399"/>
                  </a:lnTo>
                  <a:lnTo>
                    <a:pt x="1422306" y="81044"/>
                  </a:lnTo>
                  <a:lnTo>
                    <a:pt x="1421582" y="81044"/>
                  </a:lnTo>
                  <a:lnTo>
                    <a:pt x="1404635" y="30399"/>
                  </a:lnTo>
                  <a:lnTo>
                    <a:pt x="1394320" y="30399"/>
                  </a:lnTo>
                  <a:lnTo>
                    <a:pt x="1416568" y="91306"/>
                  </a:lnTo>
                  <a:lnTo>
                    <a:pt x="1415502" y="94597"/>
                  </a:lnTo>
                  <a:cubicBezTo>
                    <a:pt x="1412999" y="101625"/>
                    <a:pt x="1409878" y="104190"/>
                    <a:pt x="1404187" y="104190"/>
                  </a:cubicBezTo>
                  <a:cubicBezTo>
                    <a:pt x="1403293" y="104190"/>
                    <a:pt x="1401561" y="104135"/>
                    <a:pt x="1400838" y="103968"/>
                  </a:cubicBezTo>
                  <a:lnTo>
                    <a:pt x="1400838" y="112278"/>
                  </a:lnTo>
                  <a:cubicBezTo>
                    <a:pt x="1401675" y="112390"/>
                    <a:pt x="1403521" y="112446"/>
                    <a:pt x="1404911" y="112446"/>
                  </a:cubicBezTo>
                  <a:close/>
                  <a:moveTo>
                    <a:pt x="1566833" y="91920"/>
                  </a:moveTo>
                  <a:cubicBezTo>
                    <a:pt x="1580821" y="91920"/>
                    <a:pt x="1589966" y="81824"/>
                    <a:pt x="1589966" y="66263"/>
                  </a:cubicBezTo>
                  <a:lnTo>
                    <a:pt x="1589966" y="54996"/>
                  </a:lnTo>
                  <a:cubicBezTo>
                    <a:pt x="1589966" y="39490"/>
                    <a:pt x="1580821" y="29394"/>
                    <a:pt x="1566833" y="29394"/>
                  </a:cubicBezTo>
                  <a:cubicBezTo>
                    <a:pt x="1558078" y="29394"/>
                    <a:pt x="1551664" y="33132"/>
                    <a:pt x="1548990" y="39769"/>
                  </a:cubicBezTo>
                  <a:lnTo>
                    <a:pt x="1547981" y="39769"/>
                  </a:lnTo>
                  <a:lnTo>
                    <a:pt x="1547981" y="6638"/>
                  </a:lnTo>
                  <a:lnTo>
                    <a:pt x="1538342" y="6638"/>
                  </a:lnTo>
                  <a:lnTo>
                    <a:pt x="1538342" y="90916"/>
                  </a:lnTo>
                  <a:lnTo>
                    <a:pt x="1547648" y="90916"/>
                  </a:lnTo>
                  <a:lnTo>
                    <a:pt x="1547648" y="81657"/>
                  </a:lnTo>
                  <a:lnTo>
                    <a:pt x="1548705" y="81657"/>
                  </a:lnTo>
                  <a:cubicBezTo>
                    <a:pt x="1551826" y="88350"/>
                    <a:pt x="1558183" y="91920"/>
                    <a:pt x="1566833" y="91920"/>
                  </a:cubicBezTo>
                  <a:close/>
                  <a:moveTo>
                    <a:pt x="1564044" y="83275"/>
                  </a:moveTo>
                  <a:cubicBezTo>
                    <a:pt x="1554119" y="83275"/>
                    <a:pt x="1547763" y="76135"/>
                    <a:pt x="1547763" y="64924"/>
                  </a:cubicBezTo>
                  <a:lnTo>
                    <a:pt x="1547763" y="56223"/>
                  </a:lnTo>
                  <a:cubicBezTo>
                    <a:pt x="1547763" y="45068"/>
                    <a:pt x="1554119" y="37928"/>
                    <a:pt x="1564044" y="37928"/>
                  </a:cubicBezTo>
                  <a:cubicBezTo>
                    <a:pt x="1574074" y="37928"/>
                    <a:pt x="1580431" y="45068"/>
                    <a:pt x="1580431" y="56223"/>
                  </a:cubicBezTo>
                  <a:lnTo>
                    <a:pt x="1580431" y="64924"/>
                  </a:lnTo>
                  <a:cubicBezTo>
                    <a:pt x="1580431" y="76079"/>
                    <a:pt x="1574074" y="83275"/>
                    <a:pt x="1564044" y="83275"/>
                  </a:cubicBezTo>
                  <a:close/>
                  <a:moveTo>
                    <a:pt x="1658385" y="30399"/>
                  </a:moveTo>
                  <a:lnTo>
                    <a:pt x="1648907" y="30399"/>
                  </a:lnTo>
                  <a:lnTo>
                    <a:pt x="1648907" y="66039"/>
                  </a:lnTo>
                  <a:cubicBezTo>
                    <a:pt x="1648907" y="76358"/>
                    <a:pt x="1642217" y="83330"/>
                    <a:pt x="1632235" y="83330"/>
                  </a:cubicBezTo>
                  <a:cubicBezTo>
                    <a:pt x="1622805" y="83330"/>
                    <a:pt x="1618351" y="78199"/>
                    <a:pt x="1618351" y="67266"/>
                  </a:cubicBezTo>
                  <a:lnTo>
                    <a:pt x="1618351" y="30399"/>
                  </a:lnTo>
                  <a:lnTo>
                    <a:pt x="1608874" y="30399"/>
                  </a:lnTo>
                  <a:lnTo>
                    <a:pt x="1608874" y="69665"/>
                  </a:lnTo>
                  <a:cubicBezTo>
                    <a:pt x="1608874" y="84167"/>
                    <a:pt x="1616010" y="92032"/>
                    <a:pt x="1629161" y="92032"/>
                  </a:cubicBezTo>
                  <a:cubicBezTo>
                    <a:pt x="1638363" y="92032"/>
                    <a:pt x="1645281" y="87793"/>
                    <a:pt x="1648516" y="80263"/>
                  </a:cubicBezTo>
                  <a:lnTo>
                    <a:pt x="1649297" y="80263"/>
                  </a:lnTo>
                  <a:lnTo>
                    <a:pt x="1649297" y="90916"/>
                  </a:lnTo>
                  <a:lnTo>
                    <a:pt x="1658385" y="90916"/>
                  </a:lnTo>
                  <a:lnTo>
                    <a:pt x="1658385" y="30399"/>
                  </a:lnTo>
                  <a:close/>
                  <a:moveTo>
                    <a:pt x="1702433" y="113617"/>
                  </a:moveTo>
                  <a:cubicBezTo>
                    <a:pt x="1718820" y="113617"/>
                    <a:pt x="1728526" y="105139"/>
                    <a:pt x="1728526" y="90916"/>
                  </a:cubicBezTo>
                  <a:lnTo>
                    <a:pt x="1728526" y="30399"/>
                  </a:lnTo>
                  <a:lnTo>
                    <a:pt x="1719153" y="30399"/>
                  </a:lnTo>
                  <a:lnTo>
                    <a:pt x="1719153" y="39769"/>
                  </a:lnTo>
                  <a:lnTo>
                    <a:pt x="1718096" y="39769"/>
                  </a:lnTo>
                  <a:cubicBezTo>
                    <a:pt x="1715480" y="33243"/>
                    <a:pt x="1708838" y="29394"/>
                    <a:pt x="1700092" y="29394"/>
                  </a:cubicBezTo>
                  <a:cubicBezTo>
                    <a:pt x="1685923" y="29394"/>
                    <a:pt x="1676674" y="39434"/>
                    <a:pt x="1676674" y="54996"/>
                  </a:cubicBezTo>
                  <a:lnTo>
                    <a:pt x="1676674" y="65872"/>
                  </a:lnTo>
                  <a:cubicBezTo>
                    <a:pt x="1676674" y="81378"/>
                    <a:pt x="1685866" y="91474"/>
                    <a:pt x="1699864" y="91474"/>
                  </a:cubicBezTo>
                  <a:cubicBezTo>
                    <a:pt x="1708676" y="91474"/>
                    <a:pt x="1715365" y="87625"/>
                    <a:pt x="1718039" y="81266"/>
                  </a:cubicBezTo>
                  <a:lnTo>
                    <a:pt x="1719048" y="81266"/>
                  </a:lnTo>
                  <a:lnTo>
                    <a:pt x="1719048" y="90693"/>
                  </a:lnTo>
                  <a:cubicBezTo>
                    <a:pt x="1719048" y="100398"/>
                    <a:pt x="1713196" y="105753"/>
                    <a:pt x="1702595" y="105753"/>
                  </a:cubicBezTo>
                  <a:cubicBezTo>
                    <a:pt x="1694516" y="105753"/>
                    <a:pt x="1688435" y="102462"/>
                    <a:pt x="1687208" y="97441"/>
                  </a:cubicBezTo>
                  <a:lnTo>
                    <a:pt x="1677844" y="97441"/>
                  </a:lnTo>
                  <a:cubicBezTo>
                    <a:pt x="1679072" y="107481"/>
                    <a:pt x="1688435" y="113617"/>
                    <a:pt x="1702433" y="113617"/>
                  </a:cubicBezTo>
                  <a:close/>
                  <a:moveTo>
                    <a:pt x="1686209" y="64533"/>
                  </a:moveTo>
                  <a:lnTo>
                    <a:pt x="1686209" y="56223"/>
                  </a:lnTo>
                  <a:cubicBezTo>
                    <a:pt x="1686209" y="45124"/>
                    <a:pt x="1692670" y="37928"/>
                    <a:pt x="1702709" y="37928"/>
                  </a:cubicBezTo>
                  <a:cubicBezTo>
                    <a:pt x="1712691" y="37928"/>
                    <a:pt x="1719105" y="45068"/>
                    <a:pt x="1719105" y="56223"/>
                  </a:cubicBezTo>
                  <a:lnTo>
                    <a:pt x="1719105" y="64533"/>
                  </a:lnTo>
                  <a:cubicBezTo>
                    <a:pt x="1719105" y="75689"/>
                    <a:pt x="1712691" y="82884"/>
                    <a:pt x="1702709" y="82884"/>
                  </a:cubicBezTo>
                  <a:cubicBezTo>
                    <a:pt x="1692670" y="82884"/>
                    <a:pt x="1686209" y="75633"/>
                    <a:pt x="1686209" y="64533"/>
                  </a:cubicBezTo>
                  <a:close/>
                  <a:moveTo>
                    <a:pt x="1752782" y="46741"/>
                  </a:moveTo>
                  <a:cubicBezTo>
                    <a:pt x="1752782" y="55330"/>
                    <a:pt x="1758187" y="60852"/>
                    <a:pt x="1769111" y="63363"/>
                  </a:cubicBezTo>
                  <a:lnTo>
                    <a:pt x="1778094" y="65426"/>
                  </a:lnTo>
                  <a:cubicBezTo>
                    <a:pt x="1785783" y="67155"/>
                    <a:pt x="1788742" y="69720"/>
                    <a:pt x="1788742" y="74517"/>
                  </a:cubicBezTo>
                  <a:cubicBezTo>
                    <a:pt x="1788742" y="80318"/>
                    <a:pt x="1783499" y="84055"/>
                    <a:pt x="1775248" y="84055"/>
                  </a:cubicBezTo>
                  <a:cubicBezTo>
                    <a:pt x="1767446" y="84055"/>
                    <a:pt x="1762088" y="80821"/>
                    <a:pt x="1760699" y="75243"/>
                  </a:cubicBezTo>
                  <a:lnTo>
                    <a:pt x="1751050" y="75243"/>
                  </a:lnTo>
                  <a:cubicBezTo>
                    <a:pt x="1752106" y="85617"/>
                    <a:pt x="1761194" y="92032"/>
                    <a:pt x="1774916" y="92032"/>
                  </a:cubicBezTo>
                  <a:cubicBezTo>
                    <a:pt x="1789246" y="92032"/>
                    <a:pt x="1798553" y="84781"/>
                    <a:pt x="1798553" y="73625"/>
                  </a:cubicBezTo>
                  <a:cubicBezTo>
                    <a:pt x="1798553" y="64869"/>
                    <a:pt x="1793205" y="59737"/>
                    <a:pt x="1781434" y="57060"/>
                  </a:cubicBezTo>
                  <a:lnTo>
                    <a:pt x="1772908" y="55108"/>
                  </a:lnTo>
                  <a:cubicBezTo>
                    <a:pt x="1765323" y="53434"/>
                    <a:pt x="1762202" y="50812"/>
                    <a:pt x="1762202" y="46183"/>
                  </a:cubicBezTo>
                  <a:cubicBezTo>
                    <a:pt x="1762202" y="40661"/>
                    <a:pt x="1767160" y="37092"/>
                    <a:pt x="1774858" y="37092"/>
                  </a:cubicBezTo>
                  <a:cubicBezTo>
                    <a:pt x="1781938" y="37092"/>
                    <a:pt x="1787010" y="40326"/>
                    <a:pt x="1788133" y="45625"/>
                  </a:cubicBezTo>
                  <a:lnTo>
                    <a:pt x="1797268" y="45625"/>
                  </a:lnTo>
                  <a:cubicBezTo>
                    <a:pt x="1796155" y="35529"/>
                    <a:pt x="1787629" y="29227"/>
                    <a:pt x="1775030" y="29227"/>
                  </a:cubicBezTo>
                  <a:cubicBezTo>
                    <a:pt x="1761698" y="29227"/>
                    <a:pt x="1752782" y="36255"/>
                    <a:pt x="1752782" y="46741"/>
                  </a:cubicBezTo>
                  <a:close/>
                  <a:moveTo>
                    <a:pt x="10096" y="248318"/>
                  </a:moveTo>
                  <a:cubicBezTo>
                    <a:pt x="15616" y="248318"/>
                    <a:pt x="20183" y="243632"/>
                    <a:pt x="20183" y="237999"/>
                  </a:cubicBezTo>
                  <a:cubicBezTo>
                    <a:pt x="20183" y="232365"/>
                    <a:pt x="15616" y="227680"/>
                    <a:pt x="10096" y="227680"/>
                  </a:cubicBezTo>
                  <a:cubicBezTo>
                    <a:pt x="4577" y="227680"/>
                    <a:pt x="0" y="232365"/>
                    <a:pt x="0" y="237999"/>
                  </a:cubicBezTo>
                  <a:cubicBezTo>
                    <a:pt x="0" y="243632"/>
                    <a:pt x="4577" y="248318"/>
                    <a:pt x="10096" y="248318"/>
                  </a:cubicBezTo>
                  <a:close/>
                  <a:moveTo>
                    <a:pt x="10096" y="291154"/>
                  </a:moveTo>
                  <a:cubicBezTo>
                    <a:pt x="15616" y="291154"/>
                    <a:pt x="20183" y="286524"/>
                    <a:pt x="20183" y="280835"/>
                  </a:cubicBezTo>
                  <a:cubicBezTo>
                    <a:pt x="20183" y="275202"/>
                    <a:pt x="15616" y="270572"/>
                    <a:pt x="10096" y="270572"/>
                  </a:cubicBezTo>
                  <a:cubicBezTo>
                    <a:pt x="4577" y="270572"/>
                    <a:pt x="0" y="275202"/>
                    <a:pt x="0" y="280835"/>
                  </a:cubicBezTo>
                  <a:cubicBezTo>
                    <a:pt x="0" y="286524"/>
                    <a:pt x="4577" y="291154"/>
                    <a:pt x="10096" y="291154"/>
                  </a:cubicBezTo>
                  <a:close/>
                </a:path>
              </a:pathLst>
            </a:custGeom>
            <a:solidFill>
              <a:srgbClr val="FFFFFF"/>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sp>
          <p:nvSpPr>
            <p:cNvPr id="629" name="Google Shape;629;p68"/>
            <p:cNvSpPr/>
            <p:nvPr/>
          </p:nvSpPr>
          <p:spPr>
            <a:xfrm>
              <a:off x="4796385" y="2821973"/>
              <a:ext cx="5385971" cy="3940946"/>
            </a:xfrm>
            <a:custGeom>
              <a:avLst/>
              <a:gdLst/>
              <a:ahLst/>
              <a:cxnLst/>
              <a:rect l="l" t="t" r="r" b="b"/>
              <a:pathLst>
                <a:path w="5385971" h="3940946" extrusionOk="0">
                  <a:moveTo>
                    <a:pt x="66611" y="19038"/>
                  </a:moveTo>
                  <a:lnTo>
                    <a:pt x="5319360" y="19038"/>
                  </a:lnTo>
                  <a:lnTo>
                    <a:pt x="5319360" y="0"/>
                  </a:lnTo>
                  <a:lnTo>
                    <a:pt x="66611" y="0"/>
                  </a:lnTo>
                  <a:lnTo>
                    <a:pt x="66611" y="19038"/>
                  </a:lnTo>
                  <a:close/>
                  <a:moveTo>
                    <a:pt x="5366940" y="66634"/>
                  </a:moveTo>
                  <a:lnTo>
                    <a:pt x="5366940" y="3874313"/>
                  </a:lnTo>
                  <a:lnTo>
                    <a:pt x="5385971" y="3874313"/>
                  </a:lnTo>
                  <a:lnTo>
                    <a:pt x="5385971" y="66634"/>
                  </a:lnTo>
                  <a:lnTo>
                    <a:pt x="5366940" y="66634"/>
                  </a:lnTo>
                  <a:close/>
                  <a:moveTo>
                    <a:pt x="5319360" y="3921909"/>
                  </a:moveTo>
                  <a:lnTo>
                    <a:pt x="66611" y="3921909"/>
                  </a:lnTo>
                  <a:lnTo>
                    <a:pt x="66611" y="3940947"/>
                  </a:lnTo>
                  <a:lnTo>
                    <a:pt x="5319360" y="3940947"/>
                  </a:lnTo>
                  <a:lnTo>
                    <a:pt x="5319360" y="3921909"/>
                  </a:lnTo>
                  <a:close/>
                  <a:moveTo>
                    <a:pt x="19032" y="3874313"/>
                  </a:moveTo>
                  <a:lnTo>
                    <a:pt x="19032" y="66634"/>
                  </a:lnTo>
                  <a:lnTo>
                    <a:pt x="0" y="66634"/>
                  </a:lnTo>
                  <a:lnTo>
                    <a:pt x="0" y="3874313"/>
                  </a:lnTo>
                  <a:lnTo>
                    <a:pt x="19032" y="3874313"/>
                  </a:lnTo>
                  <a:close/>
                  <a:moveTo>
                    <a:pt x="66611" y="3921909"/>
                  </a:moveTo>
                  <a:cubicBezTo>
                    <a:pt x="40334" y="3921909"/>
                    <a:pt x="19032" y="3900595"/>
                    <a:pt x="19032" y="3874313"/>
                  </a:cubicBezTo>
                  <a:lnTo>
                    <a:pt x="0" y="3874313"/>
                  </a:lnTo>
                  <a:cubicBezTo>
                    <a:pt x="0" y="3911114"/>
                    <a:pt x="29823" y="3940947"/>
                    <a:pt x="66611" y="3940947"/>
                  </a:cubicBezTo>
                  <a:lnTo>
                    <a:pt x="66611" y="3921909"/>
                  </a:lnTo>
                  <a:close/>
                  <a:moveTo>
                    <a:pt x="5366940" y="3874313"/>
                  </a:moveTo>
                  <a:cubicBezTo>
                    <a:pt x="5366940" y="3900595"/>
                    <a:pt x="5345634" y="3921909"/>
                    <a:pt x="5319360" y="3921909"/>
                  </a:cubicBezTo>
                  <a:lnTo>
                    <a:pt x="5319360" y="3940947"/>
                  </a:lnTo>
                  <a:cubicBezTo>
                    <a:pt x="5356149" y="3940947"/>
                    <a:pt x="5385971" y="3911114"/>
                    <a:pt x="5385971" y="3874313"/>
                  </a:cubicBezTo>
                  <a:lnTo>
                    <a:pt x="5366940" y="3874313"/>
                  </a:lnTo>
                  <a:close/>
                  <a:moveTo>
                    <a:pt x="5319360" y="19038"/>
                  </a:moveTo>
                  <a:cubicBezTo>
                    <a:pt x="5345634" y="19038"/>
                    <a:pt x="5366940" y="40348"/>
                    <a:pt x="5366940" y="66634"/>
                  </a:cubicBezTo>
                  <a:lnTo>
                    <a:pt x="5385971" y="66634"/>
                  </a:lnTo>
                  <a:cubicBezTo>
                    <a:pt x="5385971" y="29833"/>
                    <a:pt x="5356149" y="0"/>
                    <a:pt x="5319360" y="0"/>
                  </a:cubicBezTo>
                  <a:lnTo>
                    <a:pt x="5319360" y="19038"/>
                  </a:lnTo>
                  <a:close/>
                  <a:moveTo>
                    <a:pt x="66611" y="0"/>
                  </a:moveTo>
                  <a:cubicBezTo>
                    <a:pt x="29823" y="0"/>
                    <a:pt x="0" y="29833"/>
                    <a:pt x="0" y="66634"/>
                  </a:cubicBezTo>
                  <a:lnTo>
                    <a:pt x="19032" y="66634"/>
                  </a:lnTo>
                  <a:cubicBezTo>
                    <a:pt x="19032" y="40348"/>
                    <a:pt x="40334" y="19038"/>
                    <a:pt x="66611" y="19038"/>
                  </a:cubicBezTo>
                  <a:lnTo>
                    <a:pt x="66611" y="0"/>
                  </a:lnTo>
                  <a:close/>
                </a:path>
              </a:pathLst>
            </a:custGeom>
            <a:solidFill>
              <a:srgbClr val="000000">
                <a:alpha val="29411"/>
              </a:srgbClr>
            </a:solidFill>
            <a:ln>
              <a:noFill/>
            </a:ln>
          </p:spPr>
          <p:txBody>
            <a:bodyPr spcFirstLastPara="1" wrap="square" lIns="34275" tIns="17150" rIns="34275" bIns="17150"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1" i="0" u="none" strike="noStrike" cap="none">
                <a:solidFill>
                  <a:srgbClr val="F0F6FC"/>
                </a:solidFill>
                <a:latin typeface="Arial"/>
                <a:ea typeface="Arial"/>
                <a:cs typeface="Arial"/>
                <a:sym typeface="Arial"/>
              </a:endParaRPr>
            </a:p>
          </p:txBody>
        </p:sp>
      </p:grpSp>
      <p:sp>
        <p:nvSpPr>
          <p:cNvPr id="630" name="Google Shape;630;p68"/>
          <p:cNvSpPr/>
          <p:nvPr/>
        </p:nvSpPr>
        <p:spPr>
          <a:xfrm>
            <a:off x="432455" y="1041400"/>
            <a:ext cx="5626100" cy="404784"/>
          </a:xfrm>
          <a:prstGeom prst="rect">
            <a:avLst/>
          </a:prstGeom>
          <a:solidFill>
            <a:srgbClr val="161B2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631" name="Google Shape;631;p68"/>
          <p:cNvSpPr/>
          <p:nvPr/>
        </p:nvSpPr>
        <p:spPr>
          <a:xfrm>
            <a:off x="1350460" y="1500676"/>
            <a:ext cx="3759200" cy="298635"/>
          </a:xfrm>
          <a:prstGeom prst="rect">
            <a:avLst/>
          </a:prstGeom>
          <a:solidFill>
            <a:srgbClr val="161B2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632" name="Google Shape;632;p68"/>
          <p:cNvSpPr txBox="1">
            <a:spLocks noGrp="1"/>
          </p:cNvSpPr>
          <p:nvPr>
            <p:ph type="subTitle" idx="1"/>
          </p:nvPr>
        </p:nvSpPr>
        <p:spPr>
          <a:xfrm>
            <a:off x="609600" y="1109472"/>
            <a:ext cx="4096400" cy="3292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200"/>
              <a:buFont typeface="Arial"/>
              <a:buNone/>
              <a:defRPr sz="1599">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200"/>
              <a:buFont typeface="Arial"/>
              <a:buNone/>
              <a:defRPr sz="1599" b="1">
                <a:solidFill>
                  <a:schemeClr val="dk1"/>
                </a:solidFill>
              </a:defRPr>
            </a:lvl2pPr>
            <a:lvl3pPr lvl="2" algn="l">
              <a:lnSpc>
                <a:spcPct val="90000"/>
              </a:lnSpc>
              <a:spcBef>
                <a:spcPts val="0"/>
              </a:spcBef>
              <a:spcAft>
                <a:spcPts val="0"/>
              </a:spcAft>
              <a:buClr>
                <a:schemeClr val="dk1"/>
              </a:buClr>
              <a:buSzPts val="1200"/>
              <a:buFont typeface="Arial"/>
              <a:buNone/>
              <a:defRPr sz="1599" b="1">
                <a:solidFill>
                  <a:schemeClr val="dk1"/>
                </a:solidFill>
              </a:defRPr>
            </a:lvl3pPr>
            <a:lvl4pPr lvl="3" algn="l">
              <a:lnSpc>
                <a:spcPct val="90000"/>
              </a:lnSpc>
              <a:spcBef>
                <a:spcPts val="0"/>
              </a:spcBef>
              <a:spcAft>
                <a:spcPts val="0"/>
              </a:spcAft>
              <a:buClr>
                <a:schemeClr val="dk1"/>
              </a:buClr>
              <a:buSzPts val="1200"/>
              <a:buFont typeface="Arial"/>
              <a:buNone/>
              <a:defRPr sz="1599" b="1">
                <a:solidFill>
                  <a:schemeClr val="dk1"/>
                </a:solidFill>
              </a:defRPr>
            </a:lvl4pPr>
            <a:lvl5pPr lvl="4" algn="l">
              <a:lnSpc>
                <a:spcPct val="90000"/>
              </a:lnSpc>
              <a:spcBef>
                <a:spcPts val="0"/>
              </a:spcBef>
              <a:spcAft>
                <a:spcPts val="0"/>
              </a:spcAft>
              <a:buClr>
                <a:schemeClr val="dk1"/>
              </a:buClr>
              <a:buSzPts val="1200"/>
              <a:buFont typeface="Arial"/>
              <a:buNone/>
              <a:defRPr sz="1599" b="1">
                <a:solidFill>
                  <a:schemeClr val="dk1"/>
                </a:solidFill>
              </a:defRPr>
            </a:lvl5pPr>
            <a:lvl6pPr lvl="5" algn="l">
              <a:lnSpc>
                <a:spcPct val="90000"/>
              </a:lnSpc>
              <a:spcBef>
                <a:spcPts val="0"/>
              </a:spcBef>
              <a:spcAft>
                <a:spcPts val="0"/>
              </a:spcAft>
              <a:buClr>
                <a:schemeClr val="dk1"/>
              </a:buClr>
              <a:buSzPts val="1200"/>
              <a:buNone/>
              <a:defRPr sz="1599" b="1">
                <a:solidFill>
                  <a:schemeClr val="dk1"/>
                </a:solidFill>
              </a:defRPr>
            </a:lvl6pPr>
            <a:lvl7pPr lvl="6" algn="l">
              <a:lnSpc>
                <a:spcPct val="90000"/>
              </a:lnSpc>
              <a:spcBef>
                <a:spcPts val="0"/>
              </a:spcBef>
              <a:spcAft>
                <a:spcPts val="0"/>
              </a:spcAft>
              <a:buClr>
                <a:schemeClr val="dk1"/>
              </a:buClr>
              <a:buSzPts val="1200"/>
              <a:buNone/>
              <a:defRPr sz="1599" b="1">
                <a:solidFill>
                  <a:schemeClr val="dk1"/>
                </a:solidFill>
              </a:defRPr>
            </a:lvl7pPr>
            <a:lvl8pPr lvl="7" algn="l">
              <a:lnSpc>
                <a:spcPct val="90000"/>
              </a:lnSpc>
              <a:spcBef>
                <a:spcPts val="0"/>
              </a:spcBef>
              <a:spcAft>
                <a:spcPts val="0"/>
              </a:spcAft>
              <a:buClr>
                <a:schemeClr val="dk1"/>
              </a:buClr>
              <a:buSzPts val="1200"/>
              <a:buNone/>
              <a:defRPr sz="1599" b="1">
                <a:solidFill>
                  <a:schemeClr val="dk1"/>
                </a:solidFill>
              </a:defRPr>
            </a:lvl8pPr>
            <a:lvl9pPr lvl="8" algn="l">
              <a:lnSpc>
                <a:spcPct val="90000"/>
              </a:lnSpc>
              <a:spcBef>
                <a:spcPts val="0"/>
              </a:spcBef>
              <a:spcAft>
                <a:spcPts val="0"/>
              </a:spcAft>
              <a:buClr>
                <a:schemeClr val="dk1"/>
              </a:buClr>
              <a:buSzPts val="1200"/>
              <a:buNone/>
              <a:defRPr sz="1599" b="1">
                <a:solidFill>
                  <a:schemeClr val="dk1"/>
                </a:solidFill>
              </a:defRPr>
            </a:lvl9pPr>
          </a:lstStyle>
          <a:p>
            <a:endParaRPr/>
          </a:p>
        </p:txBody>
      </p:sp>
      <p:sp>
        <p:nvSpPr>
          <p:cNvPr id="633" name="Google Shape;633;p68"/>
          <p:cNvSpPr txBox="1">
            <a:spLocks noGrp="1"/>
          </p:cNvSpPr>
          <p:nvPr>
            <p:ph type="subTitle" idx="2"/>
          </p:nvPr>
        </p:nvSpPr>
        <p:spPr>
          <a:xfrm>
            <a:off x="1353312" y="1560577"/>
            <a:ext cx="5303600" cy="3292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000"/>
              <a:buFont typeface="Courier New"/>
              <a:buNone/>
              <a:defRPr sz="1332">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2pPr>
            <a:lvl3pPr lvl="2"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3pPr>
            <a:lvl4pPr lvl="3"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4pPr>
            <a:lvl5pPr lvl="4"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5pPr>
            <a:lvl6pPr lvl="5"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6pPr>
            <a:lvl7pPr lvl="6"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7pPr>
            <a:lvl8pPr lvl="7"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8pPr>
            <a:lvl9pPr lvl="8"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9pPr>
          </a:lstStyle>
          <a:p>
            <a:endParaRPr/>
          </a:p>
        </p:txBody>
      </p:sp>
      <p:sp>
        <p:nvSpPr>
          <p:cNvPr id="634" name="Google Shape;634;p68"/>
          <p:cNvSpPr txBox="1">
            <a:spLocks noGrp="1"/>
          </p:cNvSpPr>
          <p:nvPr>
            <p:ph type="subTitle" idx="3"/>
          </p:nvPr>
        </p:nvSpPr>
        <p:spPr>
          <a:xfrm>
            <a:off x="1353312" y="1853184"/>
            <a:ext cx="5303600" cy="3682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000"/>
              <a:buFont typeface="Courier New"/>
              <a:buNone/>
              <a:defRPr sz="1332">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2pPr>
            <a:lvl3pPr lvl="2"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3pPr>
            <a:lvl4pPr lvl="3"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4pPr>
            <a:lvl5pPr lvl="4"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5pPr>
            <a:lvl6pPr lvl="5"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6pPr>
            <a:lvl7pPr lvl="6"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7pPr>
            <a:lvl8pPr lvl="7"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8pPr>
            <a:lvl9pPr lvl="8" algn="l">
              <a:lnSpc>
                <a:spcPct val="90000"/>
              </a:lnSpc>
              <a:spcBef>
                <a:spcPts val="0"/>
              </a:spcBef>
              <a:spcAft>
                <a:spcPts val="0"/>
              </a:spcAft>
              <a:buClr>
                <a:schemeClr val="dk1"/>
              </a:buClr>
              <a:buSzPts val="1000"/>
              <a:buFont typeface="Courier New"/>
              <a:buNone/>
              <a:defRPr sz="1332">
                <a:solidFill>
                  <a:schemeClr val="dk1"/>
                </a:solidFill>
                <a:latin typeface="Courier New"/>
                <a:ea typeface="Courier New"/>
                <a:cs typeface="Courier New"/>
                <a:sym typeface="Courier New"/>
              </a:defRPr>
            </a:lvl9pPr>
          </a:lstStyle>
          <a:p>
            <a:endParaRPr/>
          </a:p>
        </p:txBody>
      </p:sp>
      <p:sp>
        <p:nvSpPr>
          <p:cNvPr id="635" name="Google Shape;635;p68"/>
          <p:cNvSpPr txBox="1">
            <a:spLocks noGrp="1"/>
          </p:cNvSpPr>
          <p:nvPr>
            <p:ph type="subTitle" idx="4"/>
          </p:nvPr>
        </p:nvSpPr>
        <p:spPr>
          <a:xfrm>
            <a:off x="7124200" y="33528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636" name="Google Shape;636;p68"/>
          <p:cNvSpPr txBox="1">
            <a:spLocks noGrp="1"/>
          </p:cNvSpPr>
          <p:nvPr>
            <p:ph type="subTitle" idx="5"/>
          </p:nvPr>
        </p:nvSpPr>
        <p:spPr>
          <a:xfrm>
            <a:off x="7124200" y="3771901"/>
            <a:ext cx="4597200" cy="70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Tree>
    <p:extLst>
      <p:ext uri="{BB962C8B-B14F-4D97-AF65-F5344CB8AC3E}">
        <p14:creationId xmlns:p14="http://schemas.microsoft.com/office/powerpoint/2010/main" val="1962803417"/>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matchingName="64. One quote">
  <p:cSld name="64. One quote">
    <p:spTree>
      <p:nvGrpSpPr>
        <p:cNvPr id="1" name="Shape 637"/>
        <p:cNvGrpSpPr/>
        <p:nvPr/>
      </p:nvGrpSpPr>
      <p:grpSpPr>
        <a:xfrm>
          <a:off x="0" y="0"/>
          <a:ext cx="0" cy="0"/>
          <a:chOff x="0" y="0"/>
          <a:chExt cx="0" cy="0"/>
        </a:xfrm>
      </p:grpSpPr>
      <p:sp>
        <p:nvSpPr>
          <p:cNvPr id="638" name="Google Shape;638;p69"/>
          <p:cNvSpPr/>
          <p:nvPr/>
        </p:nvSpPr>
        <p:spPr>
          <a:xfrm>
            <a:off x="962878" y="854529"/>
            <a:ext cx="10266244" cy="5303626"/>
          </a:xfrm>
          <a:prstGeom prst="roundRect">
            <a:avLst>
              <a:gd name="adj" fmla="val 2079"/>
            </a:avLst>
          </a:prstGeom>
          <a:gradFill>
            <a:gsLst>
              <a:gs pos="0">
                <a:schemeClr val="accent6"/>
              </a:gs>
              <a:gs pos="100000">
                <a:schemeClr val="accent1"/>
              </a:gs>
            </a:gsLst>
            <a:lin ang="8099331"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639" name="Google Shape;639;p69"/>
          <p:cNvSpPr>
            <a:spLocks noGrp="1"/>
          </p:cNvSpPr>
          <p:nvPr>
            <p:ph type="pic" idx="2"/>
          </p:nvPr>
        </p:nvSpPr>
        <p:spPr>
          <a:xfrm>
            <a:off x="5524497" y="3600629"/>
            <a:ext cx="1143000" cy="1143000"/>
          </a:xfrm>
          <a:prstGeom prst="ellipse">
            <a:avLst/>
          </a:prstGeom>
          <a:noFill/>
          <a:ln w="19050" cap="flat" cmpd="sng">
            <a:solidFill>
              <a:schemeClr val="dk1"/>
            </a:solidFill>
            <a:prstDash val="solid"/>
            <a:round/>
            <a:headEnd type="none" w="sm" len="sm"/>
            <a:tailEnd type="none" w="sm" len="sm"/>
          </a:ln>
          <a:effectLst>
            <a:reflection stA="20000" endPos="16000" dist="28575" dir="5400000" sy="-100000" algn="bl" rotWithShape="0"/>
          </a:effectLst>
        </p:spPr>
      </p:sp>
      <p:sp>
        <p:nvSpPr>
          <p:cNvPr id="640" name="Google Shape;640;p69"/>
          <p:cNvSpPr txBox="1"/>
          <p:nvPr/>
        </p:nvSpPr>
        <p:spPr>
          <a:xfrm>
            <a:off x="5695961" y="925648"/>
            <a:ext cx="800000" cy="1747501"/>
          </a:xfrm>
          <a:prstGeom prst="rect">
            <a:avLst/>
          </a:prstGeom>
          <a:noFill/>
          <a:ln>
            <a:noFill/>
          </a:ln>
        </p:spPr>
        <p:txBody>
          <a:bodyPr spcFirstLastPara="1" wrap="square" lIns="45658" tIns="22846" rIns="45658" bIns="22846" anchor="t" anchorCtr="0">
            <a:spAutoFit/>
          </a:bodyPr>
          <a:lstStyle/>
          <a:p>
            <a:pPr marL="0" marR="0" lvl="0" indent="0" algn="l" rtl="0">
              <a:lnSpc>
                <a:spcPct val="100000"/>
              </a:lnSpc>
              <a:spcBef>
                <a:spcPts val="0"/>
              </a:spcBef>
              <a:spcAft>
                <a:spcPts val="0"/>
              </a:spcAft>
              <a:buClr>
                <a:schemeClr val="lt1"/>
              </a:buClr>
              <a:buSzPts val="8300"/>
              <a:buFont typeface="Arial"/>
              <a:buNone/>
            </a:pPr>
            <a:r>
              <a:rPr lang="en-US" sz="11056" b="1" i="0" u="none" strike="noStrike" cap="none">
                <a:solidFill>
                  <a:schemeClr val="dk1"/>
                </a:solidFill>
                <a:latin typeface="Arial"/>
                <a:ea typeface="Arial"/>
                <a:cs typeface="Arial"/>
                <a:sym typeface="Arial"/>
              </a:rPr>
              <a:t>“</a:t>
            </a:r>
            <a:endParaRPr sz="11056" b="1" i="0" u="none" strike="noStrike" cap="none">
              <a:solidFill>
                <a:schemeClr val="dk1"/>
              </a:solidFill>
              <a:latin typeface="Arial"/>
              <a:ea typeface="Arial"/>
              <a:cs typeface="Arial"/>
              <a:sym typeface="Arial"/>
            </a:endParaRPr>
          </a:p>
        </p:txBody>
      </p:sp>
      <p:sp>
        <p:nvSpPr>
          <p:cNvPr id="641" name="Google Shape;641;p69"/>
          <p:cNvSpPr txBox="1">
            <a:spLocks noGrp="1"/>
          </p:cNvSpPr>
          <p:nvPr>
            <p:ph type="subTitle" idx="1"/>
          </p:nvPr>
        </p:nvSpPr>
        <p:spPr>
          <a:xfrm>
            <a:off x="3742944" y="5303030"/>
            <a:ext cx="4718400" cy="451200"/>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000"/>
              <a:buFont typeface="Roboto Mono"/>
              <a:buNone/>
              <a:defRPr sz="1332">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2pPr>
            <a:lvl3pPr lvl="2"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3pPr>
            <a:lvl4pPr lvl="3"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4pPr>
            <a:lvl5pPr lvl="4"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5pPr>
            <a:lvl6pPr lvl="5"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6pPr>
            <a:lvl7pPr lvl="6"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7pPr>
            <a:lvl8pPr lvl="7"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8pPr>
            <a:lvl9pPr lvl="8"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9pPr>
          </a:lstStyle>
          <a:p>
            <a:endParaRPr/>
          </a:p>
        </p:txBody>
      </p:sp>
      <p:sp>
        <p:nvSpPr>
          <p:cNvPr id="642" name="Google Shape;642;p69"/>
          <p:cNvSpPr txBox="1">
            <a:spLocks noGrp="1"/>
          </p:cNvSpPr>
          <p:nvPr>
            <p:ph type="subTitle" idx="3"/>
          </p:nvPr>
        </p:nvSpPr>
        <p:spPr>
          <a:xfrm>
            <a:off x="3742944" y="4937270"/>
            <a:ext cx="4718400" cy="329200"/>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200"/>
              <a:buFont typeface="Arial"/>
              <a:buNone/>
              <a:defRPr sz="1865">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200"/>
              <a:buFont typeface="Arial"/>
              <a:buNone/>
              <a:defRPr sz="1599">
                <a:solidFill>
                  <a:schemeClr val="dk1"/>
                </a:solidFill>
              </a:defRPr>
            </a:lvl2pPr>
            <a:lvl3pPr lvl="2" algn="ctr">
              <a:lnSpc>
                <a:spcPct val="90000"/>
              </a:lnSpc>
              <a:spcBef>
                <a:spcPts val="0"/>
              </a:spcBef>
              <a:spcAft>
                <a:spcPts val="0"/>
              </a:spcAft>
              <a:buClr>
                <a:schemeClr val="dk1"/>
              </a:buClr>
              <a:buSzPts val="1200"/>
              <a:buFont typeface="Arial"/>
              <a:buNone/>
              <a:defRPr sz="1599">
                <a:solidFill>
                  <a:schemeClr val="dk1"/>
                </a:solidFill>
              </a:defRPr>
            </a:lvl3pPr>
            <a:lvl4pPr lvl="3" algn="ctr">
              <a:lnSpc>
                <a:spcPct val="90000"/>
              </a:lnSpc>
              <a:spcBef>
                <a:spcPts val="0"/>
              </a:spcBef>
              <a:spcAft>
                <a:spcPts val="0"/>
              </a:spcAft>
              <a:buClr>
                <a:schemeClr val="dk1"/>
              </a:buClr>
              <a:buSzPts val="1200"/>
              <a:buFont typeface="Arial"/>
              <a:buNone/>
              <a:defRPr sz="1599">
                <a:solidFill>
                  <a:schemeClr val="dk1"/>
                </a:solidFill>
              </a:defRPr>
            </a:lvl4pPr>
            <a:lvl5pPr lvl="4" algn="ctr">
              <a:lnSpc>
                <a:spcPct val="90000"/>
              </a:lnSpc>
              <a:spcBef>
                <a:spcPts val="0"/>
              </a:spcBef>
              <a:spcAft>
                <a:spcPts val="0"/>
              </a:spcAft>
              <a:buClr>
                <a:schemeClr val="dk1"/>
              </a:buClr>
              <a:buSzPts val="1200"/>
              <a:buFont typeface="Arial"/>
              <a:buNone/>
              <a:defRPr sz="1599">
                <a:solidFill>
                  <a:schemeClr val="dk1"/>
                </a:solidFill>
              </a:defRPr>
            </a:lvl5pPr>
            <a:lvl6pPr lvl="5" algn="ctr">
              <a:lnSpc>
                <a:spcPct val="90000"/>
              </a:lnSpc>
              <a:spcBef>
                <a:spcPts val="0"/>
              </a:spcBef>
              <a:spcAft>
                <a:spcPts val="0"/>
              </a:spcAft>
              <a:buClr>
                <a:schemeClr val="dk1"/>
              </a:buClr>
              <a:buSzPts val="1200"/>
              <a:buNone/>
              <a:defRPr sz="1599">
                <a:solidFill>
                  <a:schemeClr val="dk1"/>
                </a:solidFill>
              </a:defRPr>
            </a:lvl6pPr>
            <a:lvl7pPr lvl="6" algn="ctr">
              <a:lnSpc>
                <a:spcPct val="90000"/>
              </a:lnSpc>
              <a:spcBef>
                <a:spcPts val="0"/>
              </a:spcBef>
              <a:spcAft>
                <a:spcPts val="0"/>
              </a:spcAft>
              <a:buClr>
                <a:schemeClr val="dk1"/>
              </a:buClr>
              <a:buSzPts val="1200"/>
              <a:buNone/>
              <a:defRPr sz="1599">
                <a:solidFill>
                  <a:schemeClr val="dk1"/>
                </a:solidFill>
              </a:defRPr>
            </a:lvl7pPr>
            <a:lvl8pPr lvl="7" algn="ctr">
              <a:lnSpc>
                <a:spcPct val="90000"/>
              </a:lnSpc>
              <a:spcBef>
                <a:spcPts val="0"/>
              </a:spcBef>
              <a:spcAft>
                <a:spcPts val="0"/>
              </a:spcAft>
              <a:buClr>
                <a:schemeClr val="dk1"/>
              </a:buClr>
              <a:buSzPts val="1200"/>
              <a:buNone/>
              <a:defRPr sz="1599">
                <a:solidFill>
                  <a:schemeClr val="dk1"/>
                </a:solidFill>
              </a:defRPr>
            </a:lvl8pPr>
            <a:lvl9pPr lvl="8" algn="ctr">
              <a:lnSpc>
                <a:spcPct val="90000"/>
              </a:lnSpc>
              <a:spcBef>
                <a:spcPts val="0"/>
              </a:spcBef>
              <a:spcAft>
                <a:spcPts val="0"/>
              </a:spcAft>
              <a:buClr>
                <a:schemeClr val="dk1"/>
              </a:buClr>
              <a:buSzPts val="1200"/>
              <a:buNone/>
              <a:defRPr sz="1599">
                <a:solidFill>
                  <a:schemeClr val="dk1"/>
                </a:solidFill>
              </a:defRPr>
            </a:lvl9pPr>
          </a:lstStyle>
          <a:p>
            <a:endParaRPr/>
          </a:p>
        </p:txBody>
      </p:sp>
      <p:sp>
        <p:nvSpPr>
          <p:cNvPr id="643" name="Google Shape;643;p69"/>
          <p:cNvSpPr txBox="1">
            <a:spLocks noGrp="1"/>
          </p:cNvSpPr>
          <p:nvPr>
            <p:ph type="body" idx="4"/>
          </p:nvPr>
        </p:nvSpPr>
        <p:spPr>
          <a:xfrm>
            <a:off x="2660613" y="1761906"/>
            <a:ext cx="6870700" cy="1802162"/>
          </a:xfrm>
          <a:prstGeom prst="rect">
            <a:avLst/>
          </a:prstGeom>
          <a:noFill/>
          <a:ln>
            <a:noFill/>
          </a:ln>
        </p:spPr>
        <p:txBody>
          <a:bodyPr spcFirstLastPara="1" wrap="square" lIns="91425" tIns="45700" rIns="91425" bIns="45700" anchor="ctr" anchorCtr="0">
            <a:normAutofit/>
          </a:bodyPr>
          <a:lstStyle>
            <a:lvl1pPr marL="609036" lvl="0" indent="-304518" algn="ctr">
              <a:lnSpc>
                <a:spcPct val="90000"/>
              </a:lnSpc>
              <a:spcBef>
                <a:spcPts val="999"/>
              </a:spcBef>
              <a:spcAft>
                <a:spcPts val="0"/>
              </a:spcAft>
              <a:buClr>
                <a:schemeClr val="dk1"/>
              </a:buClr>
              <a:buSzPts val="1600"/>
              <a:buFont typeface="Arial"/>
              <a:buNone/>
              <a:defRPr sz="2131">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16459931"/>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matchingName="65. One quote">
  <p:cSld name="65. One quote">
    <p:spTree>
      <p:nvGrpSpPr>
        <p:cNvPr id="1" name="Shape 644"/>
        <p:cNvGrpSpPr/>
        <p:nvPr/>
      </p:nvGrpSpPr>
      <p:grpSpPr>
        <a:xfrm>
          <a:off x="0" y="0"/>
          <a:ext cx="0" cy="0"/>
          <a:chOff x="0" y="0"/>
          <a:chExt cx="0" cy="0"/>
        </a:xfrm>
      </p:grpSpPr>
      <p:sp>
        <p:nvSpPr>
          <p:cNvPr id="645" name="Google Shape;645;p70"/>
          <p:cNvSpPr/>
          <p:nvPr/>
        </p:nvSpPr>
        <p:spPr>
          <a:xfrm>
            <a:off x="962876" y="854527"/>
            <a:ext cx="10266400" cy="5148800"/>
          </a:xfrm>
          <a:prstGeom prst="roundRect">
            <a:avLst>
              <a:gd name="adj" fmla="val 2079"/>
            </a:avLst>
          </a:prstGeom>
          <a:gradFill>
            <a:gsLst>
              <a:gs pos="0">
                <a:srgbClr val="A371F7"/>
              </a:gs>
              <a:gs pos="55000">
                <a:schemeClr val="accent4"/>
              </a:gs>
              <a:gs pos="100000">
                <a:srgbClr val="388BFD"/>
              </a:gs>
            </a:gsLst>
            <a:lin ang="3600008"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646" name="Google Shape;646;p70"/>
          <p:cNvSpPr>
            <a:spLocks noGrp="1"/>
          </p:cNvSpPr>
          <p:nvPr>
            <p:ph type="pic" idx="2"/>
          </p:nvPr>
        </p:nvSpPr>
        <p:spPr>
          <a:xfrm>
            <a:off x="5524497" y="3600629"/>
            <a:ext cx="1143000" cy="1143000"/>
          </a:xfrm>
          <a:prstGeom prst="ellipse">
            <a:avLst/>
          </a:prstGeom>
          <a:noFill/>
          <a:ln w="19050" cap="flat" cmpd="sng">
            <a:solidFill>
              <a:schemeClr val="dk1"/>
            </a:solidFill>
            <a:prstDash val="solid"/>
            <a:round/>
            <a:headEnd type="none" w="sm" len="sm"/>
            <a:tailEnd type="none" w="sm" len="sm"/>
          </a:ln>
          <a:effectLst>
            <a:reflection stA="20000" endPos="16000" dist="28575" dir="5400000" sy="-100000" algn="bl" rotWithShape="0"/>
          </a:effectLst>
        </p:spPr>
      </p:sp>
      <p:sp>
        <p:nvSpPr>
          <p:cNvPr id="647" name="Google Shape;647;p70"/>
          <p:cNvSpPr txBox="1"/>
          <p:nvPr/>
        </p:nvSpPr>
        <p:spPr>
          <a:xfrm>
            <a:off x="5695961" y="925648"/>
            <a:ext cx="800000" cy="1747501"/>
          </a:xfrm>
          <a:prstGeom prst="rect">
            <a:avLst/>
          </a:prstGeom>
          <a:noFill/>
          <a:ln>
            <a:noFill/>
          </a:ln>
        </p:spPr>
        <p:txBody>
          <a:bodyPr spcFirstLastPara="1" wrap="square" lIns="45658" tIns="22846" rIns="45658" bIns="22846" anchor="t" anchorCtr="0">
            <a:spAutoFit/>
          </a:bodyPr>
          <a:lstStyle/>
          <a:p>
            <a:pPr marL="0" marR="0" lvl="0" indent="0" algn="l" rtl="0">
              <a:lnSpc>
                <a:spcPct val="100000"/>
              </a:lnSpc>
              <a:spcBef>
                <a:spcPts val="0"/>
              </a:spcBef>
              <a:spcAft>
                <a:spcPts val="0"/>
              </a:spcAft>
              <a:buClr>
                <a:schemeClr val="lt1"/>
              </a:buClr>
              <a:buSzPts val="8300"/>
              <a:buFont typeface="Arial"/>
              <a:buNone/>
            </a:pPr>
            <a:r>
              <a:rPr lang="en-US" sz="11056" b="1" i="0" u="none" strike="noStrike" cap="none">
                <a:solidFill>
                  <a:schemeClr val="dk1"/>
                </a:solidFill>
                <a:latin typeface="Arial"/>
                <a:ea typeface="Arial"/>
                <a:cs typeface="Arial"/>
                <a:sym typeface="Arial"/>
              </a:rPr>
              <a:t>“</a:t>
            </a:r>
            <a:endParaRPr sz="11056" b="1" i="0" u="none" strike="noStrike" cap="none">
              <a:solidFill>
                <a:schemeClr val="dk1"/>
              </a:solidFill>
              <a:latin typeface="Arial"/>
              <a:ea typeface="Arial"/>
              <a:cs typeface="Arial"/>
              <a:sym typeface="Arial"/>
            </a:endParaRPr>
          </a:p>
        </p:txBody>
      </p:sp>
      <p:sp>
        <p:nvSpPr>
          <p:cNvPr id="648" name="Google Shape;648;p70"/>
          <p:cNvSpPr txBox="1">
            <a:spLocks noGrp="1"/>
          </p:cNvSpPr>
          <p:nvPr>
            <p:ph type="subTitle" idx="1"/>
          </p:nvPr>
        </p:nvSpPr>
        <p:spPr>
          <a:xfrm>
            <a:off x="3742944" y="5303030"/>
            <a:ext cx="4718400" cy="451200"/>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000"/>
              <a:buFont typeface="Roboto Mono"/>
              <a:buNone/>
              <a:defRPr sz="1332">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2pPr>
            <a:lvl3pPr lvl="2"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3pPr>
            <a:lvl4pPr lvl="3"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4pPr>
            <a:lvl5pPr lvl="4"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5pPr>
            <a:lvl6pPr lvl="5"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6pPr>
            <a:lvl7pPr lvl="6"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7pPr>
            <a:lvl8pPr lvl="7"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8pPr>
            <a:lvl9pPr lvl="8"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9pPr>
          </a:lstStyle>
          <a:p>
            <a:endParaRPr/>
          </a:p>
        </p:txBody>
      </p:sp>
      <p:sp>
        <p:nvSpPr>
          <p:cNvPr id="649" name="Google Shape;649;p70"/>
          <p:cNvSpPr txBox="1">
            <a:spLocks noGrp="1"/>
          </p:cNvSpPr>
          <p:nvPr>
            <p:ph type="body" idx="3"/>
          </p:nvPr>
        </p:nvSpPr>
        <p:spPr>
          <a:xfrm>
            <a:off x="2660613" y="1761906"/>
            <a:ext cx="6870700" cy="1802162"/>
          </a:xfrm>
          <a:prstGeom prst="rect">
            <a:avLst/>
          </a:prstGeom>
          <a:noFill/>
          <a:ln>
            <a:noFill/>
          </a:ln>
        </p:spPr>
        <p:txBody>
          <a:bodyPr spcFirstLastPara="1" wrap="square" lIns="91425" tIns="45700" rIns="91425" bIns="45700" anchor="ctr" anchorCtr="0">
            <a:normAutofit/>
          </a:bodyPr>
          <a:lstStyle>
            <a:lvl1pPr marL="609036" lvl="0" indent="-304518" algn="ctr">
              <a:lnSpc>
                <a:spcPct val="90000"/>
              </a:lnSpc>
              <a:spcBef>
                <a:spcPts val="999"/>
              </a:spcBef>
              <a:spcAft>
                <a:spcPts val="0"/>
              </a:spcAft>
              <a:buClr>
                <a:schemeClr val="dk1"/>
              </a:buClr>
              <a:buSzPts val="1600"/>
              <a:buFont typeface="Arial"/>
              <a:buNone/>
              <a:defRPr sz="2131">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650" name="Google Shape;650;p70"/>
          <p:cNvSpPr txBox="1">
            <a:spLocks noGrp="1"/>
          </p:cNvSpPr>
          <p:nvPr>
            <p:ph type="body" idx="4"/>
          </p:nvPr>
        </p:nvSpPr>
        <p:spPr>
          <a:xfrm>
            <a:off x="3742946" y="4913404"/>
            <a:ext cx="4718399" cy="451200"/>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800"/>
              <a:buNone/>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ctr">
              <a:lnSpc>
                <a:spcPct val="90000"/>
              </a:lnSpc>
              <a:spcBef>
                <a:spcPts val="500"/>
              </a:spcBef>
              <a:spcAft>
                <a:spcPts val="0"/>
              </a:spcAft>
              <a:buClr>
                <a:schemeClr val="dk1"/>
              </a:buClr>
              <a:buSzPts val="1400"/>
              <a:buFont typeface="Arial"/>
              <a:buNone/>
              <a:defRPr sz="1865"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42870907"/>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matchingName="66. One quote">
  <p:cSld name="66. One quote">
    <p:spTree>
      <p:nvGrpSpPr>
        <p:cNvPr id="1" name="Shape 651"/>
        <p:cNvGrpSpPr/>
        <p:nvPr/>
      </p:nvGrpSpPr>
      <p:grpSpPr>
        <a:xfrm>
          <a:off x="0" y="0"/>
          <a:ext cx="0" cy="0"/>
          <a:chOff x="0" y="0"/>
          <a:chExt cx="0" cy="0"/>
        </a:xfrm>
      </p:grpSpPr>
      <p:sp>
        <p:nvSpPr>
          <p:cNvPr id="652" name="Google Shape;652;p71"/>
          <p:cNvSpPr/>
          <p:nvPr/>
        </p:nvSpPr>
        <p:spPr>
          <a:xfrm>
            <a:off x="962876" y="854527"/>
            <a:ext cx="10266400" cy="5148800"/>
          </a:xfrm>
          <a:prstGeom prst="roundRect">
            <a:avLst>
              <a:gd name="adj" fmla="val 2079"/>
            </a:avLst>
          </a:prstGeom>
          <a:gradFill>
            <a:gsLst>
              <a:gs pos="0">
                <a:srgbClr val="388BFD"/>
              </a:gs>
              <a:gs pos="100000">
                <a:schemeClr val="accent5"/>
              </a:gs>
            </a:gsLst>
            <a:lin ang="3600008"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653" name="Google Shape;653;p71"/>
          <p:cNvSpPr>
            <a:spLocks noGrp="1"/>
          </p:cNvSpPr>
          <p:nvPr>
            <p:ph type="pic" idx="2"/>
          </p:nvPr>
        </p:nvSpPr>
        <p:spPr>
          <a:xfrm>
            <a:off x="5524497" y="3600629"/>
            <a:ext cx="1143000" cy="1143000"/>
          </a:xfrm>
          <a:prstGeom prst="ellipse">
            <a:avLst/>
          </a:prstGeom>
          <a:noFill/>
          <a:ln w="19050" cap="flat" cmpd="sng">
            <a:solidFill>
              <a:schemeClr val="dk1"/>
            </a:solidFill>
            <a:prstDash val="solid"/>
            <a:round/>
            <a:headEnd type="none" w="sm" len="sm"/>
            <a:tailEnd type="none" w="sm" len="sm"/>
          </a:ln>
          <a:effectLst>
            <a:reflection stA="20000" endPos="16000" dist="28575" dir="5400000" sy="-100000" algn="bl" rotWithShape="0"/>
          </a:effectLst>
        </p:spPr>
      </p:sp>
      <p:sp>
        <p:nvSpPr>
          <p:cNvPr id="654" name="Google Shape;654;p71"/>
          <p:cNvSpPr txBox="1"/>
          <p:nvPr/>
        </p:nvSpPr>
        <p:spPr>
          <a:xfrm>
            <a:off x="5695961" y="925648"/>
            <a:ext cx="800000" cy="1747501"/>
          </a:xfrm>
          <a:prstGeom prst="rect">
            <a:avLst/>
          </a:prstGeom>
          <a:noFill/>
          <a:ln>
            <a:noFill/>
          </a:ln>
        </p:spPr>
        <p:txBody>
          <a:bodyPr spcFirstLastPara="1" wrap="square" lIns="45658" tIns="22846" rIns="45658" bIns="22846" anchor="t" anchorCtr="0">
            <a:spAutoFit/>
          </a:bodyPr>
          <a:lstStyle/>
          <a:p>
            <a:pPr marL="0" marR="0" lvl="0" indent="0" algn="l" rtl="0">
              <a:lnSpc>
                <a:spcPct val="100000"/>
              </a:lnSpc>
              <a:spcBef>
                <a:spcPts val="0"/>
              </a:spcBef>
              <a:spcAft>
                <a:spcPts val="0"/>
              </a:spcAft>
              <a:buClr>
                <a:schemeClr val="lt1"/>
              </a:buClr>
              <a:buSzPts val="8300"/>
              <a:buFont typeface="Arial"/>
              <a:buNone/>
            </a:pPr>
            <a:r>
              <a:rPr lang="en-US" sz="11056" b="1" i="0" u="none" strike="noStrike" cap="none">
                <a:solidFill>
                  <a:schemeClr val="dk1"/>
                </a:solidFill>
                <a:latin typeface="Arial"/>
                <a:ea typeface="Arial"/>
                <a:cs typeface="Arial"/>
                <a:sym typeface="Arial"/>
              </a:rPr>
              <a:t>“</a:t>
            </a:r>
            <a:endParaRPr sz="11056" b="1" i="0" u="none" strike="noStrike" cap="none">
              <a:solidFill>
                <a:schemeClr val="dk1"/>
              </a:solidFill>
              <a:latin typeface="Arial"/>
              <a:ea typeface="Arial"/>
              <a:cs typeface="Arial"/>
              <a:sym typeface="Arial"/>
            </a:endParaRPr>
          </a:p>
        </p:txBody>
      </p:sp>
      <p:sp>
        <p:nvSpPr>
          <p:cNvPr id="655" name="Google Shape;655;p71"/>
          <p:cNvSpPr txBox="1">
            <a:spLocks noGrp="1"/>
          </p:cNvSpPr>
          <p:nvPr>
            <p:ph type="subTitle" idx="1"/>
          </p:nvPr>
        </p:nvSpPr>
        <p:spPr>
          <a:xfrm>
            <a:off x="3742944" y="5303030"/>
            <a:ext cx="4718400" cy="451200"/>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000"/>
              <a:buFont typeface="Roboto Mono"/>
              <a:buNone/>
              <a:defRPr sz="1332">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2pPr>
            <a:lvl3pPr lvl="2"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3pPr>
            <a:lvl4pPr lvl="3"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4pPr>
            <a:lvl5pPr lvl="4"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5pPr>
            <a:lvl6pPr lvl="5"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6pPr>
            <a:lvl7pPr lvl="6"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7pPr>
            <a:lvl8pPr lvl="7"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8pPr>
            <a:lvl9pPr lvl="8" algn="ctr">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9pPr>
          </a:lstStyle>
          <a:p>
            <a:endParaRPr/>
          </a:p>
        </p:txBody>
      </p:sp>
      <p:sp>
        <p:nvSpPr>
          <p:cNvPr id="656" name="Google Shape;656;p71"/>
          <p:cNvSpPr txBox="1">
            <a:spLocks noGrp="1"/>
          </p:cNvSpPr>
          <p:nvPr>
            <p:ph type="body" idx="3"/>
          </p:nvPr>
        </p:nvSpPr>
        <p:spPr>
          <a:xfrm>
            <a:off x="2660613" y="1761906"/>
            <a:ext cx="6870700" cy="1802162"/>
          </a:xfrm>
          <a:prstGeom prst="rect">
            <a:avLst/>
          </a:prstGeom>
          <a:noFill/>
          <a:ln>
            <a:noFill/>
          </a:ln>
        </p:spPr>
        <p:txBody>
          <a:bodyPr spcFirstLastPara="1" wrap="square" lIns="91425" tIns="45700" rIns="91425" bIns="45700" anchor="ctr" anchorCtr="0">
            <a:normAutofit/>
          </a:bodyPr>
          <a:lstStyle>
            <a:lvl1pPr marL="609036" lvl="0" indent="-304518" algn="ctr">
              <a:lnSpc>
                <a:spcPct val="90000"/>
              </a:lnSpc>
              <a:spcBef>
                <a:spcPts val="999"/>
              </a:spcBef>
              <a:spcAft>
                <a:spcPts val="0"/>
              </a:spcAft>
              <a:buClr>
                <a:schemeClr val="dk1"/>
              </a:buClr>
              <a:buSzPts val="1600"/>
              <a:buFont typeface="Arial"/>
              <a:buNone/>
              <a:defRPr sz="2131">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657" name="Google Shape;657;p71"/>
          <p:cNvSpPr txBox="1">
            <a:spLocks noGrp="1"/>
          </p:cNvSpPr>
          <p:nvPr>
            <p:ph type="body" idx="4"/>
          </p:nvPr>
        </p:nvSpPr>
        <p:spPr>
          <a:xfrm>
            <a:off x="3742946" y="4913404"/>
            <a:ext cx="4718399" cy="451200"/>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800"/>
              <a:buNone/>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ctr">
              <a:lnSpc>
                <a:spcPct val="90000"/>
              </a:lnSpc>
              <a:spcBef>
                <a:spcPts val="500"/>
              </a:spcBef>
              <a:spcAft>
                <a:spcPts val="0"/>
              </a:spcAft>
              <a:buClr>
                <a:schemeClr val="dk1"/>
              </a:buClr>
              <a:buSzPts val="1400"/>
              <a:buFont typeface="Arial"/>
              <a:buNone/>
              <a:defRPr sz="1865" b="0" i="0">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8575278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matchingName="67. Two quotes">
  <p:cSld name="67. Two quotes">
    <p:spTree>
      <p:nvGrpSpPr>
        <p:cNvPr id="1" name="Shape 658"/>
        <p:cNvGrpSpPr/>
        <p:nvPr/>
      </p:nvGrpSpPr>
      <p:grpSpPr>
        <a:xfrm>
          <a:off x="0" y="0"/>
          <a:ext cx="0" cy="0"/>
          <a:chOff x="0" y="0"/>
          <a:chExt cx="0" cy="0"/>
        </a:xfrm>
      </p:grpSpPr>
      <p:sp>
        <p:nvSpPr>
          <p:cNvPr id="659" name="Google Shape;659;p72"/>
          <p:cNvSpPr/>
          <p:nvPr/>
        </p:nvSpPr>
        <p:spPr>
          <a:xfrm>
            <a:off x="6214133" y="990601"/>
            <a:ext cx="4876800" cy="4876800"/>
          </a:xfrm>
          <a:prstGeom prst="roundRect">
            <a:avLst>
              <a:gd name="adj" fmla="val 2079"/>
            </a:avLst>
          </a:prstGeom>
          <a:gradFill>
            <a:gsLst>
              <a:gs pos="0">
                <a:schemeClr val="accent4"/>
              </a:gs>
              <a:gs pos="62000">
                <a:schemeClr val="accent1"/>
              </a:gs>
              <a:gs pos="100000">
                <a:schemeClr val="accent1"/>
              </a:gs>
            </a:gsLst>
            <a:lin ang="8099331"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660" name="Google Shape;660;p72"/>
          <p:cNvSpPr txBox="1"/>
          <p:nvPr/>
        </p:nvSpPr>
        <p:spPr>
          <a:xfrm>
            <a:off x="6477940" y="1038423"/>
            <a:ext cx="1335200" cy="1752613"/>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chemeClr val="accent3"/>
              </a:buClr>
              <a:buSzPts val="8300"/>
              <a:buFont typeface="Arial"/>
              <a:buNone/>
            </a:pPr>
            <a:r>
              <a:rPr lang="en-US" sz="11056" b="1" i="0" u="none" strike="noStrike" cap="none">
                <a:solidFill>
                  <a:schemeClr val="dk1"/>
                </a:solidFill>
                <a:latin typeface="Arial"/>
                <a:ea typeface="Arial"/>
                <a:cs typeface="Arial"/>
                <a:sym typeface="Arial"/>
              </a:rPr>
              <a:t>“</a:t>
            </a:r>
            <a:endParaRPr sz="666">
              <a:solidFill>
                <a:schemeClr val="dk1"/>
              </a:solidFill>
              <a:latin typeface="Calibri"/>
              <a:ea typeface="Calibri"/>
              <a:cs typeface="Calibri"/>
              <a:sym typeface="Calibri"/>
            </a:endParaRPr>
          </a:p>
        </p:txBody>
      </p:sp>
      <p:sp>
        <p:nvSpPr>
          <p:cNvPr id="661" name="Google Shape;661;p72"/>
          <p:cNvSpPr txBox="1">
            <a:spLocks noGrp="1"/>
          </p:cNvSpPr>
          <p:nvPr>
            <p:ph type="subTitle" idx="1"/>
          </p:nvPr>
        </p:nvSpPr>
        <p:spPr>
          <a:xfrm>
            <a:off x="6431335" y="2252200"/>
            <a:ext cx="4450000" cy="198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662" name="Google Shape;662;p72"/>
          <p:cNvSpPr txBox="1">
            <a:spLocks noGrp="1"/>
          </p:cNvSpPr>
          <p:nvPr>
            <p:ph type="subTitle" idx="2"/>
          </p:nvPr>
        </p:nvSpPr>
        <p:spPr>
          <a:xfrm>
            <a:off x="6443649" y="5179782"/>
            <a:ext cx="4450000" cy="329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000"/>
              <a:buFont typeface="Roboto Mono"/>
              <a:buNone/>
              <a:defRPr sz="1332">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2pPr>
            <a:lvl3pPr lvl="2"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3pPr>
            <a:lvl4pPr lvl="3"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4pPr>
            <a:lvl5pPr lvl="4"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5pPr>
            <a:lvl6pPr lvl="5"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6pPr>
            <a:lvl7pPr lvl="6"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7pPr>
            <a:lvl8pPr lvl="7"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8pPr>
            <a:lvl9pPr lvl="8"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9pPr>
          </a:lstStyle>
          <a:p>
            <a:endParaRPr/>
          </a:p>
        </p:txBody>
      </p:sp>
      <p:sp>
        <p:nvSpPr>
          <p:cNvPr id="663" name="Google Shape;663;p72"/>
          <p:cNvSpPr/>
          <p:nvPr/>
        </p:nvSpPr>
        <p:spPr>
          <a:xfrm>
            <a:off x="1101067" y="990601"/>
            <a:ext cx="4876800" cy="4876800"/>
          </a:xfrm>
          <a:prstGeom prst="roundRect">
            <a:avLst>
              <a:gd name="adj" fmla="val 2079"/>
            </a:avLst>
          </a:prstGeom>
          <a:gradFill>
            <a:gsLst>
              <a:gs pos="0">
                <a:schemeClr val="accent1"/>
              </a:gs>
              <a:gs pos="16000">
                <a:schemeClr val="accent1"/>
              </a:gs>
              <a:gs pos="100000">
                <a:schemeClr val="accent6"/>
              </a:gs>
            </a:gsLst>
            <a:lin ang="8099331"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664" name="Google Shape;664;p72"/>
          <p:cNvSpPr txBox="1"/>
          <p:nvPr/>
        </p:nvSpPr>
        <p:spPr>
          <a:xfrm>
            <a:off x="1364873" y="1038423"/>
            <a:ext cx="1335200" cy="1752613"/>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chemeClr val="accent3"/>
              </a:buClr>
              <a:buSzPts val="8300"/>
              <a:buFont typeface="Arial"/>
              <a:buNone/>
            </a:pPr>
            <a:r>
              <a:rPr lang="en-US" sz="11056" b="1" i="0" u="none" strike="noStrike" cap="none">
                <a:solidFill>
                  <a:schemeClr val="dk1"/>
                </a:solidFill>
                <a:latin typeface="Arial"/>
                <a:ea typeface="Arial"/>
                <a:cs typeface="Arial"/>
                <a:sym typeface="Arial"/>
              </a:rPr>
              <a:t>“</a:t>
            </a:r>
            <a:endParaRPr sz="666">
              <a:solidFill>
                <a:schemeClr val="dk1"/>
              </a:solidFill>
              <a:latin typeface="Calibri"/>
              <a:ea typeface="Calibri"/>
              <a:cs typeface="Calibri"/>
              <a:sym typeface="Calibri"/>
            </a:endParaRPr>
          </a:p>
        </p:txBody>
      </p:sp>
      <p:sp>
        <p:nvSpPr>
          <p:cNvPr id="665" name="Google Shape;665;p72"/>
          <p:cNvSpPr txBox="1">
            <a:spLocks noGrp="1"/>
          </p:cNvSpPr>
          <p:nvPr>
            <p:ph type="subTitle" idx="3"/>
          </p:nvPr>
        </p:nvSpPr>
        <p:spPr>
          <a:xfrm>
            <a:off x="1318268" y="2252200"/>
            <a:ext cx="4450000" cy="198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666" name="Google Shape;666;p72"/>
          <p:cNvSpPr txBox="1">
            <a:spLocks noGrp="1"/>
          </p:cNvSpPr>
          <p:nvPr>
            <p:ph type="subTitle" idx="4"/>
          </p:nvPr>
        </p:nvSpPr>
        <p:spPr>
          <a:xfrm>
            <a:off x="1330583" y="5179782"/>
            <a:ext cx="4450000" cy="329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000"/>
              <a:buFont typeface="Roboto Mono"/>
              <a:buNone/>
              <a:defRPr sz="1332">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2pPr>
            <a:lvl3pPr lvl="2"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3pPr>
            <a:lvl4pPr lvl="3"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4pPr>
            <a:lvl5pPr lvl="4"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5pPr>
            <a:lvl6pPr lvl="5"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6pPr>
            <a:lvl7pPr lvl="6"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7pPr>
            <a:lvl8pPr lvl="7"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8pPr>
            <a:lvl9pPr lvl="8"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9pPr>
          </a:lstStyle>
          <a:p>
            <a:endParaRPr/>
          </a:p>
        </p:txBody>
      </p:sp>
      <p:sp>
        <p:nvSpPr>
          <p:cNvPr id="667" name="Google Shape;667;p72"/>
          <p:cNvSpPr txBox="1">
            <a:spLocks noGrp="1"/>
          </p:cNvSpPr>
          <p:nvPr>
            <p:ph type="body" idx="5"/>
          </p:nvPr>
        </p:nvSpPr>
        <p:spPr>
          <a:xfrm>
            <a:off x="1318272" y="4853132"/>
            <a:ext cx="4462313" cy="474133"/>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600"/>
              <a:buFont typeface="Arial"/>
              <a:buNone/>
              <a:defRPr>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668" name="Google Shape;668;p72"/>
          <p:cNvSpPr txBox="1">
            <a:spLocks noGrp="1"/>
          </p:cNvSpPr>
          <p:nvPr>
            <p:ph type="body" idx="6"/>
          </p:nvPr>
        </p:nvSpPr>
        <p:spPr>
          <a:xfrm>
            <a:off x="6437494" y="4853132"/>
            <a:ext cx="4462313" cy="474133"/>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600"/>
              <a:buFont typeface="Arial"/>
              <a:buNone/>
              <a:defRPr>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51156519"/>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matchingName="67. Two quotes">
  <p:cSld name="1_67. Two quotes">
    <p:spTree>
      <p:nvGrpSpPr>
        <p:cNvPr id="1" name="Shape 669"/>
        <p:cNvGrpSpPr/>
        <p:nvPr/>
      </p:nvGrpSpPr>
      <p:grpSpPr>
        <a:xfrm>
          <a:off x="0" y="0"/>
          <a:ext cx="0" cy="0"/>
          <a:chOff x="0" y="0"/>
          <a:chExt cx="0" cy="0"/>
        </a:xfrm>
      </p:grpSpPr>
      <p:sp>
        <p:nvSpPr>
          <p:cNvPr id="670" name="Google Shape;670;p73"/>
          <p:cNvSpPr/>
          <p:nvPr/>
        </p:nvSpPr>
        <p:spPr>
          <a:xfrm>
            <a:off x="6214133" y="990601"/>
            <a:ext cx="4876800" cy="4876800"/>
          </a:xfrm>
          <a:prstGeom prst="roundRect">
            <a:avLst>
              <a:gd name="adj" fmla="val 2079"/>
            </a:avLst>
          </a:prstGeom>
          <a:gradFill>
            <a:gsLst>
              <a:gs pos="0">
                <a:schemeClr val="accent3"/>
              </a:gs>
              <a:gs pos="71000">
                <a:schemeClr val="accent5"/>
              </a:gs>
              <a:gs pos="100000">
                <a:schemeClr val="accent5"/>
              </a:gs>
            </a:gsLst>
            <a:lin ang="8099331"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671" name="Google Shape;671;p73"/>
          <p:cNvSpPr/>
          <p:nvPr/>
        </p:nvSpPr>
        <p:spPr>
          <a:xfrm>
            <a:off x="1101067" y="990601"/>
            <a:ext cx="4876800" cy="4876800"/>
          </a:xfrm>
          <a:prstGeom prst="roundRect">
            <a:avLst>
              <a:gd name="adj" fmla="val 2079"/>
            </a:avLst>
          </a:prstGeom>
          <a:gradFill>
            <a:gsLst>
              <a:gs pos="0">
                <a:schemeClr val="accent5"/>
              </a:gs>
              <a:gs pos="10000">
                <a:schemeClr val="accent5"/>
              </a:gs>
              <a:gs pos="100000">
                <a:schemeClr val="accent2"/>
              </a:gs>
            </a:gsLst>
            <a:lin ang="8099331"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672" name="Google Shape;672;p73"/>
          <p:cNvSpPr txBox="1"/>
          <p:nvPr/>
        </p:nvSpPr>
        <p:spPr>
          <a:xfrm>
            <a:off x="6477940" y="1038423"/>
            <a:ext cx="1335200" cy="1752613"/>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chemeClr val="accent3"/>
              </a:buClr>
              <a:buSzPts val="8300"/>
              <a:buFont typeface="Arial"/>
              <a:buNone/>
            </a:pPr>
            <a:r>
              <a:rPr lang="en-US" sz="11056" b="1" i="0" u="none" strike="noStrike" cap="none">
                <a:solidFill>
                  <a:schemeClr val="dk1"/>
                </a:solidFill>
                <a:latin typeface="Arial"/>
                <a:ea typeface="Arial"/>
                <a:cs typeface="Arial"/>
                <a:sym typeface="Arial"/>
              </a:rPr>
              <a:t>“</a:t>
            </a:r>
            <a:endParaRPr sz="666">
              <a:solidFill>
                <a:schemeClr val="dk1"/>
              </a:solidFill>
              <a:latin typeface="Calibri"/>
              <a:ea typeface="Calibri"/>
              <a:cs typeface="Calibri"/>
              <a:sym typeface="Calibri"/>
            </a:endParaRPr>
          </a:p>
        </p:txBody>
      </p:sp>
      <p:sp>
        <p:nvSpPr>
          <p:cNvPr id="673" name="Google Shape;673;p73"/>
          <p:cNvSpPr txBox="1">
            <a:spLocks noGrp="1"/>
          </p:cNvSpPr>
          <p:nvPr>
            <p:ph type="subTitle" idx="1"/>
          </p:nvPr>
        </p:nvSpPr>
        <p:spPr>
          <a:xfrm>
            <a:off x="6431335" y="2252200"/>
            <a:ext cx="4450000" cy="198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674" name="Google Shape;674;p73"/>
          <p:cNvSpPr txBox="1">
            <a:spLocks noGrp="1"/>
          </p:cNvSpPr>
          <p:nvPr>
            <p:ph type="subTitle" idx="2"/>
          </p:nvPr>
        </p:nvSpPr>
        <p:spPr>
          <a:xfrm>
            <a:off x="6443649" y="5179782"/>
            <a:ext cx="4450000" cy="329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000"/>
              <a:buFont typeface="Roboto Mono"/>
              <a:buNone/>
              <a:defRPr sz="1332">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2pPr>
            <a:lvl3pPr lvl="2"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3pPr>
            <a:lvl4pPr lvl="3"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4pPr>
            <a:lvl5pPr lvl="4"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5pPr>
            <a:lvl6pPr lvl="5"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6pPr>
            <a:lvl7pPr lvl="6"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7pPr>
            <a:lvl8pPr lvl="7"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8pPr>
            <a:lvl9pPr lvl="8"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9pPr>
          </a:lstStyle>
          <a:p>
            <a:endParaRPr/>
          </a:p>
        </p:txBody>
      </p:sp>
      <p:sp>
        <p:nvSpPr>
          <p:cNvPr id="675" name="Google Shape;675;p73"/>
          <p:cNvSpPr txBox="1"/>
          <p:nvPr/>
        </p:nvSpPr>
        <p:spPr>
          <a:xfrm>
            <a:off x="1364873" y="1038423"/>
            <a:ext cx="1335200" cy="1752613"/>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chemeClr val="accent3"/>
              </a:buClr>
              <a:buSzPts val="8300"/>
              <a:buFont typeface="Arial"/>
              <a:buNone/>
            </a:pPr>
            <a:r>
              <a:rPr lang="en-US" sz="11056" b="1" i="0" u="none" strike="noStrike" cap="none">
                <a:solidFill>
                  <a:schemeClr val="dk1"/>
                </a:solidFill>
                <a:latin typeface="Arial"/>
                <a:ea typeface="Arial"/>
                <a:cs typeface="Arial"/>
                <a:sym typeface="Arial"/>
              </a:rPr>
              <a:t>“</a:t>
            </a:r>
            <a:endParaRPr sz="666">
              <a:solidFill>
                <a:schemeClr val="dk1"/>
              </a:solidFill>
              <a:latin typeface="Calibri"/>
              <a:ea typeface="Calibri"/>
              <a:cs typeface="Calibri"/>
              <a:sym typeface="Calibri"/>
            </a:endParaRPr>
          </a:p>
        </p:txBody>
      </p:sp>
      <p:sp>
        <p:nvSpPr>
          <p:cNvPr id="676" name="Google Shape;676;p73"/>
          <p:cNvSpPr txBox="1">
            <a:spLocks noGrp="1"/>
          </p:cNvSpPr>
          <p:nvPr>
            <p:ph type="subTitle" idx="3"/>
          </p:nvPr>
        </p:nvSpPr>
        <p:spPr>
          <a:xfrm>
            <a:off x="1318268" y="2252200"/>
            <a:ext cx="4450000" cy="1987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677" name="Google Shape;677;p73"/>
          <p:cNvSpPr txBox="1">
            <a:spLocks noGrp="1"/>
          </p:cNvSpPr>
          <p:nvPr>
            <p:ph type="subTitle" idx="4"/>
          </p:nvPr>
        </p:nvSpPr>
        <p:spPr>
          <a:xfrm>
            <a:off x="1330583" y="5179782"/>
            <a:ext cx="4450000" cy="329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000"/>
              <a:buFont typeface="Roboto Mono"/>
              <a:buNone/>
              <a:defRPr sz="1332">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2pPr>
            <a:lvl3pPr lvl="2"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3pPr>
            <a:lvl4pPr lvl="3"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4pPr>
            <a:lvl5pPr lvl="4"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5pPr>
            <a:lvl6pPr lvl="5"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6pPr>
            <a:lvl7pPr lvl="6"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7pPr>
            <a:lvl8pPr lvl="7"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8pPr>
            <a:lvl9pPr lvl="8" algn="l">
              <a:lnSpc>
                <a:spcPct val="90000"/>
              </a:lnSpc>
              <a:spcBef>
                <a:spcPts val="0"/>
              </a:spcBef>
              <a:spcAft>
                <a:spcPts val="0"/>
              </a:spcAft>
              <a:buClr>
                <a:schemeClr val="dk1"/>
              </a:buClr>
              <a:buSzPts val="1000"/>
              <a:buFont typeface="Roboto Mono"/>
              <a:buNone/>
              <a:defRPr sz="1332">
                <a:solidFill>
                  <a:schemeClr val="dk1"/>
                </a:solidFill>
                <a:latin typeface="Roboto Mono"/>
                <a:ea typeface="Roboto Mono"/>
                <a:cs typeface="Roboto Mono"/>
                <a:sym typeface="Roboto Mono"/>
              </a:defRPr>
            </a:lvl9pPr>
          </a:lstStyle>
          <a:p>
            <a:endParaRPr/>
          </a:p>
        </p:txBody>
      </p:sp>
      <p:sp>
        <p:nvSpPr>
          <p:cNvPr id="678" name="Google Shape;678;p73"/>
          <p:cNvSpPr txBox="1">
            <a:spLocks noGrp="1"/>
          </p:cNvSpPr>
          <p:nvPr>
            <p:ph type="body" idx="5"/>
          </p:nvPr>
        </p:nvSpPr>
        <p:spPr>
          <a:xfrm>
            <a:off x="1318272" y="4853132"/>
            <a:ext cx="4462313" cy="474133"/>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600"/>
              <a:buFont typeface="Arial"/>
              <a:buNone/>
              <a:defRPr>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679" name="Google Shape;679;p73"/>
          <p:cNvSpPr txBox="1">
            <a:spLocks noGrp="1"/>
          </p:cNvSpPr>
          <p:nvPr>
            <p:ph type="body" idx="6"/>
          </p:nvPr>
        </p:nvSpPr>
        <p:spPr>
          <a:xfrm>
            <a:off x="6437494" y="4853132"/>
            <a:ext cx="4462313" cy="474133"/>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600"/>
              <a:buFont typeface="Arial"/>
              <a:buNone/>
              <a:defRPr>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89615619"/>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matchingName="69. One tweet">
  <p:cSld name="69. One tweet">
    <p:spTree>
      <p:nvGrpSpPr>
        <p:cNvPr id="1" name="Shape 680"/>
        <p:cNvGrpSpPr/>
        <p:nvPr/>
      </p:nvGrpSpPr>
      <p:grpSpPr>
        <a:xfrm>
          <a:off x="0" y="0"/>
          <a:ext cx="0" cy="0"/>
          <a:chOff x="0" y="0"/>
          <a:chExt cx="0" cy="0"/>
        </a:xfrm>
      </p:grpSpPr>
      <p:pic>
        <p:nvPicPr>
          <p:cNvPr id="681" name="Google Shape;681;p74" descr="twitter-seeklogo.com 1.png"/>
          <p:cNvPicPr preferRelativeResize="0"/>
          <p:nvPr/>
        </p:nvPicPr>
        <p:blipFill rotWithShape="1">
          <a:blip r:embed="rId2">
            <a:alphaModFix/>
          </a:blip>
          <a:srcRect/>
          <a:stretch/>
        </p:blipFill>
        <p:spPr>
          <a:xfrm>
            <a:off x="3148456" y="2573423"/>
            <a:ext cx="369144" cy="301405"/>
          </a:xfrm>
          <a:prstGeom prst="rect">
            <a:avLst/>
          </a:prstGeom>
          <a:noFill/>
          <a:ln>
            <a:noFill/>
          </a:ln>
        </p:spPr>
      </p:pic>
      <p:sp>
        <p:nvSpPr>
          <p:cNvPr id="682" name="Google Shape;682;p74"/>
          <p:cNvSpPr txBox="1">
            <a:spLocks noGrp="1"/>
          </p:cNvSpPr>
          <p:nvPr>
            <p:ph type="subTitle" idx="1"/>
          </p:nvPr>
        </p:nvSpPr>
        <p:spPr>
          <a:xfrm>
            <a:off x="3145533" y="3048000"/>
            <a:ext cx="5888800" cy="98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b="1">
                <a:solidFill>
                  <a:schemeClr val="dk1"/>
                </a:solidFill>
              </a:defRPr>
            </a:lvl2pPr>
            <a:lvl3pPr lvl="2" algn="l">
              <a:lnSpc>
                <a:spcPct val="90000"/>
              </a:lnSpc>
              <a:spcBef>
                <a:spcPts val="0"/>
              </a:spcBef>
              <a:spcAft>
                <a:spcPts val="0"/>
              </a:spcAft>
              <a:buClr>
                <a:schemeClr val="dk1"/>
              </a:buClr>
              <a:buSzPts val="1600"/>
              <a:buFont typeface="Arial"/>
              <a:buNone/>
              <a:defRPr sz="2131" b="1">
                <a:solidFill>
                  <a:schemeClr val="dk1"/>
                </a:solidFill>
              </a:defRPr>
            </a:lvl3pPr>
            <a:lvl4pPr lvl="3" algn="l">
              <a:lnSpc>
                <a:spcPct val="90000"/>
              </a:lnSpc>
              <a:spcBef>
                <a:spcPts val="0"/>
              </a:spcBef>
              <a:spcAft>
                <a:spcPts val="0"/>
              </a:spcAft>
              <a:buClr>
                <a:schemeClr val="dk1"/>
              </a:buClr>
              <a:buSzPts val="1600"/>
              <a:buFont typeface="Arial"/>
              <a:buNone/>
              <a:defRPr sz="2131" b="1">
                <a:solidFill>
                  <a:schemeClr val="dk1"/>
                </a:solidFill>
              </a:defRPr>
            </a:lvl4pPr>
            <a:lvl5pPr lvl="4" algn="l">
              <a:lnSpc>
                <a:spcPct val="90000"/>
              </a:lnSpc>
              <a:spcBef>
                <a:spcPts val="0"/>
              </a:spcBef>
              <a:spcAft>
                <a:spcPts val="0"/>
              </a:spcAft>
              <a:buClr>
                <a:schemeClr val="dk1"/>
              </a:buClr>
              <a:buSzPts val="1600"/>
              <a:buFont typeface="Arial"/>
              <a:buNone/>
              <a:defRPr sz="2131" b="1">
                <a:solidFill>
                  <a:schemeClr val="dk1"/>
                </a:solidFill>
              </a:defRPr>
            </a:lvl5pPr>
            <a:lvl6pPr lvl="5" algn="l">
              <a:lnSpc>
                <a:spcPct val="90000"/>
              </a:lnSpc>
              <a:spcBef>
                <a:spcPts val="0"/>
              </a:spcBef>
              <a:spcAft>
                <a:spcPts val="0"/>
              </a:spcAft>
              <a:buClr>
                <a:schemeClr val="dk1"/>
              </a:buClr>
              <a:buSzPts val="1600"/>
              <a:buNone/>
              <a:defRPr sz="2131" b="1">
                <a:solidFill>
                  <a:schemeClr val="dk1"/>
                </a:solidFill>
              </a:defRPr>
            </a:lvl6pPr>
            <a:lvl7pPr lvl="6" algn="l">
              <a:lnSpc>
                <a:spcPct val="90000"/>
              </a:lnSpc>
              <a:spcBef>
                <a:spcPts val="0"/>
              </a:spcBef>
              <a:spcAft>
                <a:spcPts val="0"/>
              </a:spcAft>
              <a:buClr>
                <a:schemeClr val="dk1"/>
              </a:buClr>
              <a:buSzPts val="1600"/>
              <a:buNone/>
              <a:defRPr sz="2131" b="1">
                <a:solidFill>
                  <a:schemeClr val="dk1"/>
                </a:solidFill>
              </a:defRPr>
            </a:lvl7pPr>
            <a:lvl8pPr lvl="7" algn="l">
              <a:lnSpc>
                <a:spcPct val="90000"/>
              </a:lnSpc>
              <a:spcBef>
                <a:spcPts val="0"/>
              </a:spcBef>
              <a:spcAft>
                <a:spcPts val="0"/>
              </a:spcAft>
              <a:buClr>
                <a:schemeClr val="dk1"/>
              </a:buClr>
              <a:buSzPts val="1600"/>
              <a:buNone/>
              <a:defRPr sz="2131" b="1">
                <a:solidFill>
                  <a:schemeClr val="dk1"/>
                </a:solidFill>
              </a:defRPr>
            </a:lvl8pPr>
            <a:lvl9pPr lvl="8" algn="l">
              <a:lnSpc>
                <a:spcPct val="90000"/>
              </a:lnSpc>
              <a:spcBef>
                <a:spcPts val="0"/>
              </a:spcBef>
              <a:spcAft>
                <a:spcPts val="0"/>
              </a:spcAft>
              <a:buClr>
                <a:schemeClr val="dk1"/>
              </a:buClr>
              <a:buSzPts val="1600"/>
              <a:buNone/>
              <a:defRPr sz="2131" b="1">
                <a:solidFill>
                  <a:schemeClr val="dk1"/>
                </a:solidFill>
              </a:defRPr>
            </a:lvl9pPr>
          </a:lstStyle>
          <a:p>
            <a:endParaRPr/>
          </a:p>
        </p:txBody>
      </p:sp>
      <p:sp>
        <p:nvSpPr>
          <p:cNvPr id="683" name="Google Shape;683;p74"/>
          <p:cNvSpPr txBox="1">
            <a:spLocks noGrp="1"/>
          </p:cNvSpPr>
          <p:nvPr>
            <p:ph type="subTitle" idx="2"/>
          </p:nvPr>
        </p:nvSpPr>
        <p:spPr>
          <a:xfrm>
            <a:off x="3645400" y="2523734"/>
            <a:ext cx="5888800" cy="4144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600"/>
              <a:buFont typeface="Roboto Mono"/>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600"/>
              <a:buFont typeface="Courier New"/>
              <a:buNone/>
              <a:defRPr sz="2131">
                <a:solidFill>
                  <a:schemeClr val="dk2"/>
                </a:solidFill>
                <a:latin typeface="Courier New"/>
                <a:ea typeface="Courier New"/>
                <a:cs typeface="Courier New"/>
                <a:sym typeface="Courier New"/>
              </a:defRPr>
            </a:lvl2pPr>
            <a:lvl3pPr lvl="2" algn="l">
              <a:lnSpc>
                <a:spcPct val="90000"/>
              </a:lnSpc>
              <a:spcBef>
                <a:spcPts val="0"/>
              </a:spcBef>
              <a:spcAft>
                <a:spcPts val="0"/>
              </a:spcAft>
              <a:buClr>
                <a:schemeClr val="dk2"/>
              </a:buClr>
              <a:buSzPts val="1600"/>
              <a:buFont typeface="Courier New"/>
              <a:buNone/>
              <a:defRPr sz="2131">
                <a:solidFill>
                  <a:schemeClr val="dk2"/>
                </a:solidFill>
                <a:latin typeface="Courier New"/>
                <a:ea typeface="Courier New"/>
                <a:cs typeface="Courier New"/>
                <a:sym typeface="Courier New"/>
              </a:defRPr>
            </a:lvl3pPr>
            <a:lvl4pPr lvl="3" algn="l">
              <a:lnSpc>
                <a:spcPct val="90000"/>
              </a:lnSpc>
              <a:spcBef>
                <a:spcPts val="0"/>
              </a:spcBef>
              <a:spcAft>
                <a:spcPts val="0"/>
              </a:spcAft>
              <a:buClr>
                <a:schemeClr val="dk2"/>
              </a:buClr>
              <a:buSzPts val="1600"/>
              <a:buFont typeface="Courier New"/>
              <a:buNone/>
              <a:defRPr sz="2131">
                <a:solidFill>
                  <a:schemeClr val="dk2"/>
                </a:solidFill>
                <a:latin typeface="Courier New"/>
                <a:ea typeface="Courier New"/>
                <a:cs typeface="Courier New"/>
                <a:sym typeface="Courier New"/>
              </a:defRPr>
            </a:lvl4pPr>
            <a:lvl5pPr lvl="4" algn="l">
              <a:lnSpc>
                <a:spcPct val="90000"/>
              </a:lnSpc>
              <a:spcBef>
                <a:spcPts val="0"/>
              </a:spcBef>
              <a:spcAft>
                <a:spcPts val="0"/>
              </a:spcAft>
              <a:buClr>
                <a:schemeClr val="dk2"/>
              </a:buClr>
              <a:buSzPts val="1600"/>
              <a:buFont typeface="Courier New"/>
              <a:buNone/>
              <a:defRPr sz="2131">
                <a:solidFill>
                  <a:schemeClr val="dk2"/>
                </a:solidFill>
                <a:latin typeface="Courier New"/>
                <a:ea typeface="Courier New"/>
                <a:cs typeface="Courier New"/>
                <a:sym typeface="Courier New"/>
              </a:defRPr>
            </a:lvl5pPr>
            <a:lvl6pPr lvl="5" algn="l">
              <a:lnSpc>
                <a:spcPct val="90000"/>
              </a:lnSpc>
              <a:spcBef>
                <a:spcPts val="0"/>
              </a:spcBef>
              <a:spcAft>
                <a:spcPts val="0"/>
              </a:spcAft>
              <a:buClr>
                <a:schemeClr val="dk2"/>
              </a:buClr>
              <a:buSzPts val="1600"/>
              <a:buFont typeface="Courier New"/>
              <a:buNone/>
              <a:defRPr sz="2131">
                <a:solidFill>
                  <a:schemeClr val="dk2"/>
                </a:solidFill>
                <a:latin typeface="Courier New"/>
                <a:ea typeface="Courier New"/>
                <a:cs typeface="Courier New"/>
                <a:sym typeface="Courier New"/>
              </a:defRPr>
            </a:lvl6pPr>
            <a:lvl7pPr lvl="6" algn="l">
              <a:lnSpc>
                <a:spcPct val="90000"/>
              </a:lnSpc>
              <a:spcBef>
                <a:spcPts val="0"/>
              </a:spcBef>
              <a:spcAft>
                <a:spcPts val="0"/>
              </a:spcAft>
              <a:buClr>
                <a:schemeClr val="dk2"/>
              </a:buClr>
              <a:buSzPts val="1600"/>
              <a:buFont typeface="Courier New"/>
              <a:buNone/>
              <a:defRPr sz="2131">
                <a:solidFill>
                  <a:schemeClr val="dk2"/>
                </a:solidFill>
                <a:latin typeface="Courier New"/>
                <a:ea typeface="Courier New"/>
                <a:cs typeface="Courier New"/>
                <a:sym typeface="Courier New"/>
              </a:defRPr>
            </a:lvl7pPr>
            <a:lvl8pPr lvl="7" algn="l">
              <a:lnSpc>
                <a:spcPct val="90000"/>
              </a:lnSpc>
              <a:spcBef>
                <a:spcPts val="0"/>
              </a:spcBef>
              <a:spcAft>
                <a:spcPts val="0"/>
              </a:spcAft>
              <a:buClr>
                <a:schemeClr val="dk2"/>
              </a:buClr>
              <a:buSzPts val="1600"/>
              <a:buFont typeface="Courier New"/>
              <a:buNone/>
              <a:defRPr sz="2131">
                <a:solidFill>
                  <a:schemeClr val="dk2"/>
                </a:solidFill>
                <a:latin typeface="Courier New"/>
                <a:ea typeface="Courier New"/>
                <a:cs typeface="Courier New"/>
                <a:sym typeface="Courier New"/>
              </a:defRPr>
            </a:lvl8pPr>
            <a:lvl9pPr lvl="8" algn="l">
              <a:lnSpc>
                <a:spcPct val="90000"/>
              </a:lnSpc>
              <a:spcBef>
                <a:spcPts val="0"/>
              </a:spcBef>
              <a:spcAft>
                <a:spcPts val="0"/>
              </a:spcAft>
              <a:buClr>
                <a:schemeClr val="dk2"/>
              </a:buClr>
              <a:buSzPts val="1600"/>
              <a:buFont typeface="Courier New"/>
              <a:buNone/>
              <a:defRPr sz="2131">
                <a:solidFill>
                  <a:schemeClr val="dk2"/>
                </a:solidFill>
                <a:latin typeface="Courier New"/>
                <a:ea typeface="Courier New"/>
                <a:cs typeface="Courier New"/>
                <a:sym typeface="Courier New"/>
              </a:defRPr>
            </a:lvl9pPr>
          </a:lstStyle>
          <a:p>
            <a:endParaRPr/>
          </a:p>
        </p:txBody>
      </p:sp>
    </p:spTree>
    <p:extLst>
      <p:ext uri="{BB962C8B-B14F-4D97-AF65-F5344CB8AC3E}">
        <p14:creationId xmlns:p14="http://schemas.microsoft.com/office/powerpoint/2010/main" val="401100740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matchingName="70. One tweet with photo">
  <p:cSld name="70. One tweet with photo">
    <p:spTree>
      <p:nvGrpSpPr>
        <p:cNvPr id="1" name="Shape 684"/>
        <p:cNvGrpSpPr/>
        <p:nvPr/>
      </p:nvGrpSpPr>
      <p:grpSpPr>
        <a:xfrm>
          <a:off x="0" y="0"/>
          <a:ext cx="0" cy="0"/>
          <a:chOff x="0" y="0"/>
          <a:chExt cx="0" cy="0"/>
        </a:xfrm>
      </p:grpSpPr>
      <p:sp>
        <p:nvSpPr>
          <p:cNvPr id="685" name="Google Shape;685;p75"/>
          <p:cNvSpPr>
            <a:spLocks noGrp="1"/>
          </p:cNvSpPr>
          <p:nvPr>
            <p:ph type="pic" idx="2"/>
          </p:nvPr>
        </p:nvSpPr>
        <p:spPr>
          <a:xfrm>
            <a:off x="1548657" y="2194441"/>
            <a:ext cx="2286000" cy="2286000"/>
          </a:xfrm>
          <a:prstGeom prst="roundRect">
            <a:avLst>
              <a:gd name="adj" fmla="val 50000"/>
            </a:avLst>
          </a:prstGeom>
          <a:noFill/>
          <a:ln w="19050" cap="flat" cmpd="sng">
            <a:solidFill>
              <a:srgbClr val="A371F7"/>
            </a:solidFill>
            <a:prstDash val="solid"/>
            <a:round/>
            <a:headEnd type="none" w="sm" len="sm"/>
            <a:tailEnd type="none" w="sm" len="sm"/>
          </a:ln>
          <a:effectLst>
            <a:reflection stA="15000" endPos="25000" sy="-100000" algn="bl" rotWithShape="0"/>
          </a:effectLst>
        </p:spPr>
      </p:sp>
      <p:pic>
        <p:nvPicPr>
          <p:cNvPr id="686" name="Google Shape;686;p75" descr="twitter-seeklogo.com 1.png"/>
          <p:cNvPicPr preferRelativeResize="0"/>
          <p:nvPr/>
        </p:nvPicPr>
        <p:blipFill rotWithShape="1">
          <a:blip r:embed="rId2">
            <a:alphaModFix/>
          </a:blip>
          <a:srcRect/>
          <a:stretch/>
        </p:blipFill>
        <p:spPr>
          <a:xfrm>
            <a:off x="4463585" y="2519116"/>
            <a:ext cx="369144" cy="301405"/>
          </a:xfrm>
          <a:prstGeom prst="rect">
            <a:avLst/>
          </a:prstGeom>
          <a:noFill/>
          <a:ln>
            <a:noFill/>
          </a:ln>
        </p:spPr>
      </p:pic>
      <p:sp>
        <p:nvSpPr>
          <p:cNvPr id="687" name="Google Shape;687;p75"/>
          <p:cNvSpPr txBox="1">
            <a:spLocks noGrp="1"/>
          </p:cNvSpPr>
          <p:nvPr>
            <p:ph type="subTitle" idx="1"/>
          </p:nvPr>
        </p:nvSpPr>
        <p:spPr>
          <a:xfrm>
            <a:off x="4462273" y="2987041"/>
            <a:ext cx="6324660" cy="963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b="1">
                <a:solidFill>
                  <a:schemeClr val="dk1"/>
                </a:solidFill>
              </a:defRPr>
            </a:lvl2pPr>
            <a:lvl3pPr lvl="2" algn="l">
              <a:lnSpc>
                <a:spcPct val="90000"/>
              </a:lnSpc>
              <a:spcBef>
                <a:spcPts val="0"/>
              </a:spcBef>
              <a:spcAft>
                <a:spcPts val="0"/>
              </a:spcAft>
              <a:buClr>
                <a:schemeClr val="dk1"/>
              </a:buClr>
              <a:buSzPts val="1600"/>
              <a:buFont typeface="Arial"/>
              <a:buNone/>
              <a:defRPr sz="2131" b="1">
                <a:solidFill>
                  <a:schemeClr val="dk1"/>
                </a:solidFill>
              </a:defRPr>
            </a:lvl3pPr>
            <a:lvl4pPr lvl="3" algn="l">
              <a:lnSpc>
                <a:spcPct val="90000"/>
              </a:lnSpc>
              <a:spcBef>
                <a:spcPts val="0"/>
              </a:spcBef>
              <a:spcAft>
                <a:spcPts val="0"/>
              </a:spcAft>
              <a:buClr>
                <a:schemeClr val="dk1"/>
              </a:buClr>
              <a:buSzPts val="1600"/>
              <a:buFont typeface="Arial"/>
              <a:buNone/>
              <a:defRPr sz="2131" b="1">
                <a:solidFill>
                  <a:schemeClr val="dk1"/>
                </a:solidFill>
              </a:defRPr>
            </a:lvl4pPr>
            <a:lvl5pPr lvl="4" algn="l">
              <a:lnSpc>
                <a:spcPct val="90000"/>
              </a:lnSpc>
              <a:spcBef>
                <a:spcPts val="0"/>
              </a:spcBef>
              <a:spcAft>
                <a:spcPts val="0"/>
              </a:spcAft>
              <a:buClr>
                <a:schemeClr val="dk1"/>
              </a:buClr>
              <a:buSzPts val="1600"/>
              <a:buFont typeface="Arial"/>
              <a:buNone/>
              <a:defRPr sz="2131" b="1">
                <a:solidFill>
                  <a:schemeClr val="dk1"/>
                </a:solidFill>
              </a:defRPr>
            </a:lvl5pPr>
            <a:lvl6pPr lvl="5" algn="l">
              <a:lnSpc>
                <a:spcPct val="90000"/>
              </a:lnSpc>
              <a:spcBef>
                <a:spcPts val="0"/>
              </a:spcBef>
              <a:spcAft>
                <a:spcPts val="0"/>
              </a:spcAft>
              <a:buClr>
                <a:schemeClr val="dk1"/>
              </a:buClr>
              <a:buSzPts val="1600"/>
              <a:buNone/>
              <a:defRPr sz="2131" b="1">
                <a:solidFill>
                  <a:schemeClr val="dk1"/>
                </a:solidFill>
              </a:defRPr>
            </a:lvl6pPr>
            <a:lvl7pPr lvl="6" algn="l">
              <a:lnSpc>
                <a:spcPct val="90000"/>
              </a:lnSpc>
              <a:spcBef>
                <a:spcPts val="0"/>
              </a:spcBef>
              <a:spcAft>
                <a:spcPts val="0"/>
              </a:spcAft>
              <a:buClr>
                <a:schemeClr val="dk1"/>
              </a:buClr>
              <a:buSzPts val="1600"/>
              <a:buNone/>
              <a:defRPr sz="2131" b="1">
                <a:solidFill>
                  <a:schemeClr val="dk1"/>
                </a:solidFill>
              </a:defRPr>
            </a:lvl7pPr>
            <a:lvl8pPr lvl="7" algn="l">
              <a:lnSpc>
                <a:spcPct val="90000"/>
              </a:lnSpc>
              <a:spcBef>
                <a:spcPts val="0"/>
              </a:spcBef>
              <a:spcAft>
                <a:spcPts val="0"/>
              </a:spcAft>
              <a:buClr>
                <a:schemeClr val="dk1"/>
              </a:buClr>
              <a:buSzPts val="1600"/>
              <a:buNone/>
              <a:defRPr sz="2131" b="1">
                <a:solidFill>
                  <a:schemeClr val="dk1"/>
                </a:solidFill>
              </a:defRPr>
            </a:lvl8pPr>
            <a:lvl9pPr lvl="8" algn="l">
              <a:lnSpc>
                <a:spcPct val="90000"/>
              </a:lnSpc>
              <a:spcBef>
                <a:spcPts val="0"/>
              </a:spcBef>
              <a:spcAft>
                <a:spcPts val="0"/>
              </a:spcAft>
              <a:buClr>
                <a:schemeClr val="dk1"/>
              </a:buClr>
              <a:buSzPts val="1600"/>
              <a:buNone/>
              <a:defRPr sz="2131" b="1">
                <a:solidFill>
                  <a:schemeClr val="dk1"/>
                </a:solidFill>
              </a:defRPr>
            </a:lvl9pPr>
          </a:lstStyle>
          <a:p>
            <a:endParaRPr/>
          </a:p>
        </p:txBody>
      </p:sp>
      <p:sp>
        <p:nvSpPr>
          <p:cNvPr id="688" name="Google Shape;688;p75"/>
          <p:cNvSpPr txBox="1">
            <a:spLocks noGrp="1"/>
          </p:cNvSpPr>
          <p:nvPr>
            <p:ph type="subTitle" idx="3"/>
          </p:nvPr>
        </p:nvSpPr>
        <p:spPr>
          <a:xfrm>
            <a:off x="4962132" y="2438534"/>
            <a:ext cx="5824800" cy="4144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600"/>
              <a:buFont typeface="Roboto Mono"/>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9pPr>
          </a:lstStyle>
          <a:p>
            <a:endParaRPr/>
          </a:p>
        </p:txBody>
      </p:sp>
    </p:spTree>
    <p:extLst>
      <p:ext uri="{BB962C8B-B14F-4D97-AF65-F5344CB8AC3E}">
        <p14:creationId xmlns:p14="http://schemas.microsoft.com/office/powerpoint/2010/main" val="8661437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a:srcRect l="10625" r="22709"/>
          <a:stretch/>
        </p:blipFill>
        <p:spPr bwMode="ltGray">
          <a:xfrm>
            <a:off x="5334000" y="0"/>
            <a:ext cx="6858000" cy="6858000"/>
          </a:xfrm>
          <a:prstGeom prst="rect">
            <a:avLst/>
          </a:prstGeom>
        </p:spPr>
      </p:pic>
    </p:spTree>
    <p:extLst>
      <p:ext uri="{BB962C8B-B14F-4D97-AF65-F5344CB8AC3E}">
        <p14:creationId xmlns:p14="http://schemas.microsoft.com/office/powerpoint/2010/main" val="3056420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matchingName="71. Two tweets">
  <p:cSld name="71. Two tweets">
    <p:spTree>
      <p:nvGrpSpPr>
        <p:cNvPr id="1" name="Shape 689"/>
        <p:cNvGrpSpPr/>
        <p:nvPr/>
      </p:nvGrpSpPr>
      <p:grpSpPr>
        <a:xfrm>
          <a:off x="0" y="0"/>
          <a:ext cx="0" cy="0"/>
          <a:chOff x="0" y="0"/>
          <a:chExt cx="0" cy="0"/>
        </a:xfrm>
      </p:grpSpPr>
      <p:sp>
        <p:nvSpPr>
          <p:cNvPr id="690" name="Google Shape;690;p76"/>
          <p:cNvSpPr/>
          <p:nvPr/>
        </p:nvSpPr>
        <p:spPr>
          <a:xfrm>
            <a:off x="6267063" y="1602737"/>
            <a:ext cx="4876800" cy="3657600"/>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i="0" u="none" strike="noStrike" cap="none">
              <a:solidFill>
                <a:schemeClr val="dk1"/>
              </a:solidFill>
              <a:latin typeface="Calibri"/>
              <a:ea typeface="Calibri"/>
              <a:cs typeface="Calibri"/>
              <a:sym typeface="Calibri"/>
            </a:endParaRPr>
          </a:p>
        </p:txBody>
      </p:sp>
      <p:sp>
        <p:nvSpPr>
          <p:cNvPr id="691" name="Google Shape;691;p76"/>
          <p:cNvSpPr/>
          <p:nvPr/>
        </p:nvSpPr>
        <p:spPr>
          <a:xfrm>
            <a:off x="1060063" y="1597671"/>
            <a:ext cx="4876800" cy="3657600"/>
          </a:xfrm>
          <a:prstGeom prst="roundRect">
            <a:avLst>
              <a:gd name="adj" fmla="val 4602"/>
            </a:avLst>
          </a:prstGeom>
          <a:noFill/>
          <a:ln w="9525" cap="flat" cmpd="sng">
            <a:solidFill>
              <a:schemeClr val="l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i="0" u="none" strike="noStrike" cap="none">
              <a:solidFill>
                <a:schemeClr val="dk1"/>
              </a:solidFill>
              <a:latin typeface="Calibri"/>
              <a:ea typeface="Calibri"/>
              <a:cs typeface="Calibri"/>
              <a:sym typeface="Calibri"/>
            </a:endParaRPr>
          </a:p>
        </p:txBody>
      </p:sp>
      <p:pic>
        <p:nvPicPr>
          <p:cNvPr id="692" name="Google Shape;692;p76" descr="twitter-seeklogo.com 1.png"/>
          <p:cNvPicPr preferRelativeResize="0"/>
          <p:nvPr/>
        </p:nvPicPr>
        <p:blipFill rotWithShape="1">
          <a:blip r:embed="rId2">
            <a:alphaModFix/>
          </a:blip>
          <a:srcRect/>
          <a:stretch/>
        </p:blipFill>
        <p:spPr>
          <a:xfrm>
            <a:off x="1455135" y="2156065"/>
            <a:ext cx="369147" cy="301408"/>
          </a:xfrm>
          <a:prstGeom prst="rect">
            <a:avLst/>
          </a:prstGeom>
          <a:noFill/>
          <a:ln>
            <a:noFill/>
          </a:ln>
        </p:spPr>
      </p:pic>
      <p:sp>
        <p:nvSpPr>
          <p:cNvPr id="693" name="Google Shape;693;p76"/>
          <p:cNvSpPr txBox="1">
            <a:spLocks noGrp="1"/>
          </p:cNvSpPr>
          <p:nvPr>
            <p:ph type="subTitle" idx="1"/>
          </p:nvPr>
        </p:nvSpPr>
        <p:spPr>
          <a:xfrm>
            <a:off x="1330251" y="2821933"/>
            <a:ext cx="4241200" cy="2116443"/>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694" name="Google Shape;694;p76"/>
          <p:cNvSpPr txBox="1">
            <a:spLocks noGrp="1"/>
          </p:cNvSpPr>
          <p:nvPr>
            <p:ph type="subTitle" idx="2"/>
          </p:nvPr>
        </p:nvSpPr>
        <p:spPr>
          <a:xfrm>
            <a:off x="1943917" y="2094501"/>
            <a:ext cx="3627600" cy="4144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600"/>
              <a:buFont typeface="Roboto Mono"/>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9pPr>
          </a:lstStyle>
          <a:p>
            <a:endParaRPr/>
          </a:p>
        </p:txBody>
      </p:sp>
      <p:sp>
        <p:nvSpPr>
          <p:cNvPr id="695" name="Google Shape;695;p76"/>
          <p:cNvSpPr/>
          <p:nvPr/>
        </p:nvSpPr>
        <p:spPr>
          <a:xfrm rot="-5400000" flipH="1">
            <a:off x="603152" y="2430710"/>
            <a:ext cx="914400" cy="24400"/>
          </a:xfrm>
          <a:prstGeom prst="roundRect">
            <a:avLst>
              <a:gd name="adj" fmla="val 50000"/>
            </a:avLst>
          </a:prstGeom>
          <a:gradFill>
            <a:gsLst>
              <a:gs pos="0">
                <a:srgbClr val="A371F7"/>
              </a:gs>
              <a:gs pos="100000">
                <a:srgbClr val="DB61A2"/>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696" name="Google Shape;696;p76"/>
          <p:cNvSpPr/>
          <p:nvPr/>
        </p:nvSpPr>
        <p:spPr>
          <a:xfrm rot="5400000">
            <a:off x="5810919" y="2430691"/>
            <a:ext cx="914400" cy="24400"/>
          </a:xfrm>
          <a:prstGeom prst="roundRect">
            <a:avLst>
              <a:gd name="adj" fmla="val 50000"/>
            </a:avLst>
          </a:prstGeom>
          <a:gradFill>
            <a:gsLst>
              <a:gs pos="0">
                <a:srgbClr val="57CCC5"/>
              </a:gs>
              <a:gs pos="100000">
                <a:srgbClr val="388BFD"/>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697" name="Google Shape;697;p76"/>
          <p:cNvSpPr txBox="1">
            <a:spLocks noGrp="1"/>
          </p:cNvSpPr>
          <p:nvPr>
            <p:ph type="subTitle" idx="3"/>
          </p:nvPr>
        </p:nvSpPr>
        <p:spPr>
          <a:xfrm>
            <a:off x="6537251" y="2826999"/>
            <a:ext cx="4241200" cy="2116443"/>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698" name="Google Shape;698;p76"/>
          <p:cNvSpPr txBox="1">
            <a:spLocks noGrp="1"/>
          </p:cNvSpPr>
          <p:nvPr>
            <p:ph type="subTitle" idx="4"/>
          </p:nvPr>
        </p:nvSpPr>
        <p:spPr>
          <a:xfrm>
            <a:off x="7150917" y="2099567"/>
            <a:ext cx="3627600" cy="4144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600"/>
              <a:buFont typeface="Roboto Mono"/>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600"/>
              <a:buFont typeface="Roboto Mono"/>
              <a:buNone/>
              <a:defRPr sz="2131">
                <a:solidFill>
                  <a:schemeClr val="dk2"/>
                </a:solidFill>
                <a:latin typeface="Roboto Mono"/>
                <a:ea typeface="Roboto Mono"/>
                <a:cs typeface="Roboto Mono"/>
                <a:sym typeface="Roboto Mono"/>
              </a:defRPr>
            </a:lvl9pPr>
          </a:lstStyle>
          <a:p>
            <a:endParaRPr/>
          </a:p>
        </p:txBody>
      </p:sp>
      <p:pic>
        <p:nvPicPr>
          <p:cNvPr id="699" name="Google Shape;699;p76" descr="twitter-seeklogo.com 1.png"/>
          <p:cNvPicPr preferRelativeResize="0"/>
          <p:nvPr/>
        </p:nvPicPr>
        <p:blipFill rotWithShape="1">
          <a:blip r:embed="rId2">
            <a:alphaModFix/>
          </a:blip>
          <a:srcRect/>
          <a:stretch/>
        </p:blipFill>
        <p:spPr>
          <a:xfrm>
            <a:off x="6621635" y="2150998"/>
            <a:ext cx="369147" cy="301408"/>
          </a:xfrm>
          <a:prstGeom prst="rect">
            <a:avLst/>
          </a:prstGeom>
          <a:noFill/>
          <a:ln>
            <a:noFill/>
          </a:ln>
        </p:spPr>
      </p:pic>
    </p:spTree>
    <p:extLst>
      <p:ext uri="{BB962C8B-B14F-4D97-AF65-F5344CB8AC3E}">
        <p14:creationId xmlns:p14="http://schemas.microsoft.com/office/powerpoint/2010/main" val="2596501151"/>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matchingName="72. Product x ROI">
  <p:cSld name="72. Product x ROI">
    <p:spTree>
      <p:nvGrpSpPr>
        <p:cNvPr id="1" name="Shape 700"/>
        <p:cNvGrpSpPr/>
        <p:nvPr/>
      </p:nvGrpSpPr>
      <p:grpSpPr>
        <a:xfrm>
          <a:off x="0" y="0"/>
          <a:ext cx="0" cy="0"/>
          <a:chOff x="0" y="0"/>
          <a:chExt cx="0" cy="0"/>
        </a:xfrm>
      </p:grpSpPr>
      <p:sp>
        <p:nvSpPr>
          <p:cNvPr id="701" name="Google Shape;701;p77"/>
          <p:cNvSpPr txBox="1">
            <a:spLocks noGrp="1"/>
          </p:cNvSpPr>
          <p:nvPr>
            <p:ph type="title"/>
          </p:nvPr>
        </p:nvSpPr>
        <p:spPr>
          <a:xfrm>
            <a:off x="451104" y="512064"/>
            <a:ext cx="11424000" cy="890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702" name="Google Shape;702;p77"/>
          <p:cNvSpPr txBox="1">
            <a:spLocks noGrp="1"/>
          </p:cNvSpPr>
          <p:nvPr>
            <p:ph type="subTitle" idx="1"/>
          </p:nvPr>
        </p:nvSpPr>
        <p:spPr>
          <a:xfrm>
            <a:off x="451104" y="2682241"/>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03" name="Google Shape;703;p77"/>
          <p:cNvSpPr txBox="1">
            <a:spLocks noGrp="1"/>
          </p:cNvSpPr>
          <p:nvPr>
            <p:ph type="subTitle" idx="2"/>
          </p:nvPr>
        </p:nvSpPr>
        <p:spPr>
          <a:xfrm>
            <a:off x="451104" y="3312160"/>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04" name="Google Shape;704;p77"/>
          <p:cNvSpPr txBox="1"/>
          <p:nvPr/>
        </p:nvSpPr>
        <p:spPr>
          <a:xfrm>
            <a:off x="3998976" y="2682241"/>
            <a:ext cx="365600" cy="329200"/>
          </a:xfrm>
          <a:prstGeom prst="rect">
            <a:avLst/>
          </a:prstGeom>
          <a:noFill/>
          <a:ln>
            <a:noFill/>
          </a:ln>
        </p:spPr>
        <p:txBody>
          <a:bodyPr spcFirstLastPara="1" wrap="square" lIns="121787" tIns="121787" rIns="121787" bIns="121787" anchor="ctr" anchorCtr="0">
            <a:noAutofit/>
          </a:bodyPr>
          <a:lstStyle/>
          <a:p>
            <a:pPr marL="0" marR="0" lvl="0" indent="0" algn="ctr" rtl="0">
              <a:spcBef>
                <a:spcPts val="0"/>
              </a:spcBef>
              <a:spcAft>
                <a:spcPts val="0"/>
              </a:spcAft>
              <a:buClr>
                <a:schemeClr val="dk1"/>
              </a:buClr>
              <a:buSzPts val="2000"/>
              <a:buFont typeface="Arial"/>
              <a:buNone/>
            </a:pPr>
            <a:r>
              <a:rPr lang="en-US" sz="2664" b="1" i="0">
                <a:solidFill>
                  <a:schemeClr val="dk1"/>
                </a:solidFill>
                <a:latin typeface="Arial"/>
                <a:ea typeface="Arial"/>
                <a:cs typeface="Arial"/>
                <a:sym typeface="Arial"/>
              </a:rPr>
              <a:t>-</a:t>
            </a:r>
            <a:endParaRPr sz="2664" b="1" i="0">
              <a:solidFill>
                <a:schemeClr val="dk1"/>
              </a:solidFill>
              <a:latin typeface="Arial"/>
              <a:ea typeface="Arial"/>
              <a:cs typeface="Arial"/>
              <a:sym typeface="Arial"/>
            </a:endParaRPr>
          </a:p>
        </p:txBody>
      </p:sp>
      <p:sp>
        <p:nvSpPr>
          <p:cNvPr id="705" name="Google Shape;705;p77"/>
          <p:cNvSpPr txBox="1"/>
          <p:nvPr/>
        </p:nvSpPr>
        <p:spPr>
          <a:xfrm>
            <a:off x="451104" y="2255520"/>
            <a:ext cx="3279600" cy="390000"/>
          </a:xfrm>
          <a:prstGeom prst="rect">
            <a:avLst/>
          </a:prstGeom>
          <a:no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accent1"/>
              </a:buClr>
              <a:buSzPts val="1800"/>
              <a:buFont typeface="Arial"/>
              <a:buNone/>
            </a:pPr>
            <a:r>
              <a:rPr lang="en-US" sz="2398">
                <a:solidFill>
                  <a:schemeClr val="accent1"/>
                </a:solidFill>
                <a:latin typeface="Arial"/>
                <a:ea typeface="Arial"/>
                <a:cs typeface="Arial"/>
                <a:sym typeface="Arial"/>
              </a:rPr>
              <a:t>Benefits</a:t>
            </a:r>
            <a:endParaRPr sz="2398">
              <a:solidFill>
                <a:schemeClr val="accent1"/>
              </a:solidFill>
              <a:latin typeface="Arial"/>
              <a:ea typeface="Arial"/>
              <a:cs typeface="Arial"/>
              <a:sym typeface="Arial"/>
            </a:endParaRPr>
          </a:p>
        </p:txBody>
      </p:sp>
      <p:sp>
        <p:nvSpPr>
          <p:cNvPr id="706" name="Google Shape;706;p77"/>
          <p:cNvSpPr txBox="1">
            <a:spLocks noGrp="1"/>
          </p:cNvSpPr>
          <p:nvPr>
            <p:ph type="subTitle" idx="3"/>
          </p:nvPr>
        </p:nvSpPr>
        <p:spPr>
          <a:xfrm>
            <a:off x="4632960" y="2670048"/>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07" name="Google Shape;707;p77"/>
          <p:cNvSpPr txBox="1">
            <a:spLocks noGrp="1"/>
          </p:cNvSpPr>
          <p:nvPr>
            <p:ph type="subTitle" idx="4"/>
          </p:nvPr>
        </p:nvSpPr>
        <p:spPr>
          <a:xfrm>
            <a:off x="4632960" y="3299969"/>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08" name="Google Shape;708;p77"/>
          <p:cNvSpPr txBox="1"/>
          <p:nvPr/>
        </p:nvSpPr>
        <p:spPr>
          <a:xfrm>
            <a:off x="4632960" y="2243329"/>
            <a:ext cx="3279600" cy="390000"/>
          </a:xfrm>
          <a:prstGeom prst="rect">
            <a:avLst/>
          </a:prstGeom>
          <a:no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accent3"/>
              </a:buClr>
              <a:buSzPts val="1800"/>
              <a:buFont typeface="Arial"/>
              <a:buNone/>
            </a:pPr>
            <a:r>
              <a:rPr lang="en-US" sz="2398">
                <a:solidFill>
                  <a:schemeClr val="accent3"/>
                </a:solidFill>
                <a:latin typeface="Arial"/>
                <a:ea typeface="Arial"/>
                <a:cs typeface="Arial"/>
                <a:sym typeface="Arial"/>
              </a:rPr>
              <a:t>Cost</a:t>
            </a:r>
            <a:endParaRPr sz="2398">
              <a:solidFill>
                <a:schemeClr val="accent3"/>
              </a:solidFill>
              <a:latin typeface="Arial"/>
              <a:ea typeface="Arial"/>
              <a:cs typeface="Arial"/>
              <a:sym typeface="Arial"/>
            </a:endParaRPr>
          </a:p>
        </p:txBody>
      </p:sp>
      <p:sp>
        <p:nvSpPr>
          <p:cNvPr id="709" name="Google Shape;709;p77"/>
          <p:cNvSpPr txBox="1"/>
          <p:nvPr/>
        </p:nvSpPr>
        <p:spPr>
          <a:xfrm>
            <a:off x="8241792" y="2718817"/>
            <a:ext cx="365600" cy="329200"/>
          </a:xfrm>
          <a:prstGeom prst="rect">
            <a:avLst/>
          </a:prstGeom>
          <a:noFill/>
          <a:ln>
            <a:noFill/>
          </a:ln>
        </p:spPr>
        <p:txBody>
          <a:bodyPr spcFirstLastPara="1" wrap="square" lIns="121787" tIns="121787" rIns="121787" bIns="121787" anchor="ctr" anchorCtr="0">
            <a:noAutofit/>
          </a:bodyPr>
          <a:lstStyle/>
          <a:p>
            <a:pPr marL="0" marR="0" lvl="0" indent="0" algn="ctr" rtl="0">
              <a:spcBef>
                <a:spcPts val="0"/>
              </a:spcBef>
              <a:spcAft>
                <a:spcPts val="0"/>
              </a:spcAft>
              <a:buClr>
                <a:schemeClr val="dk1"/>
              </a:buClr>
              <a:buSzPts val="2000"/>
              <a:buFont typeface="Arial"/>
              <a:buNone/>
            </a:pPr>
            <a:r>
              <a:rPr lang="en-US" sz="2664" b="1" i="0">
                <a:solidFill>
                  <a:schemeClr val="dk1"/>
                </a:solidFill>
                <a:latin typeface="Arial"/>
                <a:ea typeface="Arial"/>
                <a:cs typeface="Arial"/>
                <a:sym typeface="Arial"/>
              </a:rPr>
              <a:t>=</a:t>
            </a:r>
            <a:endParaRPr sz="2664" b="1" i="0">
              <a:solidFill>
                <a:schemeClr val="dk1"/>
              </a:solidFill>
              <a:latin typeface="Arial"/>
              <a:ea typeface="Arial"/>
              <a:cs typeface="Arial"/>
              <a:sym typeface="Arial"/>
            </a:endParaRPr>
          </a:p>
        </p:txBody>
      </p:sp>
      <p:sp>
        <p:nvSpPr>
          <p:cNvPr id="710" name="Google Shape;710;p77"/>
          <p:cNvSpPr txBox="1">
            <a:spLocks noGrp="1"/>
          </p:cNvSpPr>
          <p:nvPr>
            <p:ph type="subTitle" idx="5"/>
          </p:nvPr>
        </p:nvSpPr>
        <p:spPr>
          <a:xfrm>
            <a:off x="9144000" y="2694432"/>
            <a:ext cx="25968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Tree>
    <p:extLst>
      <p:ext uri="{BB962C8B-B14F-4D97-AF65-F5344CB8AC3E}">
        <p14:creationId xmlns:p14="http://schemas.microsoft.com/office/powerpoint/2010/main" val="3697665377"/>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matchingName="73. Product x ROI x 2">
  <p:cSld name="73. Product x ROI x 2">
    <p:spTree>
      <p:nvGrpSpPr>
        <p:cNvPr id="1" name="Shape 711"/>
        <p:cNvGrpSpPr/>
        <p:nvPr/>
      </p:nvGrpSpPr>
      <p:grpSpPr>
        <a:xfrm>
          <a:off x="0" y="0"/>
          <a:ext cx="0" cy="0"/>
          <a:chOff x="0" y="0"/>
          <a:chExt cx="0" cy="0"/>
        </a:xfrm>
      </p:grpSpPr>
      <p:cxnSp>
        <p:nvCxnSpPr>
          <p:cNvPr id="712" name="Google Shape;712;p78"/>
          <p:cNvCxnSpPr/>
          <p:nvPr/>
        </p:nvCxnSpPr>
        <p:spPr>
          <a:xfrm>
            <a:off x="445452" y="4959385"/>
            <a:ext cx="3276600" cy="0"/>
          </a:xfrm>
          <a:prstGeom prst="straightConnector1">
            <a:avLst/>
          </a:prstGeom>
          <a:noFill/>
          <a:ln w="19050" cap="rnd" cmpd="sng">
            <a:solidFill>
              <a:schemeClr val="dk2"/>
            </a:solidFill>
            <a:prstDash val="solid"/>
            <a:round/>
            <a:headEnd type="none" w="sm" len="sm"/>
            <a:tailEnd type="none" w="sm" len="sm"/>
          </a:ln>
        </p:spPr>
      </p:cxnSp>
      <p:cxnSp>
        <p:nvCxnSpPr>
          <p:cNvPr id="713" name="Google Shape;713;p78"/>
          <p:cNvCxnSpPr/>
          <p:nvPr/>
        </p:nvCxnSpPr>
        <p:spPr>
          <a:xfrm>
            <a:off x="4630201" y="4965770"/>
            <a:ext cx="3276600" cy="0"/>
          </a:xfrm>
          <a:prstGeom prst="straightConnector1">
            <a:avLst/>
          </a:prstGeom>
          <a:noFill/>
          <a:ln w="19050" cap="rnd" cmpd="sng">
            <a:solidFill>
              <a:schemeClr val="dk2"/>
            </a:solidFill>
            <a:prstDash val="solid"/>
            <a:round/>
            <a:headEnd type="none" w="sm" len="sm"/>
            <a:tailEnd type="none" w="sm" len="sm"/>
          </a:ln>
        </p:spPr>
      </p:cxnSp>
      <p:sp>
        <p:nvSpPr>
          <p:cNvPr id="714" name="Google Shape;714;p78"/>
          <p:cNvSpPr txBox="1">
            <a:spLocks noGrp="1"/>
          </p:cNvSpPr>
          <p:nvPr>
            <p:ph type="title"/>
          </p:nvPr>
        </p:nvSpPr>
        <p:spPr>
          <a:xfrm>
            <a:off x="451104" y="512064"/>
            <a:ext cx="11424000" cy="890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9pPr>
          </a:lstStyle>
          <a:p>
            <a:endParaRPr/>
          </a:p>
        </p:txBody>
      </p:sp>
      <p:sp>
        <p:nvSpPr>
          <p:cNvPr id="715" name="Google Shape;715;p78"/>
          <p:cNvSpPr txBox="1">
            <a:spLocks noGrp="1"/>
          </p:cNvSpPr>
          <p:nvPr>
            <p:ph type="subTitle" idx="1"/>
          </p:nvPr>
        </p:nvSpPr>
        <p:spPr>
          <a:xfrm>
            <a:off x="451104" y="2682241"/>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16" name="Google Shape;716;p78"/>
          <p:cNvSpPr txBox="1">
            <a:spLocks noGrp="1"/>
          </p:cNvSpPr>
          <p:nvPr>
            <p:ph type="subTitle" idx="2"/>
          </p:nvPr>
        </p:nvSpPr>
        <p:spPr>
          <a:xfrm>
            <a:off x="451104" y="3007361"/>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17" name="Google Shape;717;p78"/>
          <p:cNvSpPr txBox="1"/>
          <p:nvPr/>
        </p:nvSpPr>
        <p:spPr>
          <a:xfrm>
            <a:off x="451104" y="2255520"/>
            <a:ext cx="3279600" cy="390000"/>
          </a:xfrm>
          <a:prstGeom prst="rect">
            <a:avLst/>
          </a:prstGeom>
          <a:no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accent1"/>
              </a:buClr>
              <a:buSzPts val="1800"/>
              <a:buFont typeface="Arial"/>
              <a:buNone/>
            </a:pPr>
            <a:r>
              <a:rPr lang="en-US" sz="2398">
                <a:solidFill>
                  <a:schemeClr val="accent1"/>
                </a:solidFill>
                <a:latin typeface="Arial"/>
                <a:ea typeface="Arial"/>
                <a:cs typeface="Arial"/>
                <a:sym typeface="Arial"/>
              </a:rPr>
              <a:t>Benefits</a:t>
            </a:r>
            <a:endParaRPr sz="2398">
              <a:solidFill>
                <a:schemeClr val="accent1"/>
              </a:solidFill>
              <a:latin typeface="Arial"/>
              <a:ea typeface="Arial"/>
              <a:cs typeface="Arial"/>
              <a:sym typeface="Arial"/>
            </a:endParaRPr>
          </a:p>
        </p:txBody>
      </p:sp>
      <p:sp>
        <p:nvSpPr>
          <p:cNvPr id="718" name="Google Shape;718;p78"/>
          <p:cNvSpPr txBox="1">
            <a:spLocks noGrp="1"/>
          </p:cNvSpPr>
          <p:nvPr>
            <p:ph type="subTitle" idx="3"/>
          </p:nvPr>
        </p:nvSpPr>
        <p:spPr>
          <a:xfrm>
            <a:off x="4632960" y="2670048"/>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19" name="Google Shape;719;p78"/>
          <p:cNvSpPr txBox="1">
            <a:spLocks noGrp="1"/>
          </p:cNvSpPr>
          <p:nvPr>
            <p:ph type="subTitle" idx="4"/>
          </p:nvPr>
        </p:nvSpPr>
        <p:spPr>
          <a:xfrm>
            <a:off x="4632960" y="2995168"/>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20" name="Google Shape;720;p78"/>
          <p:cNvSpPr txBox="1"/>
          <p:nvPr/>
        </p:nvSpPr>
        <p:spPr>
          <a:xfrm>
            <a:off x="4632960" y="2243329"/>
            <a:ext cx="3279600" cy="390000"/>
          </a:xfrm>
          <a:prstGeom prst="rect">
            <a:avLst/>
          </a:prstGeom>
          <a:no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accent3"/>
              </a:buClr>
              <a:buSzPts val="1800"/>
              <a:buFont typeface="Arial"/>
              <a:buNone/>
            </a:pPr>
            <a:r>
              <a:rPr lang="en-US" sz="2398">
                <a:solidFill>
                  <a:schemeClr val="accent3"/>
                </a:solidFill>
                <a:latin typeface="Arial"/>
                <a:ea typeface="Arial"/>
                <a:cs typeface="Arial"/>
                <a:sym typeface="Arial"/>
              </a:rPr>
              <a:t>Cost</a:t>
            </a:r>
            <a:endParaRPr sz="2398">
              <a:solidFill>
                <a:schemeClr val="accent3"/>
              </a:solidFill>
              <a:latin typeface="Arial"/>
              <a:ea typeface="Arial"/>
              <a:cs typeface="Arial"/>
              <a:sym typeface="Arial"/>
            </a:endParaRPr>
          </a:p>
        </p:txBody>
      </p:sp>
      <p:sp>
        <p:nvSpPr>
          <p:cNvPr id="721" name="Google Shape;721;p78"/>
          <p:cNvSpPr txBox="1">
            <a:spLocks noGrp="1"/>
          </p:cNvSpPr>
          <p:nvPr>
            <p:ph type="subTitle" idx="5"/>
          </p:nvPr>
        </p:nvSpPr>
        <p:spPr>
          <a:xfrm>
            <a:off x="9144000" y="5145024"/>
            <a:ext cx="25968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22" name="Google Shape;722;p78"/>
          <p:cNvSpPr txBox="1">
            <a:spLocks noGrp="1"/>
          </p:cNvSpPr>
          <p:nvPr>
            <p:ph type="subTitle" idx="6"/>
          </p:nvPr>
        </p:nvSpPr>
        <p:spPr>
          <a:xfrm>
            <a:off x="451104" y="3938017"/>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23" name="Google Shape;723;p78"/>
          <p:cNvSpPr txBox="1">
            <a:spLocks noGrp="1"/>
          </p:cNvSpPr>
          <p:nvPr>
            <p:ph type="subTitle" idx="7"/>
          </p:nvPr>
        </p:nvSpPr>
        <p:spPr>
          <a:xfrm>
            <a:off x="451104" y="4263137"/>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24" name="Google Shape;724;p78"/>
          <p:cNvSpPr txBox="1">
            <a:spLocks noGrp="1"/>
          </p:cNvSpPr>
          <p:nvPr>
            <p:ph type="subTitle" idx="8"/>
          </p:nvPr>
        </p:nvSpPr>
        <p:spPr>
          <a:xfrm>
            <a:off x="4632960" y="3925824"/>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25" name="Google Shape;725;p78"/>
          <p:cNvSpPr txBox="1">
            <a:spLocks noGrp="1"/>
          </p:cNvSpPr>
          <p:nvPr>
            <p:ph type="subTitle" idx="9"/>
          </p:nvPr>
        </p:nvSpPr>
        <p:spPr>
          <a:xfrm>
            <a:off x="4632960" y="4250944"/>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26" name="Google Shape;726;p78"/>
          <p:cNvSpPr txBox="1">
            <a:spLocks noGrp="1"/>
          </p:cNvSpPr>
          <p:nvPr>
            <p:ph type="subTitle" idx="13"/>
          </p:nvPr>
        </p:nvSpPr>
        <p:spPr>
          <a:xfrm>
            <a:off x="451104" y="5169408"/>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27" name="Google Shape;727;p78"/>
          <p:cNvSpPr txBox="1">
            <a:spLocks noGrp="1"/>
          </p:cNvSpPr>
          <p:nvPr>
            <p:ph type="subTitle" idx="14"/>
          </p:nvPr>
        </p:nvSpPr>
        <p:spPr>
          <a:xfrm>
            <a:off x="4632960" y="5157217"/>
            <a:ext cx="3279600" cy="3900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28" name="Google Shape;728;p78"/>
          <p:cNvSpPr txBox="1"/>
          <p:nvPr/>
        </p:nvSpPr>
        <p:spPr>
          <a:xfrm>
            <a:off x="3998976" y="2682241"/>
            <a:ext cx="365600" cy="329200"/>
          </a:xfrm>
          <a:prstGeom prst="rect">
            <a:avLst/>
          </a:prstGeom>
          <a:noFill/>
          <a:ln>
            <a:noFill/>
          </a:ln>
        </p:spPr>
        <p:txBody>
          <a:bodyPr spcFirstLastPara="1" wrap="square" lIns="121787" tIns="121787" rIns="121787" bIns="121787" anchor="ctr" anchorCtr="0">
            <a:noAutofit/>
          </a:bodyPr>
          <a:lstStyle/>
          <a:p>
            <a:pPr marL="0" marR="0" lvl="0" indent="0" algn="ctr" rtl="0">
              <a:spcBef>
                <a:spcPts val="0"/>
              </a:spcBef>
              <a:spcAft>
                <a:spcPts val="0"/>
              </a:spcAft>
              <a:buClr>
                <a:schemeClr val="dk1"/>
              </a:buClr>
              <a:buSzPts val="2000"/>
              <a:buFont typeface="Arial"/>
              <a:buNone/>
            </a:pPr>
            <a:r>
              <a:rPr lang="en-US" sz="2664" b="1" i="0">
                <a:solidFill>
                  <a:schemeClr val="dk1"/>
                </a:solidFill>
                <a:latin typeface="Arial"/>
                <a:ea typeface="Arial"/>
                <a:cs typeface="Arial"/>
                <a:sym typeface="Arial"/>
              </a:rPr>
              <a:t>-</a:t>
            </a:r>
            <a:endParaRPr sz="2664" b="1" i="0">
              <a:solidFill>
                <a:schemeClr val="dk1"/>
              </a:solidFill>
              <a:latin typeface="Arial"/>
              <a:ea typeface="Arial"/>
              <a:cs typeface="Arial"/>
              <a:sym typeface="Arial"/>
            </a:endParaRPr>
          </a:p>
        </p:txBody>
      </p:sp>
      <p:sp>
        <p:nvSpPr>
          <p:cNvPr id="729" name="Google Shape;729;p78"/>
          <p:cNvSpPr txBox="1"/>
          <p:nvPr/>
        </p:nvSpPr>
        <p:spPr>
          <a:xfrm>
            <a:off x="8241792" y="5169409"/>
            <a:ext cx="365600" cy="329200"/>
          </a:xfrm>
          <a:prstGeom prst="rect">
            <a:avLst/>
          </a:prstGeom>
          <a:noFill/>
          <a:ln>
            <a:noFill/>
          </a:ln>
        </p:spPr>
        <p:txBody>
          <a:bodyPr spcFirstLastPara="1" wrap="square" lIns="121787" tIns="121787" rIns="121787" bIns="121787" anchor="ctr" anchorCtr="0">
            <a:noAutofit/>
          </a:bodyPr>
          <a:lstStyle/>
          <a:p>
            <a:pPr marL="0" marR="0" lvl="0" indent="0" algn="ctr" rtl="0">
              <a:spcBef>
                <a:spcPts val="0"/>
              </a:spcBef>
              <a:spcAft>
                <a:spcPts val="0"/>
              </a:spcAft>
              <a:buClr>
                <a:schemeClr val="dk1"/>
              </a:buClr>
              <a:buSzPts val="2000"/>
              <a:buFont typeface="Arial"/>
              <a:buNone/>
            </a:pPr>
            <a:r>
              <a:rPr lang="en-US" sz="2664" b="1" i="0">
                <a:solidFill>
                  <a:schemeClr val="dk1"/>
                </a:solidFill>
                <a:latin typeface="Arial"/>
                <a:ea typeface="Arial"/>
                <a:cs typeface="Arial"/>
                <a:sym typeface="Arial"/>
              </a:rPr>
              <a:t>=</a:t>
            </a:r>
            <a:endParaRPr sz="2664" b="1" i="0">
              <a:solidFill>
                <a:schemeClr val="dk1"/>
              </a:solidFill>
              <a:latin typeface="Arial"/>
              <a:ea typeface="Arial"/>
              <a:cs typeface="Arial"/>
              <a:sym typeface="Arial"/>
            </a:endParaRPr>
          </a:p>
        </p:txBody>
      </p:sp>
    </p:spTree>
    <p:extLst>
      <p:ext uri="{BB962C8B-B14F-4D97-AF65-F5344CB8AC3E}">
        <p14:creationId xmlns:p14="http://schemas.microsoft.com/office/powerpoint/2010/main" val="3046516873"/>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matchingName="74. One large number">
  <p:cSld name="74. One large number">
    <p:spTree>
      <p:nvGrpSpPr>
        <p:cNvPr id="1" name="Shape 730"/>
        <p:cNvGrpSpPr/>
        <p:nvPr/>
      </p:nvGrpSpPr>
      <p:grpSpPr>
        <a:xfrm>
          <a:off x="0" y="0"/>
          <a:ext cx="0" cy="0"/>
          <a:chOff x="0" y="0"/>
          <a:chExt cx="0" cy="0"/>
        </a:xfrm>
      </p:grpSpPr>
      <p:sp>
        <p:nvSpPr>
          <p:cNvPr id="731" name="Google Shape;731;p79"/>
          <p:cNvSpPr txBox="1">
            <a:spLocks noGrp="1"/>
          </p:cNvSpPr>
          <p:nvPr>
            <p:ph type="subTitle" idx="1"/>
          </p:nvPr>
        </p:nvSpPr>
        <p:spPr>
          <a:xfrm>
            <a:off x="3864864" y="2548129"/>
            <a:ext cx="4462400" cy="1743600"/>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accent1"/>
              </a:buClr>
              <a:buSzPts val="6000"/>
              <a:buFont typeface="Arial"/>
              <a:buNone/>
              <a:defRPr sz="7993" b="1" i="0">
                <a:solidFill>
                  <a:schemeClr val="accent6"/>
                </a:solidFill>
                <a:latin typeface="Arial"/>
                <a:ea typeface="Arial"/>
                <a:cs typeface="Arial"/>
                <a:sym typeface="Arial"/>
              </a:defRPr>
            </a:lvl1pPr>
            <a:lvl2pPr lvl="1" algn="ctr">
              <a:lnSpc>
                <a:spcPct val="90000"/>
              </a:lnSpc>
              <a:spcBef>
                <a:spcPts val="0"/>
              </a:spcBef>
              <a:spcAft>
                <a:spcPts val="0"/>
              </a:spcAft>
              <a:buClr>
                <a:schemeClr val="accent1"/>
              </a:buClr>
              <a:buSzPts val="6000"/>
              <a:buFont typeface="Arial"/>
              <a:buNone/>
              <a:defRPr sz="7993" b="1">
                <a:solidFill>
                  <a:schemeClr val="accent1"/>
                </a:solidFill>
              </a:defRPr>
            </a:lvl2pPr>
            <a:lvl3pPr lvl="2" algn="ctr">
              <a:lnSpc>
                <a:spcPct val="90000"/>
              </a:lnSpc>
              <a:spcBef>
                <a:spcPts val="0"/>
              </a:spcBef>
              <a:spcAft>
                <a:spcPts val="0"/>
              </a:spcAft>
              <a:buClr>
                <a:schemeClr val="accent1"/>
              </a:buClr>
              <a:buSzPts val="6000"/>
              <a:buFont typeface="Arial"/>
              <a:buNone/>
              <a:defRPr sz="7993" b="1">
                <a:solidFill>
                  <a:schemeClr val="accent1"/>
                </a:solidFill>
              </a:defRPr>
            </a:lvl3pPr>
            <a:lvl4pPr lvl="3" algn="ctr">
              <a:lnSpc>
                <a:spcPct val="90000"/>
              </a:lnSpc>
              <a:spcBef>
                <a:spcPts val="0"/>
              </a:spcBef>
              <a:spcAft>
                <a:spcPts val="0"/>
              </a:spcAft>
              <a:buClr>
                <a:schemeClr val="accent1"/>
              </a:buClr>
              <a:buSzPts val="6000"/>
              <a:buFont typeface="Arial"/>
              <a:buNone/>
              <a:defRPr sz="7993" b="1">
                <a:solidFill>
                  <a:schemeClr val="accent1"/>
                </a:solidFill>
              </a:defRPr>
            </a:lvl4pPr>
            <a:lvl5pPr lvl="4" algn="ctr">
              <a:lnSpc>
                <a:spcPct val="90000"/>
              </a:lnSpc>
              <a:spcBef>
                <a:spcPts val="0"/>
              </a:spcBef>
              <a:spcAft>
                <a:spcPts val="0"/>
              </a:spcAft>
              <a:buClr>
                <a:schemeClr val="accent1"/>
              </a:buClr>
              <a:buSzPts val="6000"/>
              <a:buFont typeface="Arial"/>
              <a:buNone/>
              <a:defRPr sz="7993" b="1">
                <a:solidFill>
                  <a:schemeClr val="accent1"/>
                </a:solidFill>
              </a:defRPr>
            </a:lvl5pPr>
            <a:lvl6pPr lvl="5" algn="ctr">
              <a:lnSpc>
                <a:spcPct val="90000"/>
              </a:lnSpc>
              <a:spcBef>
                <a:spcPts val="0"/>
              </a:spcBef>
              <a:spcAft>
                <a:spcPts val="0"/>
              </a:spcAft>
              <a:buClr>
                <a:schemeClr val="accent1"/>
              </a:buClr>
              <a:buSzPts val="6000"/>
              <a:buNone/>
              <a:defRPr sz="7993" b="1">
                <a:solidFill>
                  <a:schemeClr val="accent1"/>
                </a:solidFill>
              </a:defRPr>
            </a:lvl6pPr>
            <a:lvl7pPr lvl="6" algn="ctr">
              <a:lnSpc>
                <a:spcPct val="90000"/>
              </a:lnSpc>
              <a:spcBef>
                <a:spcPts val="0"/>
              </a:spcBef>
              <a:spcAft>
                <a:spcPts val="0"/>
              </a:spcAft>
              <a:buClr>
                <a:schemeClr val="accent1"/>
              </a:buClr>
              <a:buSzPts val="6000"/>
              <a:buNone/>
              <a:defRPr sz="7993" b="1">
                <a:solidFill>
                  <a:schemeClr val="accent1"/>
                </a:solidFill>
              </a:defRPr>
            </a:lvl7pPr>
            <a:lvl8pPr lvl="7" algn="ctr">
              <a:lnSpc>
                <a:spcPct val="90000"/>
              </a:lnSpc>
              <a:spcBef>
                <a:spcPts val="0"/>
              </a:spcBef>
              <a:spcAft>
                <a:spcPts val="0"/>
              </a:spcAft>
              <a:buClr>
                <a:schemeClr val="accent1"/>
              </a:buClr>
              <a:buSzPts val="6000"/>
              <a:buNone/>
              <a:defRPr sz="7993" b="1">
                <a:solidFill>
                  <a:schemeClr val="accent1"/>
                </a:solidFill>
              </a:defRPr>
            </a:lvl8pPr>
            <a:lvl9pPr lvl="8" algn="ctr">
              <a:lnSpc>
                <a:spcPct val="90000"/>
              </a:lnSpc>
              <a:spcBef>
                <a:spcPts val="0"/>
              </a:spcBef>
              <a:spcAft>
                <a:spcPts val="0"/>
              </a:spcAft>
              <a:buClr>
                <a:schemeClr val="accent1"/>
              </a:buClr>
              <a:buSzPts val="6000"/>
              <a:buNone/>
              <a:defRPr sz="7993" b="1">
                <a:solidFill>
                  <a:schemeClr val="accent1"/>
                </a:solidFill>
              </a:defRPr>
            </a:lvl9pPr>
          </a:lstStyle>
          <a:p>
            <a:endParaRPr/>
          </a:p>
        </p:txBody>
      </p:sp>
      <p:sp>
        <p:nvSpPr>
          <p:cNvPr id="732" name="Google Shape;732;p79"/>
          <p:cNvSpPr txBox="1">
            <a:spLocks noGrp="1"/>
          </p:cNvSpPr>
          <p:nvPr>
            <p:ph type="subTitle" idx="2"/>
          </p:nvPr>
        </p:nvSpPr>
        <p:spPr>
          <a:xfrm>
            <a:off x="3864864" y="4328161"/>
            <a:ext cx="44624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400"/>
              <a:buFont typeface="Arial"/>
              <a:buNone/>
              <a:defRPr>
                <a:solidFill>
                  <a:schemeClr val="dk2"/>
                </a:solidFill>
              </a:defRPr>
            </a:lvl2pPr>
            <a:lvl3pPr lvl="2" algn="ctr">
              <a:lnSpc>
                <a:spcPct val="90000"/>
              </a:lnSpc>
              <a:spcBef>
                <a:spcPts val="0"/>
              </a:spcBef>
              <a:spcAft>
                <a:spcPts val="0"/>
              </a:spcAft>
              <a:buClr>
                <a:schemeClr val="dk2"/>
              </a:buClr>
              <a:buSzPts val="1400"/>
              <a:buFont typeface="Arial"/>
              <a:buNone/>
              <a:defRPr>
                <a:solidFill>
                  <a:schemeClr val="dk2"/>
                </a:solidFill>
              </a:defRPr>
            </a:lvl3pPr>
            <a:lvl4pPr lvl="3" algn="ctr">
              <a:lnSpc>
                <a:spcPct val="90000"/>
              </a:lnSpc>
              <a:spcBef>
                <a:spcPts val="0"/>
              </a:spcBef>
              <a:spcAft>
                <a:spcPts val="0"/>
              </a:spcAft>
              <a:buClr>
                <a:schemeClr val="dk2"/>
              </a:buClr>
              <a:buSzPts val="1400"/>
              <a:buFont typeface="Arial"/>
              <a:buNone/>
              <a:defRPr>
                <a:solidFill>
                  <a:schemeClr val="dk2"/>
                </a:solidFill>
              </a:defRPr>
            </a:lvl4pPr>
            <a:lvl5pPr lvl="4" algn="ctr">
              <a:lnSpc>
                <a:spcPct val="90000"/>
              </a:lnSpc>
              <a:spcBef>
                <a:spcPts val="0"/>
              </a:spcBef>
              <a:spcAft>
                <a:spcPts val="0"/>
              </a:spcAft>
              <a:buClr>
                <a:schemeClr val="dk2"/>
              </a:buClr>
              <a:buSzPts val="1400"/>
              <a:buFont typeface="Arial"/>
              <a:buNone/>
              <a:defRPr>
                <a:solidFill>
                  <a:schemeClr val="dk2"/>
                </a:solidFill>
              </a:defRPr>
            </a:lvl5pPr>
            <a:lvl6pPr lvl="5" algn="ctr">
              <a:lnSpc>
                <a:spcPct val="90000"/>
              </a:lnSpc>
              <a:spcBef>
                <a:spcPts val="0"/>
              </a:spcBef>
              <a:spcAft>
                <a:spcPts val="0"/>
              </a:spcAft>
              <a:buClr>
                <a:schemeClr val="dk2"/>
              </a:buClr>
              <a:buSzPts val="1400"/>
              <a:buNone/>
              <a:defRPr>
                <a:solidFill>
                  <a:schemeClr val="dk2"/>
                </a:solidFill>
              </a:defRPr>
            </a:lvl6pPr>
            <a:lvl7pPr lvl="6" algn="ctr">
              <a:lnSpc>
                <a:spcPct val="90000"/>
              </a:lnSpc>
              <a:spcBef>
                <a:spcPts val="0"/>
              </a:spcBef>
              <a:spcAft>
                <a:spcPts val="0"/>
              </a:spcAft>
              <a:buClr>
                <a:schemeClr val="dk2"/>
              </a:buClr>
              <a:buSzPts val="1400"/>
              <a:buNone/>
              <a:defRPr>
                <a:solidFill>
                  <a:schemeClr val="dk2"/>
                </a:solidFill>
              </a:defRPr>
            </a:lvl7pPr>
            <a:lvl8pPr lvl="7" algn="ctr">
              <a:lnSpc>
                <a:spcPct val="90000"/>
              </a:lnSpc>
              <a:spcBef>
                <a:spcPts val="0"/>
              </a:spcBef>
              <a:spcAft>
                <a:spcPts val="0"/>
              </a:spcAft>
              <a:buClr>
                <a:schemeClr val="dk2"/>
              </a:buClr>
              <a:buSzPts val="1400"/>
              <a:buNone/>
              <a:defRPr>
                <a:solidFill>
                  <a:schemeClr val="dk2"/>
                </a:solidFill>
              </a:defRPr>
            </a:lvl8pPr>
            <a:lvl9pPr lvl="8" algn="ctr">
              <a:lnSpc>
                <a:spcPct val="90000"/>
              </a:lnSpc>
              <a:spcBef>
                <a:spcPts val="0"/>
              </a:spcBef>
              <a:spcAft>
                <a:spcPts val="0"/>
              </a:spcAft>
              <a:buClr>
                <a:schemeClr val="dk2"/>
              </a:buClr>
              <a:buSzPts val="1400"/>
              <a:buNone/>
              <a:defRPr>
                <a:solidFill>
                  <a:schemeClr val="dk2"/>
                </a:solidFill>
              </a:defRPr>
            </a:lvl9pPr>
          </a:lstStyle>
          <a:p>
            <a:endParaRPr/>
          </a:p>
        </p:txBody>
      </p:sp>
      <p:sp>
        <p:nvSpPr>
          <p:cNvPr id="733" name="Google Shape;733;p79"/>
          <p:cNvSpPr txBox="1">
            <a:spLocks noGrp="1"/>
          </p:cNvSpPr>
          <p:nvPr>
            <p:ph type="subTitle" idx="3"/>
          </p:nvPr>
        </p:nvSpPr>
        <p:spPr>
          <a:xfrm>
            <a:off x="3864864" y="2109217"/>
            <a:ext cx="4462400" cy="3900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lt1"/>
              </a:buClr>
              <a:buSzPts val="1600"/>
              <a:buFont typeface="Arial"/>
              <a:buNone/>
              <a:defRPr sz="2131">
                <a:solidFill>
                  <a:schemeClr val="lt1"/>
                </a:solidFill>
              </a:defRPr>
            </a:lvl2pPr>
            <a:lvl3pPr lvl="2" algn="ctr">
              <a:lnSpc>
                <a:spcPct val="90000"/>
              </a:lnSpc>
              <a:spcBef>
                <a:spcPts val="0"/>
              </a:spcBef>
              <a:spcAft>
                <a:spcPts val="0"/>
              </a:spcAft>
              <a:buClr>
                <a:schemeClr val="lt1"/>
              </a:buClr>
              <a:buSzPts val="1600"/>
              <a:buFont typeface="Arial"/>
              <a:buNone/>
              <a:defRPr sz="2131">
                <a:solidFill>
                  <a:schemeClr val="lt1"/>
                </a:solidFill>
              </a:defRPr>
            </a:lvl3pPr>
            <a:lvl4pPr lvl="3" algn="ctr">
              <a:lnSpc>
                <a:spcPct val="90000"/>
              </a:lnSpc>
              <a:spcBef>
                <a:spcPts val="0"/>
              </a:spcBef>
              <a:spcAft>
                <a:spcPts val="0"/>
              </a:spcAft>
              <a:buClr>
                <a:schemeClr val="lt1"/>
              </a:buClr>
              <a:buSzPts val="1600"/>
              <a:buFont typeface="Arial"/>
              <a:buNone/>
              <a:defRPr sz="2131">
                <a:solidFill>
                  <a:schemeClr val="lt1"/>
                </a:solidFill>
              </a:defRPr>
            </a:lvl4pPr>
            <a:lvl5pPr lvl="4" algn="ctr">
              <a:lnSpc>
                <a:spcPct val="90000"/>
              </a:lnSpc>
              <a:spcBef>
                <a:spcPts val="0"/>
              </a:spcBef>
              <a:spcAft>
                <a:spcPts val="0"/>
              </a:spcAft>
              <a:buClr>
                <a:schemeClr val="lt1"/>
              </a:buClr>
              <a:buSzPts val="1600"/>
              <a:buFont typeface="Arial"/>
              <a:buNone/>
              <a:defRPr sz="2131">
                <a:solidFill>
                  <a:schemeClr val="lt1"/>
                </a:solidFill>
              </a:defRPr>
            </a:lvl5pPr>
            <a:lvl6pPr lvl="5" algn="ctr">
              <a:lnSpc>
                <a:spcPct val="90000"/>
              </a:lnSpc>
              <a:spcBef>
                <a:spcPts val="0"/>
              </a:spcBef>
              <a:spcAft>
                <a:spcPts val="0"/>
              </a:spcAft>
              <a:buClr>
                <a:schemeClr val="lt1"/>
              </a:buClr>
              <a:buSzPts val="1600"/>
              <a:buNone/>
              <a:defRPr sz="2131">
                <a:solidFill>
                  <a:schemeClr val="lt1"/>
                </a:solidFill>
              </a:defRPr>
            </a:lvl6pPr>
            <a:lvl7pPr lvl="6" algn="ctr">
              <a:lnSpc>
                <a:spcPct val="90000"/>
              </a:lnSpc>
              <a:spcBef>
                <a:spcPts val="0"/>
              </a:spcBef>
              <a:spcAft>
                <a:spcPts val="0"/>
              </a:spcAft>
              <a:buClr>
                <a:schemeClr val="lt1"/>
              </a:buClr>
              <a:buSzPts val="1600"/>
              <a:buNone/>
              <a:defRPr sz="2131">
                <a:solidFill>
                  <a:schemeClr val="lt1"/>
                </a:solidFill>
              </a:defRPr>
            </a:lvl7pPr>
            <a:lvl8pPr lvl="7" algn="ctr">
              <a:lnSpc>
                <a:spcPct val="90000"/>
              </a:lnSpc>
              <a:spcBef>
                <a:spcPts val="0"/>
              </a:spcBef>
              <a:spcAft>
                <a:spcPts val="0"/>
              </a:spcAft>
              <a:buClr>
                <a:schemeClr val="lt1"/>
              </a:buClr>
              <a:buSzPts val="1600"/>
              <a:buNone/>
              <a:defRPr sz="2131">
                <a:solidFill>
                  <a:schemeClr val="lt1"/>
                </a:solidFill>
              </a:defRPr>
            </a:lvl8pPr>
            <a:lvl9pPr lvl="8" algn="ctr">
              <a:lnSpc>
                <a:spcPct val="90000"/>
              </a:lnSpc>
              <a:spcBef>
                <a:spcPts val="0"/>
              </a:spcBef>
              <a:spcAft>
                <a:spcPts val="0"/>
              </a:spcAft>
              <a:buClr>
                <a:schemeClr val="lt1"/>
              </a:buClr>
              <a:buSzPts val="1600"/>
              <a:buNone/>
              <a:defRPr sz="2131">
                <a:solidFill>
                  <a:schemeClr val="lt1"/>
                </a:solidFill>
              </a:defRPr>
            </a:lvl9pPr>
          </a:lstStyle>
          <a:p>
            <a:endParaRPr/>
          </a:p>
        </p:txBody>
      </p:sp>
    </p:spTree>
    <p:extLst>
      <p:ext uri="{BB962C8B-B14F-4D97-AF65-F5344CB8AC3E}">
        <p14:creationId xmlns:p14="http://schemas.microsoft.com/office/powerpoint/2010/main" val="385913053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matchingName="75. Three large numbers">
  <p:cSld name="75. Three large numbers">
    <p:spTree>
      <p:nvGrpSpPr>
        <p:cNvPr id="1" name="Shape 734"/>
        <p:cNvGrpSpPr/>
        <p:nvPr/>
      </p:nvGrpSpPr>
      <p:grpSpPr>
        <a:xfrm>
          <a:off x="0" y="0"/>
          <a:ext cx="0" cy="0"/>
          <a:chOff x="0" y="0"/>
          <a:chExt cx="0" cy="0"/>
        </a:xfrm>
      </p:grpSpPr>
      <p:sp>
        <p:nvSpPr>
          <p:cNvPr id="735" name="Google Shape;735;p80"/>
          <p:cNvSpPr txBox="1">
            <a:spLocks noGrp="1"/>
          </p:cNvSpPr>
          <p:nvPr>
            <p:ph type="subTitle" idx="1"/>
          </p:nvPr>
        </p:nvSpPr>
        <p:spPr>
          <a:xfrm>
            <a:off x="243840" y="2791969"/>
            <a:ext cx="3645600" cy="1280000"/>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accent1"/>
              </a:buClr>
              <a:buSzPts val="6000"/>
              <a:buFont typeface="Arial"/>
              <a:buNone/>
              <a:defRPr sz="7993" b="1" i="0">
                <a:solidFill>
                  <a:srgbClr val="A371F7"/>
                </a:solidFill>
                <a:latin typeface="Arial"/>
                <a:ea typeface="Arial"/>
                <a:cs typeface="Arial"/>
                <a:sym typeface="Arial"/>
              </a:defRPr>
            </a:lvl1pPr>
            <a:lvl2pPr lvl="1" algn="ctr">
              <a:lnSpc>
                <a:spcPct val="90000"/>
              </a:lnSpc>
              <a:spcBef>
                <a:spcPts val="0"/>
              </a:spcBef>
              <a:spcAft>
                <a:spcPts val="0"/>
              </a:spcAft>
              <a:buClr>
                <a:schemeClr val="accent1"/>
              </a:buClr>
              <a:buSzPts val="6000"/>
              <a:buFont typeface="Arial"/>
              <a:buNone/>
              <a:defRPr sz="7993" b="1">
                <a:solidFill>
                  <a:schemeClr val="accent1"/>
                </a:solidFill>
              </a:defRPr>
            </a:lvl2pPr>
            <a:lvl3pPr lvl="2" algn="ctr">
              <a:lnSpc>
                <a:spcPct val="90000"/>
              </a:lnSpc>
              <a:spcBef>
                <a:spcPts val="0"/>
              </a:spcBef>
              <a:spcAft>
                <a:spcPts val="0"/>
              </a:spcAft>
              <a:buClr>
                <a:schemeClr val="accent1"/>
              </a:buClr>
              <a:buSzPts val="6000"/>
              <a:buFont typeface="Arial"/>
              <a:buNone/>
              <a:defRPr sz="7993" b="1">
                <a:solidFill>
                  <a:schemeClr val="accent1"/>
                </a:solidFill>
              </a:defRPr>
            </a:lvl3pPr>
            <a:lvl4pPr lvl="3" algn="ctr">
              <a:lnSpc>
                <a:spcPct val="90000"/>
              </a:lnSpc>
              <a:spcBef>
                <a:spcPts val="0"/>
              </a:spcBef>
              <a:spcAft>
                <a:spcPts val="0"/>
              </a:spcAft>
              <a:buClr>
                <a:schemeClr val="accent1"/>
              </a:buClr>
              <a:buSzPts val="6000"/>
              <a:buFont typeface="Arial"/>
              <a:buNone/>
              <a:defRPr sz="7993" b="1">
                <a:solidFill>
                  <a:schemeClr val="accent1"/>
                </a:solidFill>
              </a:defRPr>
            </a:lvl4pPr>
            <a:lvl5pPr lvl="4" algn="ctr">
              <a:lnSpc>
                <a:spcPct val="90000"/>
              </a:lnSpc>
              <a:spcBef>
                <a:spcPts val="0"/>
              </a:spcBef>
              <a:spcAft>
                <a:spcPts val="0"/>
              </a:spcAft>
              <a:buClr>
                <a:schemeClr val="accent1"/>
              </a:buClr>
              <a:buSzPts val="6000"/>
              <a:buFont typeface="Arial"/>
              <a:buNone/>
              <a:defRPr sz="7993" b="1">
                <a:solidFill>
                  <a:schemeClr val="accent1"/>
                </a:solidFill>
              </a:defRPr>
            </a:lvl5pPr>
            <a:lvl6pPr lvl="5" algn="ctr">
              <a:lnSpc>
                <a:spcPct val="90000"/>
              </a:lnSpc>
              <a:spcBef>
                <a:spcPts val="0"/>
              </a:spcBef>
              <a:spcAft>
                <a:spcPts val="0"/>
              </a:spcAft>
              <a:buClr>
                <a:schemeClr val="accent1"/>
              </a:buClr>
              <a:buSzPts val="6000"/>
              <a:buNone/>
              <a:defRPr sz="7993" b="1">
                <a:solidFill>
                  <a:schemeClr val="accent1"/>
                </a:solidFill>
              </a:defRPr>
            </a:lvl6pPr>
            <a:lvl7pPr lvl="6" algn="ctr">
              <a:lnSpc>
                <a:spcPct val="90000"/>
              </a:lnSpc>
              <a:spcBef>
                <a:spcPts val="0"/>
              </a:spcBef>
              <a:spcAft>
                <a:spcPts val="0"/>
              </a:spcAft>
              <a:buClr>
                <a:schemeClr val="accent1"/>
              </a:buClr>
              <a:buSzPts val="6000"/>
              <a:buNone/>
              <a:defRPr sz="7993" b="1">
                <a:solidFill>
                  <a:schemeClr val="accent1"/>
                </a:solidFill>
              </a:defRPr>
            </a:lvl7pPr>
            <a:lvl8pPr lvl="7" algn="ctr">
              <a:lnSpc>
                <a:spcPct val="90000"/>
              </a:lnSpc>
              <a:spcBef>
                <a:spcPts val="0"/>
              </a:spcBef>
              <a:spcAft>
                <a:spcPts val="0"/>
              </a:spcAft>
              <a:buClr>
                <a:schemeClr val="accent1"/>
              </a:buClr>
              <a:buSzPts val="6000"/>
              <a:buNone/>
              <a:defRPr sz="7993" b="1">
                <a:solidFill>
                  <a:schemeClr val="accent1"/>
                </a:solidFill>
              </a:defRPr>
            </a:lvl8pPr>
            <a:lvl9pPr lvl="8" algn="ctr">
              <a:lnSpc>
                <a:spcPct val="90000"/>
              </a:lnSpc>
              <a:spcBef>
                <a:spcPts val="0"/>
              </a:spcBef>
              <a:spcAft>
                <a:spcPts val="0"/>
              </a:spcAft>
              <a:buClr>
                <a:schemeClr val="accent1"/>
              </a:buClr>
              <a:buSzPts val="6000"/>
              <a:buNone/>
              <a:defRPr sz="7993" b="1">
                <a:solidFill>
                  <a:schemeClr val="accent1"/>
                </a:solidFill>
              </a:defRPr>
            </a:lvl9pPr>
          </a:lstStyle>
          <a:p>
            <a:endParaRPr/>
          </a:p>
        </p:txBody>
      </p:sp>
      <p:sp>
        <p:nvSpPr>
          <p:cNvPr id="736" name="Google Shape;736;p80"/>
          <p:cNvSpPr txBox="1">
            <a:spLocks noGrp="1"/>
          </p:cNvSpPr>
          <p:nvPr>
            <p:ph type="subTitle" idx="2"/>
          </p:nvPr>
        </p:nvSpPr>
        <p:spPr>
          <a:xfrm>
            <a:off x="243840" y="4108704"/>
            <a:ext cx="3645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b="0" i="0">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400"/>
              <a:buFont typeface="Arial"/>
              <a:buNone/>
              <a:defRPr>
                <a:solidFill>
                  <a:schemeClr val="dk2"/>
                </a:solidFill>
              </a:defRPr>
            </a:lvl2pPr>
            <a:lvl3pPr lvl="2" algn="ctr">
              <a:lnSpc>
                <a:spcPct val="90000"/>
              </a:lnSpc>
              <a:spcBef>
                <a:spcPts val="0"/>
              </a:spcBef>
              <a:spcAft>
                <a:spcPts val="0"/>
              </a:spcAft>
              <a:buClr>
                <a:schemeClr val="dk2"/>
              </a:buClr>
              <a:buSzPts val="1400"/>
              <a:buFont typeface="Arial"/>
              <a:buNone/>
              <a:defRPr>
                <a:solidFill>
                  <a:schemeClr val="dk2"/>
                </a:solidFill>
              </a:defRPr>
            </a:lvl3pPr>
            <a:lvl4pPr lvl="3" algn="ctr">
              <a:lnSpc>
                <a:spcPct val="90000"/>
              </a:lnSpc>
              <a:spcBef>
                <a:spcPts val="0"/>
              </a:spcBef>
              <a:spcAft>
                <a:spcPts val="0"/>
              </a:spcAft>
              <a:buClr>
                <a:schemeClr val="dk2"/>
              </a:buClr>
              <a:buSzPts val="1400"/>
              <a:buFont typeface="Arial"/>
              <a:buNone/>
              <a:defRPr>
                <a:solidFill>
                  <a:schemeClr val="dk2"/>
                </a:solidFill>
              </a:defRPr>
            </a:lvl4pPr>
            <a:lvl5pPr lvl="4" algn="ctr">
              <a:lnSpc>
                <a:spcPct val="90000"/>
              </a:lnSpc>
              <a:spcBef>
                <a:spcPts val="0"/>
              </a:spcBef>
              <a:spcAft>
                <a:spcPts val="0"/>
              </a:spcAft>
              <a:buClr>
                <a:schemeClr val="dk2"/>
              </a:buClr>
              <a:buSzPts val="1400"/>
              <a:buFont typeface="Arial"/>
              <a:buNone/>
              <a:defRPr>
                <a:solidFill>
                  <a:schemeClr val="dk2"/>
                </a:solidFill>
              </a:defRPr>
            </a:lvl5pPr>
            <a:lvl6pPr lvl="5" algn="ctr">
              <a:lnSpc>
                <a:spcPct val="90000"/>
              </a:lnSpc>
              <a:spcBef>
                <a:spcPts val="0"/>
              </a:spcBef>
              <a:spcAft>
                <a:spcPts val="0"/>
              </a:spcAft>
              <a:buClr>
                <a:schemeClr val="dk2"/>
              </a:buClr>
              <a:buSzPts val="1400"/>
              <a:buNone/>
              <a:defRPr>
                <a:solidFill>
                  <a:schemeClr val="dk2"/>
                </a:solidFill>
              </a:defRPr>
            </a:lvl6pPr>
            <a:lvl7pPr lvl="6" algn="ctr">
              <a:lnSpc>
                <a:spcPct val="90000"/>
              </a:lnSpc>
              <a:spcBef>
                <a:spcPts val="0"/>
              </a:spcBef>
              <a:spcAft>
                <a:spcPts val="0"/>
              </a:spcAft>
              <a:buClr>
                <a:schemeClr val="dk2"/>
              </a:buClr>
              <a:buSzPts val="1400"/>
              <a:buNone/>
              <a:defRPr>
                <a:solidFill>
                  <a:schemeClr val="dk2"/>
                </a:solidFill>
              </a:defRPr>
            </a:lvl7pPr>
            <a:lvl8pPr lvl="7" algn="ctr">
              <a:lnSpc>
                <a:spcPct val="90000"/>
              </a:lnSpc>
              <a:spcBef>
                <a:spcPts val="0"/>
              </a:spcBef>
              <a:spcAft>
                <a:spcPts val="0"/>
              </a:spcAft>
              <a:buClr>
                <a:schemeClr val="dk2"/>
              </a:buClr>
              <a:buSzPts val="1400"/>
              <a:buNone/>
              <a:defRPr>
                <a:solidFill>
                  <a:schemeClr val="dk2"/>
                </a:solidFill>
              </a:defRPr>
            </a:lvl8pPr>
            <a:lvl9pPr lvl="8" algn="ctr">
              <a:lnSpc>
                <a:spcPct val="90000"/>
              </a:lnSpc>
              <a:spcBef>
                <a:spcPts val="0"/>
              </a:spcBef>
              <a:spcAft>
                <a:spcPts val="0"/>
              </a:spcAft>
              <a:buClr>
                <a:schemeClr val="dk2"/>
              </a:buClr>
              <a:buSzPts val="1400"/>
              <a:buNone/>
              <a:defRPr>
                <a:solidFill>
                  <a:schemeClr val="dk2"/>
                </a:solidFill>
              </a:defRPr>
            </a:lvl9pPr>
          </a:lstStyle>
          <a:p>
            <a:endParaRPr/>
          </a:p>
        </p:txBody>
      </p:sp>
      <p:sp>
        <p:nvSpPr>
          <p:cNvPr id="737" name="Google Shape;737;p80"/>
          <p:cNvSpPr txBox="1">
            <a:spLocks noGrp="1"/>
          </p:cNvSpPr>
          <p:nvPr>
            <p:ph type="subTitle" idx="3"/>
          </p:nvPr>
        </p:nvSpPr>
        <p:spPr>
          <a:xfrm>
            <a:off x="243840" y="2389633"/>
            <a:ext cx="3645600" cy="3900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38" name="Google Shape;738;p80"/>
          <p:cNvSpPr txBox="1">
            <a:spLocks noGrp="1"/>
          </p:cNvSpPr>
          <p:nvPr>
            <p:ph type="subTitle" idx="4"/>
          </p:nvPr>
        </p:nvSpPr>
        <p:spPr>
          <a:xfrm>
            <a:off x="4273200" y="2810169"/>
            <a:ext cx="3645600" cy="1280000"/>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accent2"/>
              </a:buClr>
              <a:buSzPts val="6000"/>
              <a:buFont typeface="Arial"/>
              <a:buNone/>
              <a:defRPr sz="7993" b="1" i="0">
                <a:solidFill>
                  <a:srgbClr val="A371F7"/>
                </a:solidFill>
                <a:latin typeface="Arial"/>
                <a:ea typeface="Arial"/>
                <a:cs typeface="Arial"/>
                <a:sym typeface="Arial"/>
              </a:defRPr>
            </a:lvl1pPr>
            <a:lvl2pPr lvl="1" algn="ctr">
              <a:lnSpc>
                <a:spcPct val="90000"/>
              </a:lnSpc>
              <a:spcBef>
                <a:spcPts val="0"/>
              </a:spcBef>
              <a:spcAft>
                <a:spcPts val="0"/>
              </a:spcAft>
              <a:buClr>
                <a:schemeClr val="accent2"/>
              </a:buClr>
              <a:buSzPts val="6000"/>
              <a:buFont typeface="Arial"/>
              <a:buNone/>
              <a:defRPr sz="7993" b="1">
                <a:solidFill>
                  <a:schemeClr val="accent2"/>
                </a:solidFill>
              </a:defRPr>
            </a:lvl2pPr>
            <a:lvl3pPr lvl="2" algn="ctr">
              <a:lnSpc>
                <a:spcPct val="90000"/>
              </a:lnSpc>
              <a:spcBef>
                <a:spcPts val="0"/>
              </a:spcBef>
              <a:spcAft>
                <a:spcPts val="0"/>
              </a:spcAft>
              <a:buClr>
                <a:schemeClr val="accent2"/>
              </a:buClr>
              <a:buSzPts val="6000"/>
              <a:buFont typeface="Arial"/>
              <a:buNone/>
              <a:defRPr sz="7993" b="1">
                <a:solidFill>
                  <a:schemeClr val="accent2"/>
                </a:solidFill>
              </a:defRPr>
            </a:lvl3pPr>
            <a:lvl4pPr lvl="3" algn="ctr">
              <a:lnSpc>
                <a:spcPct val="90000"/>
              </a:lnSpc>
              <a:spcBef>
                <a:spcPts val="0"/>
              </a:spcBef>
              <a:spcAft>
                <a:spcPts val="0"/>
              </a:spcAft>
              <a:buClr>
                <a:schemeClr val="accent2"/>
              </a:buClr>
              <a:buSzPts val="6000"/>
              <a:buFont typeface="Arial"/>
              <a:buNone/>
              <a:defRPr sz="7993" b="1">
                <a:solidFill>
                  <a:schemeClr val="accent2"/>
                </a:solidFill>
              </a:defRPr>
            </a:lvl4pPr>
            <a:lvl5pPr lvl="4" algn="ctr">
              <a:lnSpc>
                <a:spcPct val="90000"/>
              </a:lnSpc>
              <a:spcBef>
                <a:spcPts val="0"/>
              </a:spcBef>
              <a:spcAft>
                <a:spcPts val="0"/>
              </a:spcAft>
              <a:buClr>
                <a:schemeClr val="accent2"/>
              </a:buClr>
              <a:buSzPts val="6000"/>
              <a:buFont typeface="Arial"/>
              <a:buNone/>
              <a:defRPr sz="7993" b="1">
                <a:solidFill>
                  <a:schemeClr val="accent2"/>
                </a:solidFill>
              </a:defRPr>
            </a:lvl5pPr>
            <a:lvl6pPr lvl="5" algn="ctr">
              <a:lnSpc>
                <a:spcPct val="90000"/>
              </a:lnSpc>
              <a:spcBef>
                <a:spcPts val="0"/>
              </a:spcBef>
              <a:spcAft>
                <a:spcPts val="0"/>
              </a:spcAft>
              <a:buClr>
                <a:schemeClr val="accent2"/>
              </a:buClr>
              <a:buSzPts val="6000"/>
              <a:buNone/>
              <a:defRPr sz="7993" b="1">
                <a:solidFill>
                  <a:schemeClr val="accent2"/>
                </a:solidFill>
              </a:defRPr>
            </a:lvl6pPr>
            <a:lvl7pPr lvl="6" algn="ctr">
              <a:lnSpc>
                <a:spcPct val="90000"/>
              </a:lnSpc>
              <a:spcBef>
                <a:spcPts val="0"/>
              </a:spcBef>
              <a:spcAft>
                <a:spcPts val="0"/>
              </a:spcAft>
              <a:buClr>
                <a:schemeClr val="accent2"/>
              </a:buClr>
              <a:buSzPts val="6000"/>
              <a:buNone/>
              <a:defRPr sz="7993" b="1">
                <a:solidFill>
                  <a:schemeClr val="accent2"/>
                </a:solidFill>
              </a:defRPr>
            </a:lvl7pPr>
            <a:lvl8pPr lvl="7" algn="ctr">
              <a:lnSpc>
                <a:spcPct val="90000"/>
              </a:lnSpc>
              <a:spcBef>
                <a:spcPts val="0"/>
              </a:spcBef>
              <a:spcAft>
                <a:spcPts val="0"/>
              </a:spcAft>
              <a:buClr>
                <a:schemeClr val="accent2"/>
              </a:buClr>
              <a:buSzPts val="6000"/>
              <a:buNone/>
              <a:defRPr sz="7993" b="1">
                <a:solidFill>
                  <a:schemeClr val="accent2"/>
                </a:solidFill>
              </a:defRPr>
            </a:lvl8pPr>
            <a:lvl9pPr lvl="8" algn="ctr">
              <a:lnSpc>
                <a:spcPct val="90000"/>
              </a:lnSpc>
              <a:spcBef>
                <a:spcPts val="0"/>
              </a:spcBef>
              <a:spcAft>
                <a:spcPts val="0"/>
              </a:spcAft>
              <a:buClr>
                <a:schemeClr val="accent2"/>
              </a:buClr>
              <a:buSzPts val="6000"/>
              <a:buNone/>
              <a:defRPr sz="7993" b="1">
                <a:solidFill>
                  <a:schemeClr val="accent2"/>
                </a:solidFill>
              </a:defRPr>
            </a:lvl9pPr>
          </a:lstStyle>
          <a:p>
            <a:endParaRPr/>
          </a:p>
        </p:txBody>
      </p:sp>
      <p:sp>
        <p:nvSpPr>
          <p:cNvPr id="739" name="Google Shape;739;p80"/>
          <p:cNvSpPr txBox="1">
            <a:spLocks noGrp="1"/>
          </p:cNvSpPr>
          <p:nvPr>
            <p:ph type="subTitle" idx="5"/>
          </p:nvPr>
        </p:nvSpPr>
        <p:spPr>
          <a:xfrm>
            <a:off x="4273200" y="4126905"/>
            <a:ext cx="3645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b="0" i="0">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400"/>
              <a:buFont typeface="Arial"/>
              <a:buNone/>
              <a:defRPr>
                <a:solidFill>
                  <a:schemeClr val="dk2"/>
                </a:solidFill>
              </a:defRPr>
            </a:lvl2pPr>
            <a:lvl3pPr lvl="2" algn="ctr">
              <a:lnSpc>
                <a:spcPct val="90000"/>
              </a:lnSpc>
              <a:spcBef>
                <a:spcPts val="0"/>
              </a:spcBef>
              <a:spcAft>
                <a:spcPts val="0"/>
              </a:spcAft>
              <a:buClr>
                <a:schemeClr val="dk2"/>
              </a:buClr>
              <a:buSzPts val="1400"/>
              <a:buFont typeface="Arial"/>
              <a:buNone/>
              <a:defRPr>
                <a:solidFill>
                  <a:schemeClr val="dk2"/>
                </a:solidFill>
              </a:defRPr>
            </a:lvl3pPr>
            <a:lvl4pPr lvl="3" algn="ctr">
              <a:lnSpc>
                <a:spcPct val="90000"/>
              </a:lnSpc>
              <a:spcBef>
                <a:spcPts val="0"/>
              </a:spcBef>
              <a:spcAft>
                <a:spcPts val="0"/>
              </a:spcAft>
              <a:buClr>
                <a:schemeClr val="dk2"/>
              </a:buClr>
              <a:buSzPts val="1400"/>
              <a:buFont typeface="Arial"/>
              <a:buNone/>
              <a:defRPr>
                <a:solidFill>
                  <a:schemeClr val="dk2"/>
                </a:solidFill>
              </a:defRPr>
            </a:lvl4pPr>
            <a:lvl5pPr lvl="4" algn="ctr">
              <a:lnSpc>
                <a:spcPct val="90000"/>
              </a:lnSpc>
              <a:spcBef>
                <a:spcPts val="0"/>
              </a:spcBef>
              <a:spcAft>
                <a:spcPts val="0"/>
              </a:spcAft>
              <a:buClr>
                <a:schemeClr val="dk2"/>
              </a:buClr>
              <a:buSzPts val="1400"/>
              <a:buFont typeface="Arial"/>
              <a:buNone/>
              <a:defRPr>
                <a:solidFill>
                  <a:schemeClr val="dk2"/>
                </a:solidFill>
              </a:defRPr>
            </a:lvl5pPr>
            <a:lvl6pPr lvl="5" algn="ctr">
              <a:lnSpc>
                <a:spcPct val="90000"/>
              </a:lnSpc>
              <a:spcBef>
                <a:spcPts val="0"/>
              </a:spcBef>
              <a:spcAft>
                <a:spcPts val="0"/>
              </a:spcAft>
              <a:buClr>
                <a:schemeClr val="dk2"/>
              </a:buClr>
              <a:buSzPts val="1400"/>
              <a:buNone/>
              <a:defRPr>
                <a:solidFill>
                  <a:schemeClr val="dk2"/>
                </a:solidFill>
              </a:defRPr>
            </a:lvl6pPr>
            <a:lvl7pPr lvl="6" algn="ctr">
              <a:lnSpc>
                <a:spcPct val="90000"/>
              </a:lnSpc>
              <a:spcBef>
                <a:spcPts val="0"/>
              </a:spcBef>
              <a:spcAft>
                <a:spcPts val="0"/>
              </a:spcAft>
              <a:buClr>
                <a:schemeClr val="dk2"/>
              </a:buClr>
              <a:buSzPts val="1400"/>
              <a:buNone/>
              <a:defRPr>
                <a:solidFill>
                  <a:schemeClr val="dk2"/>
                </a:solidFill>
              </a:defRPr>
            </a:lvl7pPr>
            <a:lvl8pPr lvl="7" algn="ctr">
              <a:lnSpc>
                <a:spcPct val="90000"/>
              </a:lnSpc>
              <a:spcBef>
                <a:spcPts val="0"/>
              </a:spcBef>
              <a:spcAft>
                <a:spcPts val="0"/>
              </a:spcAft>
              <a:buClr>
                <a:schemeClr val="dk2"/>
              </a:buClr>
              <a:buSzPts val="1400"/>
              <a:buNone/>
              <a:defRPr>
                <a:solidFill>
                  <a:schemeClr val="dk2"/>
                </a:solidFill>
              </a:defRPr>
            </a:lvl8pPr>
            <a:lvl9pPr lvl="8" algn="ctr">
              <a:lnSpc>
                <a:spcPct val="90000"/>
              </a:lnSpc>
              <a:spcBef>
                <a:spcPts val="0"/>
              </a:spcBef>
              <a:spcAft>
                <a:spcPts val="0"/>
              </a:spcAft>
              <a:buClr>
                <a:schemeClr val="dk2"/>
              </a:buClr>
              <a:buSzPts val="1400"/>
              <a:buNone/>
              <a:defRPr>
                <a:solidFill>
                  <a:schemeClr val="dk2"/>
                </a:solidFill>
              </a:defRPr>
            </a:lvl9pPr>
          </a:lstStyle>
          <a:p>
            <a:endParaRPr/>
          </a:p>
        </p:txBody>
      </p:sp>
      <p:sp>
        <p:nvSpPr>
          <p:cNvPr id="740" name="Google Shape;740;p80"/>
          <p:cNvSpPr txBox="1">
            <a:spLocks noGrp="1"/>
          </p:cNvSpPr>
          <p:nvPr>
            <p:ph type="subTitle" idx="6"/>
          </p:nvPr>
        </p:nvSpPr>
        <p:spPr>
          <a:xfrm>
            <a:off x="4273200" y="2407832"/>
            <a:ext cx="3645600" cy="3900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41" name="Google Shape;741;p80"/>
          <p:cNvSpPr txBox="1">
            <a:spLocks noGrp="1"/>
          </p:cNvSpPr>
          <p:nvPr>
            <p:ph type="subTitle" idx="7"/>
          </p:nvPr>
        </p:nvSpPr>
        <p:spPr>
          <a:xfrm>
            <a:off x="8302752" y="2807201"/>
            <a:ext cx="3645600" cy="1280000"/>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accent3"/>
              </a:buClr>
              <a:buSzPts val="6000"/>
              <a:buFont typeface="Arial"/>
              <a:buNone/>
              <a:defRPr sz="7993" b="1" i="0">
                <a:solidFill>
                  <a:schemeClr val="accent3"/>
                </a:solidFill>
                <a:latin typeface="Arial"/>
                <a:ea typeface="Arial"/>
                <a:cs typeface="Arial"/>
                <a:sym typeface="Arial"/>
              </a:defRPr>
            </a:lvl1pPr>
            <a:lvl2pPr lvl="1" algn="ctr">
              <a:lnSpc>
                <a:spcPct val="90000"/>
              </a:lnSpc>
              <a:spcBef>
                <a:spcPts val="0"/>
              </a:spcBef>
              <a:spcAft>
                <a:spcPts val="0"/>
              </a:spcAft>
              <a:buClr>
                <a:schemeClr val="accent3"/>
              </a:buClr>
              <a:buSzPts val="6000"/>
              <a:buFont typeface="Arial"/>
              <a:buNone/>
              <a:defRPr sz="7993" b="1">
                <a:solidFill>
                  <a:schemeClr val="accent3"/>
                </a:solidFill>
              </a:defRPr>
            </a:lvl2pPr>
            <a:lvl3pPr lvl="2" algn="ctr">
              <a:lnSpc>
                <a:spcPct val="90000"/>
              </a:lnSpc>
              <a:spcBef>
                <a:spcPts val="0"/>
              </a:spcBef>
              <a:spcAft>
                <a:spcPts val="0"/>
              </a:spcAft>
              <a:buClr>
                <a:schemeClr val="accent3"/>
              </a:buClr>
              <a:buSzPts val="6000"/>
              <a:buFont typeface="Arial"/>
              <a:buNone/>
              <a:defRPr sz="7993" b="1">
                <a:solidFill>
                  <a:schemeClr val="accent3"/>
                </a:solidFill>
              </a:defRPr>
            </a:lvl3pPr>
            <a:lvl4pPr lvl="3" algn="ctr">
              <a:lnSpc>
                <a:spcPct val="90000"/>
              </a:lnSpc>
              <a:spcBef>
                <a:spcPts val="0"/>
              </a:spcBef>
              <a:spcAft>
                <a:spcPts val="0"/>
              </a:spcAft>
              <a:buClr>
                <a:schemeClr val="accent3"/>
              </a:buClr>
              <a:buSzPts val="6000"/>
              <a:buFont typeface="Arial"/>
              <a:buNone/>
              <a:defRPr sz="7993" b="1">
                <a:solidFill>
                  <a:schemeClr val="accent3"/>
                </a:solidFill>
              </a:defRPr>
            </a:lvl4pPr>
            <a:lvl5pPr lvl="4" algn="ctr">
              <a:lnSpc>
                <a:spcPct val="90000"/>
              </a:lnSpc>
              <a:spcBef>
                <a:spcPts val="0"/>
              </a:spcBef>
              <a:spcAft>
                <a:spcPts val="0"/>
              </a:spcAft>
              <a:buClr>
                <a:schemeClr val="accent3"/>
              </a:buClr>
              <a:buSzPts val="6000"/>
              <a:buFont typeface="Arial"/>
              <a:buNone/>
              <a:defRPr sz="7993" b="1">
                <a:solidFill>
                  <a:schemeClr val="accent3"/>
                </a:solidFill>
              </a:defRPr>
            </a:lvl5pPr>
            <a:lvl6pPr lvl="5" algn="ctr">
              <a:lnSpc>
                <a:spcPct val="90000"/>
              </a:lnSpc>
              <a:spcBef>
                <a:spcPts val="0"/>
              </a:spcBef>
              <a:spcAft>
                <a:spcPts val="0"/>
              </a:spcAft>
              <a:buClr>
                <a:schemeClr val="accent3"/>
              </a:buClr>
              <a:buSzPts val="6000"/>
              <a:buNone/>
              <a:defRPr sz="7993" b="1">
                <a:solidFill>
                  <a:schemeClr val="accent3"/>
                </a:solidFill>
              </a:defRPr>
            </a:lvl6pPr>
            <a:lvl7pPr lvl="6" algn="ctr">
              <a:lnSpc>
                <a:spcPct val="90000"/>
              </a:lnSpc>
              <a:spcBef>
                <a:spcPts val="0"/>
              </a:spcBef>
              <a:spcAft>
                <a:spcPts val="0"/>
              </a:spcAft>
              <a:buClr>
                <a:schemeClr val="accent3"/>
              </a:buClr>
              <a:buSzPts val="6000"/>
              <a:buNone/>
              <a:defRPr sz="7993" b="1">
                <a:solidFill>
                  <a:schemeClr val="accent3"/>
                </a:solidFill>
              </a:defRPr>
            </a:lvl7pPr>
            <a:lvl8pPr lvl="7" algn="ctr">
              <a:lnSpc>
                <a:spcPct val="90000"/>
              </a:lnSpc>
              <a:spcBef>
                <a:spcPts val="0"/>
              </a:spcBef>
              <a:spcAft>
                <a:spcPts val="0"/>
              </a:spcAft>
              <a:buClr>
                <a:schemeClr val="accent3"/>
              </a:buClr>
              <a:buSzPts val="6000"/>
              <a:buNone/>
              <a:defRPr sz="7993" b="1">
                <a:solidFill>
                  <a:schemeClr val="accent3"/>
                </a:solidFill>
              </a:defRPr>
            </a:lvl8pPr>
            <a:lvl9pPr lvl="8" algn="ctr">
              <a:lnSpc>
                <a:spcPct val="90000"/>
              </a:lnSpc>
              <a:spcBef>
                <a:spcPts val="0"/>
              </a:spcBef>
              <a:spcAft>
                <a:spcPts val="0"/>
              </a:spcAft>
              <a:buClr>
                <a:schemeClr val="accent3"/>
              </a:buClr>
              <a:buSzPts val="6000"/>
              <a:buNone/>
              <a:defRPr sz="7993" b="1">
                <a:solidFill>
                  <a:schemeClr val="accent3"/>
                </a:solidFill>
              </a:defRPr>
            </a:lvl9pPr>
          </a:lstStyle>
          <a:p>
            <a:endParaRPr/>
          </a:p>
        </p:txBody>
      </p:sp>
      <p:sp>
        <p:nvSpPr>
          <p:cNvPr id="742" name="Google Shape;742;p80"/>
          <p:cNvSpPr txBox="1">
            <a:spLocks noGrp="1"/>
          </p:cNvSpPr>
          <p:nvPr>
            <p:ph type="subTitle" idx="8"/>
          </p:nvPr>
        </p:nvSpPr>
        <p:spPr>
          <a:xfrm>
            <a:off x="8302752" y="4123937"/>
            <a:ext cx="3645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b="0" i="0">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400"/>
              <a:buFont typeface="Arial"/>
              <a:buNone/>
              <a:defRPr>
                <a:solidFill>
                  <a:schemeClr val="dk2"/>
                </a:solidFill>
              </a:defRPr>
            </a:lvl2pPr>
            <a:lvl3pPr lvl="2" algn="ctr">
              <a:lnSpc>
                <a:spcPct val="90000"/>
              </a:lnSpc>
              <a:spcBef>
                <a:spcPts val="0"/>
              </a:spcBef>
              <a:spcAft>
                <a:spcPts val="0"/>
              </a:spcAft>
              <a:buClr>
                <a:schemeClr val="dk2"/>
              </a:buClr>
              <a:buSzPts val="1400"/>
              <a:buFont typeface="Arial"/>
              <a:buNone/>
              <a:defRPr>
                <a:solidFill>
                  <a:schemeClr val="dk2"/>
                </a:solidFill>
              </a:defRPr>
            </a:lvl3pPr>
            <a:lvl4pPr lvl="3" algn="ctr">
              <a:lnSpc>
                <a:spcPct val="90000"/>
              </a:lnSpc>
              <a:spcBef>
                <a:spcPts val="0"/>
              </a:spcBef>
              <a:spcAft>
                <a:spcPts val="0"/>
              </a:spcAft>
              <a:buClr>
                <a:schemeClr val="dk2"/>
              </a:buClr>
              <a:buSzPts val="1400"/>
              <a:buFont typeface="Arial"/>
              <a:buNone/>
              <a:defRPr>
                <a:solidFill>
                  <a:schemeClr val="dk2"/>
                </a:solidFill>
              </a:defRPr>
            </a:lvl4pPr>
            <a:lvl5pPr lvl="4" algn="ctr">
              <a:lnSpc>
                <a:spcPct val="90000"/>
              </a:lnSpc>
              <a:spcBef>
                <a:spcPts val="0"/>
              </a:spcBef>
              <a:spcAft>
                <a:spcPts val="0"/>
              </a:spcAft>
              <a:buClr>
                <a:schemeClr val="dk2"/>
              </a:buClr>
              <a:buSzPts val="1400"/>
              <a:buFont typeface="Arial"/>
              <a:buNone/>
              <a:defRPr>
                <a:solidFill>
                  <a:schemeClr val="dk2"/>
                </a:solidFill>
              </a:defRPr>
            </a:lvl5pPr>
            <a:lvl6pPr lvl="5" algn="ctr">
              <a:lnSpc>
                <a:spcPct val="90000"/>
              </a:lnSpc>
              <a:spcBef>
                <a:spcPts val="0"/>
              </a:spcBef>
              <a:spcAft>
                <a:spcPts val="0"/>
              </a:spcAft>
              <a:buClr>
                <a:schemeClr val="dk2"/>
              </a:buClr>
              <a:buSzPts val="1400"/>
              <a:buNone/>
              <a:defRPr>
                <a:solidFill>
                  <a:schemeClr val="dk2"/>
                </a:solidFill>
              </a:defRPr>
            </a:lvl6pPr>
            <a:lvl7pPr lvl="6" algn="ctr">
              <a:lnSpc>
                <a:spcPct val="90000"/>
              </a:lnSpc>
              <a:spcBef>
                <a:spcPts val="0"/>
              </a:spcBef>
              <a:spcAft>
                <a:spcPts val="0"/>
              </a:spcAft>
              <a:buClr>
                <a:schemeClr val="dk2"/>
              </a:buClr>
              <a:buSzPts val="1400"/>
              <a:buNone/>
              <a:defRPr>
                <a:solidFill>
                  <a:schemeClr val="dk2"/>
                </a:solidFill>
              </a:defRPr>
            </a:lvl7pPr>
            <a:lvl8pPr lvl="7" algn="ctr">
              <a:lnSpc>
                <a:spcPct val="90000"/>
              </a:lnSpc>
              <a:spcBef>
                <a:spcPts val="0"/>
              </a:spcBef>
              <a:spcAft>
                <a:spcPts val="0"/>
              </a:spcAft>
              <a:buClr>
                <a:schemeClr val="dk2"/>
              </a:buClr>
              <a:buSzPts val="1400"/>
              <a:buNone/>
              <a:defRPr>
                <a:solidFill>
                  <a:schemeClr val="dk2"/>
                </a:solidFill>
              </a:defRPr>
            </a:lvl8pPr>
            <a:lvl9pPr lvl="8" algn="ctr">
              <a:lnSpc>
                <a:spcPct val="90000"/>
              </a:lnSpc>
              <a:spcBef>
                <a:spcPts val="0"/>
              </a:spcBef>
              <a:spcAft>
                <a:spcPts val="0"/>
              </a:spcAft>
              <a:buClr>
                <a:schemeClr val="dk2"/>
              </a:buClr>
              <a:buSzPts val="1400"/>
              <a:buNone/>
              <a:defRPr>
                <a:solidFill>
                  <a:schemeClr val="dk2"/>
                </a:solidFill>
              </a:defRPr>
            </a:lvl9pPr>
          </a:lstStyle>
          <a:p>
            <a:endParaRPr/>
          </a:p>
        </p:txBody>
      </p:sp>
      <p:sp>
        <p:nvSpPr>
          <p:cNvPr id="743" name="Google Shape;743;p80"/>
          <p:cNvSpPr txBox="1">
            <a:spLocks noGrp="1"/>
          </p:cNvSpPr>
          <p:nvPr>
            <p:ph type="subTitle" idx="9"/>
          </p:nvPr>
        </p:nvSpPr>
        <p:spPr>
          <a:xfrm>
            <a:off x="8302752" y="2404864"/>
            <a:ext cx="3645600" cy="3900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1"/>
              </a:buClr>
              <a:buSzPts val="1600"/>
              <a:buFont typeface="Arial"/>
              <a:buNone/>
              <a:defRPr sz="2131" b="0" i="0">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Tree>
    <p:extLst>
      <p:ext uri="{BB962C8B-B14F-4D97-AF65-F5344CB8AC3E}">
        <p14:creationId xmlns:p14="http://schemas.microsoft.com/office/powerpoint/2010/main" val="2307316046"/>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matchingName="76. Four large numbers">
  <p:cSld name="76. Four large numbers">
    <p:spTree>
      <p:nvGrpSpPr>
        <p:cNvPr id="1" name="Shape 744"/>
        <p:cNvGrpSpPr/>
        <p:nvPr/>
      </p:nvGrpSpPr>
      <p:grpSpPr>
        <a:xfrm>
          <a:off x="0" y="0"/>
          <a:ext cx="0" cy="0"/>
          <a:chOff x="0" y="0"/>
          <a:chExt cx="0" cy="0"/>
        </a:xfrm>
      </p:grpSpPr>
      <p:sp>
        <p:nvSpPr>
          <p:cNvPr id="745" name="Google Shape;745;p81"/>
          <p:cNvSpPr txBox="1">
            <a:spLocks noGrp="1"/>
          </p:cNvSpPr>
          <p:nvPr>
            <p:ph type="subTitle" idx="1"/>
          </p:nvPr>
        </p:nvSpPr>
        <p:spPr>
          <a:xfrm>
            <a:off x="1219200" y="1475231"/>
            <a:ext cx="4462400" cy="1292401"/>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accent1"/>
              </a:buClr>
              <a:buSzPts val="6000"/>
              <a:buFont typeface="Arial"/>
              <a:buNone/>
              <a:defRPr sz="7993" b="1" i="0">
                <a:solidFill>
                  <a:srgbClr val="A371F7"/>
                </a:solidFill>
                <a:latin typeface="Arial"/>
                <a:ea typeface="Arial"/>
                <a:cs typeface="Arial"/>
                <a:sym typeface="Arial"/>
              </a:defRPr>
            </a:lvl1pPr>
            <a:lvl2pPr lvl="1" algn="ctr">
              <a:lnSpc>
                <a:spcPct val="90000"/>
              </a:lnSpc>
              <a:spcBef>
                <a:spcPts val="0"/>
              </a:spcBef>
              <a:spcAft>
                <a:spcPts val="0"/>
              </a:spcAft>
              <a:buClr>
                <a:schemeClr val="accent1"/>
              </a:buClr>
              <a:buSzPts val="6000"/>
              <a:buFont typeface="Arial"/>
              <a:buNone/>
              <a:defRPr sz="7993" b="1">
                <a:solidFill>
                  <a:schemeClr val="accent1"/>
                </a:solidFill>
              </a:defRPr>
            </a:lvl2pPr>
            <a:lvl3pPr lvl="2" algn="ctr">
              <a:lnSpc>
                <a:spcPct val="90000"/>
              </a:lnSpc>
              <a:spcBef>
                <a:spcPts val="0"/>
              </a:spcBef>
              <a:spcAft>
                <a:spcPts val="0"/>
              </a:spcAft>
              <a:buClr>
                <a:schemeClr val="accent1"/>
              </a:buClr>
              <a:buSzPts val="6000"/>
              <a:buFont typeface="Arial"/>
              <a:buNone/>
              <a:defRPr sz="7993" b="1">
                <a:solidFill>
                  <a:schemeClr val="accent1"/>
                </a:solidFill>
              </a:defRPr>
            </a:lvl3pPr>
            <a:lvl4pPr lvl="3" algn="ctr">
              <a:lnSpc>
                <a:spcPct val="90000"/>
              </a:lnSpc>
              <a:spcBef>
                <a:spcPts val="0"/>
              </a:spcBef>
              <a:spcAft>
                <a:spcPts val="0"/>
              </a:spcAft>
              <a:buClr>
                <a:schemeClr val="accent1"/>
              </a:buClr>
              <a:buSzPts val="6000"/>
              <a:buFont typeface="Arial"/>
              <a:buNone/>
              <a:defRPr sz="7993" b="1">
                <a:solidFill>
                  <a:schemeClr val="accent1"/>
                </a:solidFill>
              </a:defRPr>
            </a:lvl4pPr>
            <a:lvl5pPr lvl="4" algn="ctr">
              <a:lnSpc>
                <a:spcPct val="90000"/>
              </a:lnSpc>
              <a:spcBef>
                <a:spcPts val="0"/>
              </a:spcBef>
              <a:spcAft>
                <a:spcPts val="0"/>
              </a:spcAft>
              <a:buClr>
                <a:schemeClr val="accent1"/>
              </a:buClr>
              <a:buSzPts val="6000"/>
              <a:buFont typeface="Arial"/>
              <a:buNone/>
              <a:defRPr sz="7993" b="1">
                <a:solidFill>
                  <a:schemeClr val="accent1"/>
                </a:solidFill>
              </a:defRPr>
            </a:lvl5pPr>
            <a:lvl6pPr lvl="5" algn="ctr">
              <a:lnSpc>
                <a:spcPct val="90000"/>
              </a:lnSpc>
              <a:spcBef>
                <a:spcPts val="0"/>
              </a:spcBef>
              <a:spcAft>
                <a:spcPts val="0"/>
              </a:spcAft>
              <a:buClr>
                <a:schemeClr val="accent1"/>
              </a:buClr>
              <a:buSzPts val="6000"/>
              <a:buNone/>
              <a:defRPr sz="7993" b="1">
                <a:solidFill>
                  <a:schemeClr val="accent1"/>
                </a:solidFill>
              </a:defRPr>
            </a:lvl6pPr>
            <a:lvl7pPr lvl="6" algn="ctr">
              <a:lnSpc>
                <a:spcPct val="90000"/>
              </a:lnSpc>
              <a:spcBef>
                <a:spcPts val="0"/>
              </a:spcBef>
              <a:spcAft>
                <a:spcPts val="0"/>
              </a:spcAft>
              <a:buClr>
                <a:schemeClr val="accent1"/>
              </a:buClr>
              <a:buSzPts val="6000"/>
              <a:buNone/>
              <a:defRPr sz="7993" b="1">
                <a:solidFill>
                  <a:schemeClr val="accent1"/>
                </a:solidFill>
              </a:defRPr>
            </a:lvl7pPr>
            <a:lvl8pPr lvl="7" algn="ctr">
              <a:lnSpc>
                <a:spcPct val="90000"/>
              </a:lnSpc>
              <a:spcBef>
                <a:spcPts val="0"/>
              </a:spcBef>
              <a:spcAft>
                <a:spcPts val="0"/>
              </a:spcAft>
              <a:buClr>
                <a:schemeClr val="accent1"/>
              </a:buClr>
              <a:buSzPts val="6000"/>
              <a:buNone/>
              <a:defRPr sz="7993" b="1">
                <a:solidFill>
                  <a:schemeClr val="accent1"/>
                </a:solidFill>
              </a:defRPr>
            </a:lvl8pPr>
            <a:lvl9pPr lvl="8" algn="ctr">
              <a:lnSpc>
                <a:spcPct val="90000"/>
              </a:lnSpc>
              <a:spcBef>
                <a:spcPts val="0"/>
              </a:spcBef>
              <a:spcAft>
                <a:spcPts val="0"/>
              </a:spcAft>
              <a:buClr>
                <a:schemeClr val="accent1"/>
              </a:buClr>
              <a:buSzPts val="6000"/>
              <a:buNone/>
              <a:defRPr sz="7993" b="1">
                <a:solidFill>
                  <a:schemeClr val="accent1"/>
                </a:solidFill>
              </a:defRPr>
            </a:lvl9pPr>
          </a:lstStyle>
          <a:p>
            <a:endParaRPr/>
          </a:p>
        </p:txBody>
      </p:sp>
      <p:sp>
        <p:nvSpPr>
          <p:cNvPr id="746" name="Google Shape;746;p81"/>
          <p:cNvSpPr txBox="1">
            <a:spLocks noGrp="1"/>
          </p:cNvSpPr>
          <p:nvPr>
            <p:ph type="subTitle" idx="2"/>
          </p:nvPr>
        </p:nvSpPr>
        <p:spPr>
          <a:xfrm>
            <a:off x="1219200" y="2816531"/>
            <a:ext cx="44624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b="0" i="0">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400"/>
              <a:buFont typeface="Arial"/>
              <a:buNone/>
              <a:defRPr>
                <a:solidFill>
                  <a:schemeClr val="dk2"/>
                </a:solidFill>
              </a:defRPr>
            </a:lvl2pPr>
            <a:lvl3pPr lvl="2" algn="ctr">
              <a:lnSpc>
                <a:spcPct val="90000"/>
              </a:lnSpc>
              <a:spcBef>
                <a:spcPts val="0"/>
              </a:spcBef>
              <a:spcAft>
                <a:spcPts val="0"/>
              </a:spcAft>
              <a:buClr>
                <a:schemeClr val="dk2"/>
              </a:buClr>
              <a:buSzPts val="1400"/>
              <a:buFont typeface="Arial"/>
              <a:buNone/>
              <a:defRPr>
                <a:solidFill>
                  <a:schemeClr val="dk2"/>
                </a:solidFill>
              </a:defRPr>
            </a:lvl3pPr>
            <a:lvl4pPr lvl="3" algn="ctr">
              <a:lnSpc>
                <a:spcPct val="90000"/>
              </a:lnSpc>
              <a:spcBef>
                <a:spcPts val="0"/>
              </a:spcBef>
              <a:spcAft>
                <a:spcPts val="0"/>
              </a:spcAft>
              <a:buClr>
                <a:schemeClr val="dk2"/>
              </a:buClr>
              <a:buSzPts val="1400"/>
              <a:buFont typeface="Arial"/>
              <a:buNone/>
              <a:defRPr>
                <a:solidFill>
                  <a:schemeClr val="dk2"/>
                </a:solidFill>
              </a:defRPr>
            </a:lvl4pPr>
            <a:lvl5pPr lvl="4" algn="ctr">
              <a:lnSpc>
                <a:spcPct val="90000"/>
              </a:lnSpc>
              <a:spcBef>
                <a:spcPts val="0"/>
              </a:spcBef>
              <a:spcAft>
                <a:spcPts val="0"/>
              </a:spcAft>
              <a:buClr>
                <a:schemeClr val="dk2"/>
              </a:buClr>
              <a:buSzPts val="1400"/>
              <a:buFont typeface="Arial"/>
              <a:buNone/>
              <a:defRPr>
                <a:solidFill>
                  <a:schemeClr val="dk2"/>
                </a:solidFill>
              </a:defRPr>
            </a:lvl5pPr>
            <a:lvl6pPr lvl="5" algn="ctr">
              <a:lnSpc>
                <a:spcPct val="90000"/>
              </a:lnSpc>
              <a:spcBef>
                <a:spcPts val="0"/>
              </a:spcBef>
              <a:spcAft>
                <a:spcPts val="0"/>
              </a:spcAft>
              <a:buClr>
                <a:schemeClr val="dk2"/>
              </a:buClr>
              <a:buSzPts val="1400"/>
              <a:buNone/>
              <a:defRPr>
                <a:solidFill>
                  <a:schemeClr val="dk2"/>
                </a:solidFill>
              </a:defRPr>
            </a:lvl6pPr>
            <a:lvl7pPr lvl="6" algn="ctr">
              <a:lnSpc>
                <a:spcPct val="90000"/>
              </a:lnSpc>
              <a:spcBef>
                <a:spcPts val="0"/>
              </a:spcBef>
              <a:spcAft>
                <a:spcPts val="0"/>
              </a:spcAft>
              <a:buClr>
                <a:schemeClr val="dk2"/>
              </a:buClr>
              <a:buSzPts val="1400"/>
              <a:buNone/>
              <a:defRPr>
                <a:solidFill>
                  <a:schemeClr val="dk2"/>
                </a:solidFill>
              </a:defRPr>
            </a:lvl7pPr>
            <a:lvl8pPr lvl="7" algn="ctr">
              <a:lnSpc>
                <a:spcPct val="90000"/>
              </a:lnSpc>
              <a:spcBef>
                <a:spcPts val="0"/>
              </a:spcBef>
              <a:spcAft>
                <a:spcPts val="0"/>
              </a:spcAft>
              <a:buClr>
                <a:schemeClr val="dk2"/>
              </a:buClr>
              <a:buSzPts val="1400"/>
              <a:buNone/>
              <a:defRPr>
                <a:solidFill>
                  <a:schemeClr val="dk2"/>
                </a:solidFill>
              </a:defRPr>
            </a:lvl8pPr>
            <a:lvl9pPr lvl="8" algn="ctr">
              <a:lnSpc>
                <a:spcPct val="90000"/>
              </a:lnSpc>
              <a:spcBef>
                <a:spcPts val="0"/>
              </a:spcBef>
              <a:spcAft>
                <a:spcPts val="0"/>
              </a:spcAft>
              <a:buClr>
                <a:schemeClr val="dk2"/>
              </a:buClr>
              <a:buSzPts val="1400"/>
              <a:buNone/>
              <a:defRPr>
                <a:solidFill>
                  <a:schemeClr val="dk2"/>
                </a:solidFill>
              </a:defRPr>
            </a:lvl9pPr>
          </a:lstStyle>
          <a:p>
            <a:endParaRPr/>
          </a:p>
        </p:txBody>
      </p:sp>
      <p:sp>
        <p:nvSpPr>
          <p:cNvPr id="747" name="Google Shape;747;p81"/>
          <p:cNvSpPr txBox="1">
            <a:spLocks noGrp="1"/>
          </p:cNvSpPr>
          <p:nvPr>
            <p:ph type="subTitle" idx="3"/>
          </p:nvPr>
        </p:nvSpPr>
        <p:spPr>
          <a:xfrm>
            <a:off x="1219200" y="1036321"/>
            <a:ext cx="4462400" cy="3900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48" name="Google Shape;748;p81"/>
          <p:cNvSpPr txBox="1">
            <a:spLocks noGrp="1"/>
          </p:cNvSpPr>
          <p:nvPr>
            <p:ph type="subTitle" idx="4"/>
          </p:nvPr>
        </p:nvSpPr>
        <p:spPr>
          <a:xfrm>
            <a:off x="1219200" y="4181855"/>
            <a:ext cx="4462400" cy="1292401"/>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accent3"/>
              </a:buClr>
              <a:buSzPts val="6000"/>
              <a:buFont typeface="Arial"/>
              <a:buNone/>
              <a:defRPr sz="7993" b="1" i="0">
                <a:solidFill>
                  <a:schemeClr val="accent2"/>
                </a:solidFill>
                <a:latin typeface="Arial"/>
                <a:ea typeface="Arial"/>
                <a:cs typeface="Arial"/>
                <a:sym typeface="Arial"/>
              </a:defRPr>
            </a:lvl1pPr>
            <a:lvl2pPr lvl="1" algn="ctr">
              <a:lnSpc>
                <a:spcPct val="90000"/>
              </a:lnSpc>
              <a:spcBef>
                <a:spcPts val="0"/>
              </a:spcBef>
              <a:spcAft>
                <a:spcPts val="0"/>
              </a:spcAft>
              <a:buClr>
                <a:schemeClr val="accent3"/>
              </a:buClr>
              <a:buSzPts val="6000"/>
              <a:buFont typeface="Arial"/>
              <a:buNone/>
              <a:defRPr sz="7993" b="1">
                <a:solidFill>
                  <a:schemeClr val="accent3"/>
                </a:solidFill>
              </a:defRPr>
            </a:lvl2pPr>
            <a:lvl3pPr lvl="2" algn="ctr">
              <a:lnSpc>
                <a:spcPct val="90000"/>
              </a:lnSpc>
              <a:spcBef>
                <a:spcPts val="0"/>
              </a:spcBef>
              <a:spcAft>
                <a:spcPts val="0"/>
              </a:spcAft>
              <a:buClr>
                <a:schemeClr val="accent3"/>
              </a:buClr>
              <a:buSzPts val="6000"/>
              <a:buFont typeface="Arial"/>
              <a:buNone/>
              <a:defRPr sz="7993" b="1">
                <a:solidFill>
                  <a:schemeClr val="accent3"/>
                </a:solidFill>
              </a:defRPr>
            </a:lvl3pPr>
            <a:lvl4pPr lvl="3" algn="ctr">
              <a:lnSpc>
                <a:spcPct val="90000"/>
              </a:lnSpc>
              <a:spcBef>
                <a:spcPts val="0"/>
              </a:spcBef>
              <a:spcAft>
                <a:spcPts val="0"/>
              </a:spcAft>
              <a:buClr>
                <a:schemeClr val="accent3"/>
              </a:buClr>
              <a:buSzPts val="6000"/>
              <a:buFont typeface="Arial"/>
              <a:buNone/>
              <a:defRPr sz="7993" b="1">
                <a:solidFill>
                  <a:schemeClr val="accent3"/>
                </a:solidFill>
              </a:defRPr>
            </a:lvl4pPr>
            <a:lvl5pPr lvl="4" algn="ctr">
              <a:lnSpc>
                <a:spcPct val="90000"/>
              </a:lnSpc>
              <a:spcBef>
                <a:spcPts val="0"/>
              </a:spcBef>
              <a:spcAft>
                <a:spcPts val="0"/>
              </a:spcAft>
              <a:buClr>
                <a:schemeClr val="accent3"/>
              </a:buClr>
              <a:buSzPts val="6000"/>
              <a:buFont typeface="Arial"/>
              <a:buNone/>
              <a:defRPr sz="7993" b="1">
                <a:solidFill>
                  <a:schemeClr val="accent3"/>
                </a:solidFill>
              </a:defRPr>
            </a:lvl5pPr>
            <a:lvl6pPr lvl="5" algn="ctr">
              <a:lnSpc>
                <a:spcPct val="90000"/>
              </a:lnSpc>
              <a:spcBef>
                <a:spcPts val="0"/>
              </a:spcBef>
              <a:spcAft>
                <a:spcPts val="0"/>
              </a:spcAft>
              <a:buClr>
                <a:schemeClr val="accent3"/>
              </a:buClr>
              <a:buSzPts val="6000"/>
              <a:buNone/>
              <a:defRPr sz="7993" b="1">
                <a:solidFill>
                  <a:schemeClr val="accent3"/>
                </a:solidFill>
              </a:defRPr>
            </a:lvl6pPr>
            <a:lvl7pPr lvl="6" algn="ctr">
              <a:lnSpc>
                <a:spcPct val="90000"/>
              </a:lnSpc>
              <a:spcBef>
                <a:spcPts val="0"/>
              </a:spcBef>
              <a:spcAft>
                <a:spcPts val="0"/>
              </a:spcAft>
              <a:buClr>
                <a:schemeClr val="accent3"/>
              </a:buClr>
              <a:buSzPts val="6000"/>
              <a:buNone/>
              <a:defRPr sz="7993" b="1">
                <a:solidFill>
                  <a:schemeClr val="accent3"/>
                </a:solidFill>
              </a:defRPr>
            </a:lvl7pPr>
            <a:lvl8pPr lvl="7" algn="ctr">
              <a:lnSpc>
                <a:spcPct val="90000"/>
              </a:lnSpc>
              <a:spcBef>
                <a:spcPts val="0"/>
              </a:spcBef>
              <a:spcAft>
                <a:spcPts val="0"/>
              </a:spcAft>
              <a:buClr>
                <a:schemeClr val="accent3"/>
              </a:buClr>
              <a:buSzPts val="6000"/>
              <a:buNone/>
              <a:defRPr sz="7993" b="1">
                <a:solidFill>
                  <a:schemeClr val="accent3"/>
                </a:solidFill>
              </a:defRPr>
            </a:lvl8pPr>
            <a:lvl9pPr lvl="8" algn="ctr">
              <a:lnSpc>
                <a:spcPct val="90000"/>
              </a:lnSpc>
              <a:spcBef>
                <a:spcPts val="0"/>
              </a:spcBef>
              <a:spcAft>
                <a:spcPts val="0"/>
              </a:spcAft>
              <a:buClr>
                <a:schemeClr val="accent3"/>
              </a:buClr>
              <a:buSzPts val="6000"/>
              <a:buNone/>
              <a:defRPr sz="7993" b="1">
                <a:solidFill>
                  <a:schemeClr val="accent3"/>
                </a:solidFill>
              </a:defRPr>
            </a:lvl9pPr>
          </a:lstStyle>
          <a:p>
            <a:endParaRPr/>
          </a:p>
        </p:txBody>
      </p:sp>
      <p:sp>
        <p:nvSpPr>
          <p:cNvPr id="749" name="Google Shape;749;p81"/>
          <p:cNvSpPr txBox="1">
            <a:spLocks noGrp="1"/>
          </p:cNvSpPr>
          <p:nvPr>
            <p:ph type="subTitle" idx="5"/>
          </p:nvPr>
        </p:nvSpPr>
        <p:spPr>
          <a:xfrm>
            <a:off x="1219200" y="5523156"/>
            <a:ext cx="44624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b="0" i="0">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400"/>
              <a:buFont typeface="Arial"/>
              <a:buNone/>
              <a:defRPr>
                <a:solidFill>
                  <a:schemeClr val="dk2"/>
                </a:solidFill>
              </a:defRPr>
            </a:lvl2pPr>
            <a:lvl3pPr lvl="2" algn="ctr">
              <a:lnSpc>
                <a:spcPct val="90000"/>
              </a:lnSpc>
              <a:spcBef>
                <a:spcPts val="0"/>
              </a:spcBef>
              <a:spcAft>
                <a:spcPts val="0"/>
              </a:spcAft>
              <a:buClr>
                <a:schemeClr val="dk2"/>
              </a:buClr>
              <a:buSzPts val="1400"/>
              <a:buFont typeface="Arial"/>
              <a:buNone/>
              <a:defRPr>
                <a:solidFill>
                  <a:schemeClr val="dk2"/>
                </a:solidFill>
              </a:defRPr>
            </a:lvl3pPr>
            <a:lvl4pPr lvl="3" algn="ctr">
              <a:lnSpc>
                <a:spcPct val="90000"/>
              </a:lnSpc>
              <a:spcBef>
                <a:spcPts val="0"/>
              </a:spcBef>
              <a:spcAft>
                <a:spcPts val="0"/>
              </a:spcAft>
              <a:buClr>
                <a:schemeClr val="dk2"/>
              </a:buClr>
              <a:buSzPts val="1400"/>
              <a:buFont typeface="Arial"/>
              <a:buNone/>
              <a:defRPr>
                <a:solidFill>
                  <a:schemeClr val="dk2"/>
                </a:solidFill>
              </a:defRPr>
            </a:lvl4pPr>
            <a:lvl5pPr lvl="4" algn="ctr">
              <a:lnSpc>
                <a:spcPct val="90000"/>
              </a:lnSpc>
              <a:spcBef>
                <a:spcPts val="0"/>
              </a:spcBef>
              <a:spcAft>
                <a:spcPts val="0"/>
              </a:spcAft>
              <a:buClr>
                <a:schemeClr val="dk2"/>
              </a:buClr>
              <a:buSzPts val="1400"/>
              <a:buFont typeface="Arial"/>
              <a:buNone/>
              <a:defRPr>
                <a:solidFill>
                  <a:schemeClr val="dk2"/>
                </a:solidFill>
              </a:defRPr>
            </a:lvl5pPr>
            <a:lvl6pPr lvl="5" algn="ctr">
              <a:lnSpc>
                <a:spcPct val="90000"/>
              </a:lnSpc>
              <a:spcBef>
                <a:spcPts val="0"/>
              </a:spcBef>
              <a:spcAft>
                <a:spcPts val="0"/>
              </a:spcAft>
              <a:buClr>
                <a:schemeClr val="dk2"/>
              </a:buClr>
              <a:buSzPts val="1400"/>
              <a:buNone/>
              <a:defRPr>
                <a:solidFill>
                  <a:schemeClr val="dk2"/>
                </a:solidFill>
              </a:defRPr>
            </a:lvl6pPr>
            <a:lvl7pPr lvl="6" algn="ctr">
              <a:lnSpc>
                <a:spcPct val="90000"/>
              </a:lnSpc>
              <a:spcBef>
                <a:spcPts val="0"/>
              </a:spcBef>
              <a:spcAft>
                <a:spcPts val="0"/>
              </a:spcAft>
              <a:buClr>
                <a:schemeClr val="dk2"/>
              </a:buClr>
              <a:buSzPts val="1400"/>
              <a:buNone/>
              <a:defRPr>
                <a:solidFill>
                  <a:schemeClr val="dk2"/>
                </a:solidFill>
              </a:defRPr>
            </a:lvl7pPr>
            <a:lvl8pPr lvl="7" algn="ctr">
              <a:lnSpc>
                <a:spcPct val="90000"/>
              </a:lnSpc>
              <a:spcBef>
                <a:spcPts val="0"/>
              </a:spcBef>
              <a:spcAft>
                <a:spcPts val="0"/>
              </a:spcAft>
              <a:buClr>
                <a:schemeClr val="dk2"/>
              </a:buClr>
              <a:buSzPts val="1400"/>
              <a:buNone/>
              <a:defRPr>
                <a:solidFill>
                  <a:schemeClr val="dk2"/>
                </a:solidFill>
              </a:defRPr>
            </a:lvl8pPr>
            <a:lvl9pPr lvl="8" algn="ctr">
              <a:lnSpc>
                <a:spcPct val="90000"/>
              </a:lnSpc>
              <a:spcBef>
                <a:spcPts val="0"/>
              </a:spcBef>
              <a:spcAft>
                <a:spcPts val="0"/>
              </a:spcAft>
              <a:buClr>
                <a:schemeClr val="dk2"/>
              </a:buClr>
              <a:buSzPts val="1400"/>
              <a:buNone/>
              <a:defRPr>
                <a:solidFill>
                  <a:schemeClr val="dk2"/>
                </a:solidFill>
              </a:defRPr>
            </a:lvl9pPr>
          </a:lstStyle>
          <a:p>
            <a:endParaRPr/>
          </a:p>
        </p:txBody>
      </p:sp>
      <p:sp>
        <p:nvSpPr>
          <p:cNvPr id="750" name="Google Shape;750;p81"/>
          <p:cNvSpPr txBox="1">
            <a:spLocks noGrp="1"/>
          </p:cNvSpPr>
          <p:nvPr>
            <p:ph type="subTitle" idx="6"/>
          </p:nvPr>
        </p:nvSpPr>
        <p:spPr>
          <a:xfrm>
            <a:off x="1219200" y="3742944"/>
            <a:ext cx="4462400" cy="3900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51" name="Google Shape;751;p81"/>
          <p:cNvSpPr txBox="1">
            <a:spLocks noGrp="1"/>
          </p:cNvSpPr>
          <p:nvPr>
            <p:ph type="subTitle" idx="7"/>
          </p:nvPr>
        </p:nvSpPr>
        <p:spPr>
          <a:xfrm>
            <a:off x="6736400" y="1459899"/>
            <a:ext cx="4462400" cy="1292401"/>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accent2"/>
              </a:buClr>
              <a:buSzPts val="6000"/>
              <a:buFont typeface="Arial"/>
              <a:buNone/>
              <a:defRPr sz="7993" b="1" i="0">
                <a:solidFill>
                  <a:schemeClr val="accent2"/>
                </a:solidFill>
                <a:latin typeface="Arial"/>
                <a:ea typeface="Arial"/>
                <a:cs typeface="Arial"/>
                <a:sym typeface="Arial"/>
              </a:defRPr>
            </a:lvl1pPr>
            <a:lvl2pPr lvl="1" algn="ctr">
              <a:lnSpc>
                <a:spcPct val="90000"/>
              </a:lnSpc>
              <a:spcBef>
                <a:spcPts val="0"/>
              </a:spcBef>
              <a:spcAft>
                <a:spcPts val="0"/>
              </a:spcAft>
              <a:buClr>
                <a:schemeClr val="accent2"/>
              </a:buClr>
              <a:buSzPts val="6000"/>
              <a:buFont typeface="Arial"/>
              <a:buNone/>
              <a:defRPr sz="7993" b="1">
                <a:solidFill>
                  <a:schemeClr val="accent2"/>
                </a:solidFill>
              </a:defRPr>
            </a:lvl2pPr>
            <a:lvl3pPr lvl="2" algn="ctr">
              <a:lnSpc>
                <a:spcPct val="90000"/>
              </a:lnSpc>
              <a:spcBef>
                <a:spcPts val="0"/>
              </a:spcBef>
              <a:spcAft>
                <a:spcPts val="0"/>
              </a:spcAft>
              <a:buClr>
                <a:schemeClr val="accent2"/>
              </a:buClr>
              <a:buSzPts val="6000"/>
              <a:buFont typeface="Arial"/>
              <a:buNone/>
              <a:defRPr sz="7993" b="1">
                <a:solidFill>
                  <a:schemeClr val="accent2"/>
                </a:solidFill>
              </a:defRPr>
            </a:lvl3pPr>
            <a:lvl4pPr lvl="3" algn="ctr">
              <a:lnSpc>
                <a:spcPct val="90000"/>
              </a:lnSpc>
              <a:spcBef>
                <a:spcPts val="0"/>
              </a:spcBef>
              <a:spcAft>
                <a:spcPts val="0"/>
              </a:spcAft>
              <a:buClr>
                <a:schemeClr val="accent2"/>
              </a:buClr>
              <a:buSzPts val="6000"/>
              <a:buFont typeface="Arial"/>
              <a:buNone/>
              <a:defRPr sz="7993" b="1">
                <a:solidFill>
                  <a:schemeClr val="accent2"/>
                </a:solidFill>
              </a:defRPr>
            </a:lvl4pPr>
            <a:lvl5pPr lvl="4" algn="ctr">
              <a:lnSpc>
                <a:spcPct val="90000"/>
              </a:lnSpc>
              <a:spcBef>
                <a:spcPts val="0"/>
              </a:spcBef>
              <a:spcAft>
                <a:spcPts val="0"/>
              </a:spcAft>
              <a:buClr>
                <a:schemeClr val="accent2"/>
              </a:buClr>
              <a:buSzPts val="6000"/>
              <a:buFont typeface="Arial"/>
              <a:buNone/>
              <a:defRPr sz="7993" b="1">
                <a:solidFill>
                  <a:schemeClr val="accent2"/>
                </a:solidFill>
              </a:defRPr>
            </a:lvl5pPr>
            <a:lvl6pPr lvl="5" algn="ctr">
              <a:lnSpc>
                <a:spcPct val="90000"/>
              </a:lnSpc>
              <a:spcBef>
                <a:spcPts val="0"/>
              </a:spcBef>
              <a:spcAft>
                <a:spcPts val="0"/>
              </a:spcAft>
              <a:buClr>
                <a:schemeClr val="accent2"/>
              </a:buClr>
              <a:buSzPts val="6000"/>
              <a:buNone/>
              <a:defRPr sz="7993" b="1">
                <a:solidFill>
                  <a:schemeClr val="accent2"/>
                </a:solidFill>
              </a:defRPr>
            </a:lvl6pPr>
            <a:lvl7pPr lvl="6" algn="ctr">
              <a:lnSpc>
                <a:spcPct val="90000"/>
              </a:lnSpc>
              <a:spcBef>
                <a:spcPts val="0"/>
              </a:spcBef>
              <a:spcAft>
                <a:spcPts val="0"/>
              </a:spcAft>
              <a:buClr>
                <a:schemeClr val="accent2"/>
              </a:buClr>
              <a:buSzPts val="6000"/>
              <a:buNone/>
              <a:defRPr sz="7993" b="1">
                <a:solidFill>
                  <a:schemeClr val="accent2"/>
                </a:solidFill>
              </a:defRPr>
            </a:lvl7pPr>
            <a:lvl8pPr lvl="7" algn="ctr">
              <a:lnSpc>
                <a:spcPct val="90000"/>
              </a:lnSpc>
              <a:spcBef>
                <a:spcPts val="0"/>
              </a:spcBef>
              <a:spcAft>
                <a:spcPts val="0"/>
              </a:spcAft>
              <a:buClr>
                <a:schemeClr val="accent2"/>
              </a:buClr>
              <a:buSzPts val="6000"/>
              <a:buNone/>
              <a:defRPr sz="7993" b="1">
                <a:solidFill>
                  <a:schemeClr val="accent2"/>
                </a:solidFill>
              </a:defRPr>
            </a:lvl8pPr>
            <a:lvl9pPr lvl="8" algn="ctr">
              <a:lnSpc>
                <a:spcPct val="90000"/>
              </a:lnSpc>
              <a:spcBef>
                <a:spcPts val="0"/>
              </a:spcBef>
              <a:spcAft>
                <a:spcPts val="0"/>
              </a:spcAft>
              <a:buClr>
                <a:schemeClr val="accent2"/>
              </a:buClr>
              <a:buSzPts val="6000"/>
              <a:buNone/>
              <a:defRPr sz="7993" b="1">
                <a:solidFill>
                  <a:schemeClr val="accent2"/>
                </a:solidFill>
              </a:defRPr>
            </a:lvl9pPr>
          </a:lstStyle>
          <a:p>
            <a:endParaRPr/>
          </a:p>
        </p:txBody>
      </p:sp>
      <p:sp>
        <p:nvSpPr>
          <p:cNvPr id="752" name="Google Shape;752;p81"/>
          <p:cNvSpPr txBox="1">
            <a:spLocks noGrp="1"/>
          </p:cNvSpPr>
          <p:nvPr>
            <p:ph type="subTitle" idx="8"/>
          </p:nvPr>
        </p:nvSpPr>
        <p:spPr>
          <a:xfrm>
            <a:off x="6736400" y="2801198"/>
            <a:ext cx="44624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b="0" i="0">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400"/>
              <a:buFont typeface="Arial"/>
              <a:buNone/>
              <a:defRPr>
                <a:solidFill>
                  <a:schemeClr val="dk2"/>
                </a:solidFill>
              </a:defRPr>
            </a:lvl2pPr>
            <a:lvl3pPr lvl="2" algn="ctr">
              <a:lnSpc>
                <a:spcPct val="90000"/>
              </a:lnSpc>
              <a:spcBef>
                <a:spcPts val="0"/>
              </a:spcBef>
              <a:spcAft>
                <a:spcPts val="0"/>
              </a:spcAft>
              <a:buClr>
                <a:schemeClr val="dk2"/>
              </a:buClr>
              <a:buSzPts val="1400"/>
              <a:buFont typeface="Arial"/>
              <a:buNone/>
              <a:defRPr>
                <a:solidFill>
                  <a:schemeClr val="dk2"/>
                </a:solidFill>
              </a:defRPr>
            </a:lvl3pPr>
            <a:lvl4pPr lvl="3" algn="ctr">
              <a:lnSpc>
                <a:spcPct val="90000"/>
              </a:lnSpc>
              <a:spcBef>
                <a:spcPts val="0"/>
              </a:spcBef>
              <a:spcAft>
                <a:spcPts val="0"/>
              </a:spcAft>
              <a:buClr>
                <a:schemeClr val="dk2"/>
              </a:buClr>
              <a:buSzPts val="1400"/>
              <a:buFont typeface="Arial"/>
              <a:buNone/>
              <a:defRPr>
                <a:solidFill>
                  <a:schemeClr val="dk2"/>
                </a:solidFill>
              </a:defRPr>
            </a:lvl4pPr>
            <a:lvl5pPr lvl="4" algn="ctr">
              <a:lnSpc>
                <a:spcPct val="90000"/>
              </a:lnSpc>
              <a:spcBef>
                <a:spcPts val="0"/>
              </a:spcBef>
              <a:spcAft>
                <a:spcPts val="0"/>
              </a:spcAft>
              <a:buClr>
                <a:schemeClr val="dk2"/>
              </a:buClr>
              <a:buSzPts val="1400"/>
              <a:buFont typeface="Arial"/>
              <a:buNone/>
              <a:defRPr>
                <a:solidFill>
                  <a:schemeClr val="dk2"/>
                </a:solidFill>
              </a:defRPr>
            </a:lvl5pPr>
            <a:lvl6pPr lvl="5" algn="ctr">
              <a:lnSpc>
                <a:spcPct val="90000"/>
              </a:lnSpc>
              <a:spcBef>
                <a:spcPts val="0"/>
              </a:spcBef>
              <a:spcAft>
                <a:spcPts val="0"/>
              </a:spcAft>
              <a:buClr>
                <a:schemeClr val="dk2"/>
              </a:buClr>
              <a:buSzPts val="1400"/>
              <a:buNone/>
              <a:defRPr>
                <a:solidFill>
                  <a:schemeClr val="dk2"/>
                </a:solidFill>
              </a:defRPr>
            </a:lvl6pPr>
            <a:lvl7pPr lvl="6" algn="ctr">
              <a:lnSpc>
                <a:spcPct val="90000"/>
              </a:lnSpc>
              <a:spcBef>
                <a:spcPts val="0"/>
              </a:spcBef>
              <a:spcAft>
                <a:spcPts val="0"/>
              </a:spcAft>
              <a:buClr>
                <a:schemeClr val="dk2"/>
              </a:buClr>
              <a:buSzPts val="1400"/>
              <a:buNone/>
              <a:defRPr>
                <a:solidFill>
                  <a:schemeClr val="dk2"/>
                </a:solidFill>
              </a:defRPr>
            </a:lvl7pPr>
            <a:lvl8pPr lvl="7" algn="ctr">
              <a:lnSpc>
                <a:spcPct val="90000"/>
              </a:lnSpc>
              <a:spcBef>
                <a:spcPts val="0"/>
              </a:spcBef>
              <a:spcAft>
                <a:spcPts val="0"/>
              </a:spcAft>
              <a:buClr>
                <a:schemeClr val="dk2"/>
              </a:buClr>
              <a:buSzPts val="1400"/>
              <a:buNone/>
              <a:defRPr>
                <a:solidFill>
                  <a:schemeClr val="dk2"/>
                </a:solidFill>
              </a:defRPr>
            </a:lvl8pPr>
            <a:lvl9pPr lvl="8" algn="ctr">
              <a:lnSpc>
                <a:spcPct val="90000"/>
              </a:lnSpc>
              <a:spcBef>
                <a:spcPts val="0"/>
              </a:spcBef>
              <a:spcAft>
                <a:spcPts val="0"/>
              </a:spcAft>
              <a:buClr>
                <a:schemeClr val="dk2"/>
              </a:buClr>
              <a:buSzPts val="1400"/>
              <a:buNone/>
              <a:defRPr>
                <a:solidFill>
                  <a:schemeClr val="dk2"/>
                </a:solidFill>
              </a:defRPr>
            </a:lvl9pPr>
          </a:lstStyle>
          <a:p>
            <a:endParaRPr/>
          </a:p>
        </p:txBody>
      </p:sp>
      <p:sp>
        <p:nvSpPr>
          <p:cNvPr id="753" name="Google Shape;753;p81"/>
          <p:cNvSpPr txBox="1">
            <a:spLocks noGrp="1"/>
          </p:cNvSpPr>
          <p:nvPr>
            <p:ph type="subTitle" idx="9"/>
          </p:nvPr>
        </p:nvSpPr>
        <p:spPr>
          <a:xfrm>
            <a:off x="6736400" y="1020987"/>
            <a:ext cx="4462400" cy="3900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754" name="Google Shape;754;p81"/>
          <p:cNvSpPr txBox="1">
            <a:spLocks noGrp="1"/>
          </p:cNvSpPr>
          <p:nvPr>
            <p:ph type="subTitle" idx="13"/>
          </p:nvPr>
        </p:nvSpPr>
        <p:spPr>
          <a:xfrm>
            <a:off x="6736400" y="4166523"/>
            <a:ext cx="4462400" cy="1292401"/>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accent4"/>
              </a:buClr>
              <a:buSzPts val="6000"/>
              <a:buFont typeface="Arial"/>
              <a:buNone/>
              <a:defRPr sz="7993" b="1" i="0">
                <a:solidFill>
                  <a:schemeClr val="accent3"/>
                </a:solidFill>
                <a:latin typeface="Arial"/>
                <a:ea typeface="Arial"/>
                <a:cs typeface="Arial"/>
                <a:sym typeface="Arial"/>
              </a:defRPr>
            </a:lvl1pPr>
            <a:lvl2pPr lvl="1" algn="ctr">
              <a:lnSpc>
                <a:spcPct val="90000"/>
              </a:lnSpc>
              <a:spcBef>
                <a:spcPts val="0"/>
              </a:spcBef>
              <a:spcAft>
                <a:spcPts val="0"/>
              </a:spcAft>
              <a:buClr>
                <a:schemeClr val="accent4"/>
              </a:buClr>
              <a:buSzPts val="6000"/>
              <a:buFont typeface="Arial"/>
              <a:buNone/>
              <a:defRPr sz="7993" b="1">
                <a:solidFill>
                  <a:schemeClr val="accent4"/>
                </a:solidFill>
              </a:defRPr>
            </a:lvl2pPr>
            <a:lvl3pPr lvl="2" algn="ctr">
              <a:lnSpc>
                <a:spcPct val="90000"/>
              </a:lnSpc>
              <a:spcBef>
                <a:spcPts val="0"/>
              </a:spcBef>
              <a:spcAft>
                <a:spcPts val="0"/>
              </a:spcAft>
              <a:buClr>
                <a:schemeClr val="accent4"/>
              </a:buClr>
              <a:buSzPts val="6000"/>
              <a:buFont typeface="Arial"/>
              <a:buNone/>
              <a:defRPr sz="7993" b="1">
                <a:solidFill>
                  <a:schemeClr val="accent4"/>
                </a:solidFill>
              </a:defRPr>
            </a:lvl3pPr>
            <a:lvl4pPr lvl="3" algn="ctr">
              <a:lnSpc>
                <a:spcPct val="90000"/>
              </a:lnSpc>
              <a:spcBef>
                <a:spcPts val="0"/>
              </a:spcBef>
              <a:spcAft>
                <a:spcPts val="0"/>
              </a:spcAft>
              <a:buClr>
                <a:schemeClr val="accent4"/>
              </a:buClr>
              <a:buSzPts val="6000"/>
              <a:buFont typeface="Arial"/>
              <a:buNone/>
              <a:defRPr sz="7993" b="1">
                <a:solidFill>
                  <a:schemeClr val="accent4"/>
                </a:solidFill>
              </a:defRPr>
            </a:lvl4pPr>
            <a:lvl5pPr lvl="4" algn="ctr">
              <a:lnSpc>
                <a:spcPct val="90000"/>
              </a:lnSpc>
              <a:spcBef>
                <a:spcPts val="0"/>
              </a:spcBef>
              <a:spcAft>
                <a:spcPts val="0"/>
              </a:spcAft>
              <a:buClr>
                <a:schemeClr val="accent4"/>
              </a:buClr>
              <a:buSzPts val="6000"/>
              <a:buFont typeface="Arial"/>
              <a:buNone/>
              <a:defRPr sz="7993" b="1">
                <a:solidFill>
                  <a:schemeClr val="accent4"/>
                </a:solidFill>
              </a:defRPr>
            </a:lvl5pPr>
            <a:lvl6pPr lvl="5" algn="ctr">
              <a:lnSpc>
                <a:spcPct val="90000"/>
              </a:lnSpc>
              <a:spcBef>
                <a:spcPts val="0"/>
              </a:spcBef>
              <a:spcAft>
                <a:spcPts val="0"/>
              </a:spcAft>
              <a:buClr>
                <a:schemeClr val="accent4"/>
              </a:buClr>
              <a:buSzPts val="6000"/>
              <a:buNone/>
              <a:defRPr sz="7993" b="1">
                <a:solidFill>
                  <a:schemeClr val="accent4"/>
                </a:solidFill>
              </a:defRPr>
            </a:lvl6pPr>
            <a:lvl7pPr lvl="6" algn="ctr">
              <a:lnSpc>
                <a:spcPct val="90000"/>
              </a:lnSpc>
              <a:spcBef>
                <a:spcPts val="0"/>
              </a:spcBef>
              <a:spcAft>
                <a:spcPts val="0"/>
              </a:spcAft>
              <a:buClr>
                <a:schemeClr val="accent4"/>
              </a:buClr>
              <a:buSzPts val="6000"/>
              <a:buNone/>
              <a:defRPr sz="7993" b="1">
                <a:solidFill>
                  <a:schemeClr val="accent4"/>
                </a:solidFill>
              </a:defRPr>
            </a:lvl7pPr>
            <a:lvl8pPr lvl="7" algn="ctr">
              <a:lnSpc>
                <a:spcPct val="90000"/>
              </a:lnSpc>
              <a:spcBef>
                <a:spcPts val="0"/>
              </a:spcBef>
              <a:spcAft>
                <a:spcPts val="0"/>
              </a:spcAft>
              <a:buClr>
                <a:schemeClr val="accent4"/>
              </a:buClr>
              <a:buSzPts val="6000"/>
              <a:buNone/>
              <a:defRPr sz="7993" b="1">
                <a:solidFill>
                  <a:schemeClr val="accent4"/>
                </a:solidFill>
              </a:defRPr>
            </a:lvl8pPr>
            <a:lvl9pPr lvl="8" algn="ctr">
              <a:lnSpc>
                <a:spcPct val="90000"/>
              </a:lnSpc>
              <a:spcBef>
                <a:spcPts val="0"/>
              </a:spcBef>
              <a:spcAft>
                <a:spcPts val="0"/>
              </a:spcAft>
              <a:buClr>
                <a:schemeClr val="accent4"/>
              </a:buClr>
              <a:buSzPts val="6000"/>
              <a:buNone/>
              <a:defRPr sz="7993" b="1">
                <a:solidFill>
                  <a:schemeClr val="accent4"/>
                </a:solidFill>
              </a:defRPr>
            </a:lvl9pPr>
          </a:lstStyle>
          <a:p>
            <a:endParaRPr/>
          </a:p>
        </p:txBody>
      </p:sp>
      <p:sp>
        <p:nvSpPr>
          <p:cNvPr id="755" name="Google Shape;755;p81"/>
          <p:cNvSpPr txBox="1">
            <a:spLocks noGrp="1"/>
          </p:cNvSpPr>
          <p:nvPr>
            <p:ph type="subTitle" idx="14"/>
          </p:nvPr>
        </p:nvSpPr>
        <p:spPr>
          <a:xfrm>
            <a:off x="6736400" y="5507822"/>
            <a:ext cx="44624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400"/>
              <a:buFont typeface="Arial"/>
              <a:buNone/>
              <a:defRPr b="0" i="0">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400"/>
              <a:buFont typeface="Arial"/>
              <a:buNone/>
              <a:defRPr>
                <a:solidFill>
                  <a:schemeClr val="dk2"/>
                </a:solidFill>
              </a:defRPr>
            </a:lvl2pPr>
            <a:lvl3pPr lvl="2" algn="ctr">
              <a:lnSpc>
                <a:spcPct val="90000"/>
              </a:lnSpc>
              <a:spcBef>
                <a:spcPts val="0"/>
              </a:spcBef>
              <a:spcAft>
                <a:spcPts val="0"/>
              </a:spcAft>
              <a:buClr>
                <a:schemeClr val="dk2"/>
              </a:buClr>
              <a:buSzPts val="1400"/>
              <a:buFont typeface="Arial"/>
              <a:buNone/>
              <a:defRPr>
                <a:solidFill>
                  <a:schemeClr val="dk2"/>
                </a:solidFill>
              </a:defRPr>
            </a:lvl3pPr>
            <a:lvl4pPr lvl="3" algn="ctr">
              <a:lnSpc>
                <a:spcPct val="90000"/>
              </a:lnSpc>
              <a:spcBef>
                <a:spcPts val="0"/>
              </a:spcBef>
              <a:spcAft>
                <a:spcPts val="0"/>
              </a:spcAft>
              <a:buClr>
                <a:schemeClr val="dk2"/>
              </a:buClr>
              <a:buSzPts val="1400"/>
              <a:buFont typeface="Arial"/>
              <a:buNone/>
              <a:defRPr>
                <a:solidFill>
                  <a:schemeClr val="dk2"/>
                </a:solidFill>
              </a:defRPr>
            </a:lvl4pPr>
            <a:lvl5pPr lvl="4" algn="ctr">
              <a:lnSpc>
                <a:spcPct val="90000"/>
              </a:lnSpc>
              <a:spcBef>
                <a:spcPts val="0"/>
              </a:spcBef>
              <a:spcAft>
                <a:spcPts val="0"/>
              </a:spcAft>
              <a:buClr>
                <a:schemeClr val="dk2"/>
              </a:buClr>
              <a:buSzPts val="1400"/>
              <a:buFont typeface="Arial"/>
              <a:buNone/>
              <a:defRPr>
                <a:solidFill>
                  <a:schemeClr val="dk2"/>
                </a:solidFill>
              </a:defRPr>
            </a:lvl5pPr>
            <a:lvl6pPr lvl="5" algn="ctr">
              <a:lnSpc>
                <a:spcPct val="90000"/>
              </a:lnSpc>
              <a:spcBef>
                <a:spcPts val="0"/>
              </a:spcBef>
              <a:spcAft>
                <a:spcPts val="0"/>
              </a:spcAft>
              <a:buClr>
                <a:schemeClr val="dk2"/>
              </a:buClr>
              <a:buSzPts val="1400"/>
              <a:buNone/>
              <a:defRPr>
                <a:solidFill>
                  <a:schemeClr val="dk2"/>
                </a:solidFill>
              </a:defRPr>
            </a:lvl6pPr>
            <a:lvl7pPr lvl="6" algn="ctr">
              <a:lnSpc>
                <a:spcPct val="90000"/>
              </a:lnSpc>
              <a:spcBef>
                <a:spcPts val="0"/>
              </a:spcBef>
              <a:spcAft>
                <a:spcPts val="0"/>
              </a:spcAft>
              <a:buClr>
                <a:schemeClr val="dk2"/>
              </a:buClr>
              <a:buSzPts val="1400"/>
              <a:buNone/>
              <a:defRPr>
                <a:solidFill>
                  <a:schemeClr val="dk2"/>
                </a:solidFill>
              </a:defRPr>
            </a:lvl7pPr>
            <a:lvl8pPr lvl="7" algn="ctr">
              <a:lnSpc>
                <a:spcPct val="90000"/>
              </a:lnSpc>
              <a:spcBef>
                <a:spcPts val="0"/>
              </a:spcBef>
              <a:spcAft>
                <a:spcPts val="0"/>
              </a:spcAft>
              <a:buClr>
                <a:schemeClr val="dk2"/>
              </a:buClr>
              <a:buSzPts val="1400"/>
              <a:buNone/>
              <a:defRPr>
                <a:solidFill>
                  <a:schemeClr val="dk2"/>
                </a:solidFill>
              </a:defRPr>
            </a:lvl8pPr>
            <a:lvl9pPr lvl="8" algn="ctr">
              <a:lnSpc>
                <a:spcPct val="90000"/>
              </a:lnSpc>
              <a:spcBef>
                <a:spcPts val="0"/>
              </a:spcBef>
              <a:spcAft>
                <a:spcPts val="0"/>
              </a:spcAft>
              <a:buClr>
                <a:schemeClr val="dk2"/>
              </a:buClr>
              <a:buSzPts val="1400"/>
              <a:buNone/>
              <a:defRPr>
                <a:solidFill>
                  <a:schemeClr val="dk2"/>
                </a:solidFill>
              </a:defRPr>
            </a:lvl9pPr>
          </a:lstStyle>
          <a:p>
            <a:endParaRPr/>
          </a:p>
        </p:txBody>
      </p:sp>
      <p:sp>
        <p:nvSpPr>
          <p:cNvPr id="756" name="Google Shape;756;p81"/>
          <p:cNvSpPr txBox="1">
            <a:spLocks noGrp="1"/>
          </p:cNvSpPr>
          <p:nvPr>
            <p:ph type="subTitle" idx="15"/>
          </p:nvPr>
        </p:nvSpPr>
        <p:spPr>
          <a:xfrm>
            <a:off x="6736400" y="3727612"/>
            <a:ext cx="4462400" cy="3900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Tree>
    <p:extLst>
      <p:ext uri="{BB962C8B-B14F-4D97-AF65-F5344CB8AC3E}">
        <p14:creationId xmlns:p14="http://schemas.microsoft.com/office/powerpoint/2010/main" val="3853953295"/>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matchingName="77. Two silos">
  <p:cSld name="77. Two silos">
    <p:spTree>
      <p:nvGrpSpPr>
        <p:cNvPr id="1" name="Shape 757"/>
        <p:cNvGrpSpPr/>
        <p:nvPr/>
      </p:nvGrpSpPr>
      <p:grpSpPr>
        <a:xfrm>
          <a:off x="0" y="0"/>
          <a:ext cx="0" cy="0"/>
          <a:chOff x="0" y="0"/>
          <a:chExt cx="0" cy="0"/>
        </a:xfrm>
      </p:grpSpPr>
      <p:sp>
        <p:nvSpPr>
          <p:cNvPr id="758" name="Google Shape;758;p82"/>
          <p:cNvSpPr/>
          <p:nvPr/>
        </p:nvSpPr>
        <p:spPr>
          <a:xfrm>
            <a:off x="6279451" y="1524000"/>
            <a:ext cx="4851600" cy="4546800"/>
          </a:xfrm>
          <a:prstGeom prst="roundRect">
            <a:avLst>
              <a:gd name="adj" fmla="val 3159"/>
            </a:avLst>
          </a:prstGeom>
          <a:noFill/>
          <a:ln w="9525" cap="flat" cmpd="sng">
            <a:solidFill>
              <a:schemeClr val="lt2"/>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759" name="Google Shape;759;p82"/>
          <p:cNvSpPr/>
          <p:nvPr/>
        </p:nvSpPr>
        <p:spPr>
          <a:xfrm>
            <a:off x="1072451" y="1524000"/>
            <a:ext cx="4851600" cy="4546800"/>
          </a:xfrm>
          <a:prstGeom prst="roundRect">
            <a:avLst>
              <a:gd name="adj" fmla="val 3159"/>
            </a:avLst>
          </a:prstGeom>
          <a:noFill/>
          <a:ln w="9525" cap="flat" cmpd="sng">
            <a:solidFill>
              <a:schemeClr val="lt2"/>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cxnSp>
        <p:nvCxnSpPr>
          <p:cNvPr id="760" name="Google Shape;760;p82"/>
          <p:cNvCxnSpPr/>
          <p:nvPr/>
        </p:nvCxnSpPr>
        <p:spPr>
          <a:xfrm>
            <a:off x="1552549" y="3874984"/>
            <a:ext cx="3857600" cy="0"/>
          </a:xfrm>
          <a:prstGeom prst="straightConnector1">
            <a:avLst/>
          </a:prstGeom>
          <a:noFill/>
          <a:ln w="9525" cap="rnd" cmpd="sng">
            <a:solidFill>
              <a:schemeClr val="lt2"/>
            </a:solidFill>
            <a:prstDash val="solid"/>
            <a:round/>
            <a:headEnd type="none" w="sm" len="sm"/>
            <a:tailEnd type="none" w="sm" len="sm"/>
          </a:ln>
        </p:spPr>
      </p:cxnSp>
      <p:cxnSp>
        <p:nvCxnSpPr>
          <p:cNvPr id="761" name="Google Shape;761;p82"/>
          <p:cNvCxnSpPr/>
          <p:nvPr/>
        </p:nvCxnSpPr>
        <p:spPr>
          <a:xfrm>
            <a:off x="1586337" y="4970317"/>
            <a:ext cx="3857600" cy="0"/>
          </a:xfrm>
          <a:prstGeom prst="straightConnector1">
            <a:avLst/>
          </a:prstGeom>
          <a:noFill/>
          <a:ln w="9525" cap="rnd" cmpd="sng">
            <a:solidFill>
              <a:schemeClr val="lt2"/>
            </a:solidFill>
            <a:prstDash val="solid"/>
            <a:round/>
            <a:headEnd type="none" w="sm" len="sm"/>
            <a:tailEnd type="none" w="sm" len="sm"/>
          </a:ln>
        </p:spPr>
      </p:cxnSp>
      <p:sp>
        <p:nvSpPr>
          <p:cNvPr id="762" name="Google Shape;762;p82"/>
          <p:cNvSpPr txBox="1">
            <a:spLocks noGrp="1"/>
          </p:cNvSpPr>
          <p:nvPr>
            <p:ph type="subTitle" idx="1"/>
          </p:nvPr>
        </p:nvSpPr>
        <p:spPr>
          <a:xfrm>
            <a:off x="1468551" y="2064600"/>
            <a:ext cx="4025600" cy="457201"/>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20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b="1">
                <a:solidFill>
                  <a:schemeClr val="dk1"/>
                </a:solidFill>
              </a:defRPr>
            </a:lvl2pPr>
            <a:lvl3pPr lvl="2" algn="l">
              <a:lnSpc>
                <a:spcPct val="90000"/>
              </a:lnSpc>
              <a:spcBef>
                <a:spcPts val="0"/>
              </a:spcBef>
              <a:spcAft>
                <a:spcPts val="0"/>
              </a:spcAft>
              <a:buClr>
                <a:schemeClr val="dk1"/>
              </a:buClr>
              <a:buSzPts val="1600"/>
              <a:buFont typeface="Arial"/>
              <a:buNone/>
              <a:defRPr sz="2131" b="1">
                <a:solidFill>
                  <a:schemeClr val="dk1"/>
                </a:solidFill>
              </a:defRPr>
            </a:lvl3pPr>
            <a:lvl4pPr lvl="3" algn="l">
              <a:lnSpc>
                <a:spcPct val="90000"/>
              </a:lnSpc>
              <a:spcBef>
                <a:spcPts val="0"/>
              </a:spcBef>
              <a:spcAft>
                <a:spcPts val="0"/>
              </a:spcAft>
              <a:buClr>
                <a:schemeClr val="dk1"/>
              </a:buClr>
              <a:buSzPts val="1600"/>
              <a:buFont typeface="Arial"/>
              <a:buNone/>
              <a:defRPr sz="2131" b="1">
                <a:solidFill>
                  <a:schemeClr val="dk1"/>
                </a:solidFill>
              </a:defRPr>
            </a:lvl4pPr>
            <a:lvl5pPr lvl="4" algn="l">
              <a:lnSpc>
                <a:spcPct val="90000"/>
              </a:lnSpc>
              <a:spcBef>
                <a:spcPts val="0"/>
              </a:spcBef>
              <a:spcAft>
                <a:spcPts val="0"/>
              </a:spcAft>
              <a:buClr>
                <a:schemeClr val="dk1"/>
              </a:buClr>
              <a:buSzPts val="1600"/>
              <a:buFont typeface="Arial"/>
              <a:buNone/>
              <a:defRPr sz="2131" b="1">
                <a:solidFill>
                  <a:schemeClr val="dk1"/>
                </a:solidFill>
              </a:defRPr>
            </a:lvl5pPr>
            <a:lvl6pPr lvl="5" algn="l">
              <a:lnSpc>
                <a:spcPct val="90000"/>
              </a:lnSpc>
              <a:spcBef>
                <a:spcPts val="0"/>
              </a:spcBef>
              <a:spcAft>
                <a:spcPts val="0"/>
              </a:spcAft>
              <a:buClr>
                <a:schemeClr val="dk1"/>
              </a:buClr>
              <a:buSzPts val="1600"/>
              <a:buNone/>
              <a:defRPr sz="2131" b="1">
                <a:solidFill>
                  <a:schemeClr val="dk1"/>
                </a:solidFill>
              </a:defRPr>
            </a:lvl6pPr>
            <a:lvl7pPr lvl="6" algn="l">
              <a:lnSpc>
                <a:spcPct val="90000"/>
              </a:lnSpc>
              <a:spcBef>
                <a:spcPts val="0"/>
              </a:spcBef>
              <a:spcAft>
                <a:spcPts val="0"/>
              </a:spcAft>
              <a:buClr>
                <a:schemeClr val="dk1"/>
              </a:buClr>
              <a:buSzPts val="1600"/>
              <a:buNone/>
              <a:defRPr sz="2131" b="1">
                <a:solidFill>
                  <a:schemeClr val="dk1"/>
                </a:solidFill>
              </a:defRPr>
            </a:lvl7pPr>
            <a:lvl8pPr lvl="7" algn="l">
              <a:lnSpc>
                <a:spcPct val="90000"/>
              </a:lnSpc>
              <a:spcBef>
                <a:spcPts val="0"/>
              </a:spcBef>
              <a:spcAft>
                <a:spcPts val="0"/>
              </a:spcAft>
              <a:buClr>
                <a:schemeClr val="dk1"/>
              </a:buClr>
              <a:buSzPts val="1600"/>
              <a:buNone/>
              <a:defRPr sz="2131" b="1">
                <a:solidFill>
                  <a:schemeClr val="dk1"/>
                </a:solidFill>
              </a:defRPr>
            </a:lvl8pPr>
            <a:lvl9pPr lvl="8" algn="l">
              <a:lnSpc>
                <a:spcPct val="90000"/>
              </a:lnSpc>
              <a:spcBef>
                <a:spcPts val="0"/>
              </a:spcBef>
              <a:spcAft>
                <a:spcPts val="0"/>
              </a:spcAft>
              <a:buClr>
                <a:schemeClr val="dk1"/>
              </a:buClr>
              <a:buSzPts val="1600"/>
              <a:buNone/>
              <a:defRPr sz="2131" b="1">
                <a:solidFill>
                  <a:schemeClr val="dk1"/>
                </a:solidFill>
              </a:defRPr>
            </a:lvl9pPr>
          </a:lstStyle>
          <a:p>
            <a:endParaRPr/>
          </a:p>
        </p:txBody>
      </p:sp>
      <p:sp>
        <p:nvSpPr>
          <p:cNvPr id="763" name="Google Shape;763;p82"/>
          <p:cNvSpPr txBox="1">
            <a:spLocks noGrp="1"/>
          </p:cNvSpPr>
          <p:nvPr>
            <p:ph type="subTitle" idx="2"/>
          </p:nvPr>
        </p:nvSpPr>
        <p:spPr>
          <a:xfrm>
            <a:off x="1468549" y="3014467"/>
            <a:ext cx="4155600" cy="634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64" name="Google Shape;764;p82"/>
          <p:cNvSpPr txBox="1">
            <a:spLocks noGrp="1"/>
          </p:cNvSpPr>
          <p:nvPr>
            <p:ph type="subTitle" idx="3"/>
          </p:nvPr>
        </p:nvSpPr>
        <p:spPr>
          <a:xfrm>
            <a:off x="1468553" y="4111748"/>
            <a:ext cx="4155600" cy="634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65" name="Google Shape;765;p82"/>
          <p:cNvSpPr txBox="1">
            <a:spLocks noGrp="1"/>
          </p:cNvSpPr>
          <p:nvPr>
            <p:ph type="subTitle" idx="4"/>
          </p:nvPr>
        </p:nvSpPr>
        <p:spPr>
          <a:xfrm>
            <a:off x="1468553" y="5196833"/>
            <a:ext cx="4155600" cy="634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66" name="Google Shape;766;p82"/>
          <p:cNvSpPr/>
          <p:nvPr/>
        </p:nvSpPr>
        <p:spPr>
          <a:xfrm rot="5400000">
            <a:off x="5822719" y="2281000"/>
            <a:ext cx="914400" cy="24400"/>
          </a:xfrm>
          <a:prstGeom prst="roundRect">
            <a:avLst>
              <a:gd name="adj" fmla="val 50000"/>
            </a:avLst>
          </a:prstGeom>
          <a:gradFill>
            <a:gsLst>
              <a:gs pos="0">
                <a:srgbClr val="A371F7"/>
              </a:gs>
              <a:gs pos="100000">
                <a:srgbClr val="DB61A2"/>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767" name="Google Shape;767;p82"/>
          <p:cNvSpPr/>
          <p:nvPr/>
        </p:nvSpPr>
        <p:spPr>
          <a:xfrm rot="5400000">
            <a:off x="615740" y="2281000"/>
            <a:ext cx="914400" cy="24400"/>
          </a:xfrm>
          <a:prstGeom prst="roundRect">
            <a:avLst>
              <a:gd name="adj" fmla="val 50000"/>
            </a:avLst>
          </a:prstGeom>
          <a:gradFill>
            <a:gsLst>
              <a:gs pos="0">
                <a:srgbClr val="388BFD"/>
              </a:gs>
              <a:gs pos="50000">
                <a:srgbClr val="797EF9"/>
              </a:gs>
              <a:gs pos="100000">
                <a:srgbClr val="A371F7"/>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768" name="Google Shape;768;p82"/>
          <p:cNvSpPr txBox="1">
            <a:spLocks noGrp="1"/>
          </p:cNvSpPr>
          <p:nvPr>
            <p:ph type="title"/>
          </p:nvPr>
        </p:nvSpPr>
        <p:spPr>
          <a:xfrm>
            <a:off x="1072451" y="0"/>
            <a:ext cx="10058800" cy="1523999"/>
          </a:xfrm>
          <a:prstGeom prst="rect">
            <a:avLst/>
          </a:prstGeom>
          <a:noFill/>
          <a:ln>
            <a:noFill/>
          </a:ln>
        </p:spPr>
        <p:txBody>
          <a:bodyPr spcFirstLastPara="1" wrap="square" lIns="34275" tIns="17150" rIns="34275" bIns="17150" anchor="ctr" anchorCtr="0">
            <a:noAutofit/>
          </a:bodyPr>
          <a:lstStyle>
            <a:lvl1pPr marR="0" lvl="0" algn="ctr">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cxnSp>
        <p:nvCxnSpPr>
          <p:cNvPr id="769" name="Google Shape;769;p82"/>
          <p:cNvCxnSpPr/>
          <p:nvPr/>
        </p:nvCxnSpPr>
        <p:spPr>
          <a:xfrm>
            <a:off x="6759549" y="3874984"/>
            <a:ext cx="3857600" cy="0"/>
          </a:xfrm>
          <a:prstGeom prst="straightConnector1">
            <a:avLst/>
          </a:prstGeom>
          <a:noFill/>
          <a:ln w="9525" cap="rnd" cmpd="sng">
            <a:solidFill>
              <a:schemeClr val="lt2"/>
            </a:solidFill>
            <a:prstDash val="solid"/>
            <a:round/>
            <a:headEnd type="none" w="sm" len="sm"/>
            <a:tailEnd type="none" w="sm" len="sm"/>
          </a:ln>
        </p:spPr>
      </p:cxnSp>
      <p:cxnSp>
        <p:nvCxnSpPr>
          <p:cNvPr id="770" name="Google Shape;770;p82"/>
          <p:cNvCxnSpPr/>
          <p:nvPr/>
        </p:nvCxnSpPr>
        <p:spPr>
          <a:xfrm>
            <a:off x="6793337" y="4970317"/>
            <a:ext cx="3857600" cy="0"/>
          </a:xfrm>
          <a:prstGeom prst="straightConnector1">
            <a:avLst/>
          </a:prstGeom>
          <a:noFill/>
          <a:ln w="9525" cap="rnd" cmpd="sng">
            <a:solidFill>
              <a:schemeClr val="lt2"/>
            </a:solidFill>
            <a:prstDash val="solid"/>
            <a:round/>
            <a:headEnd type="none" w="sm" len="sm"/>
            <a:tailEnd type="none" w="sm" len="sm"/>
          </a:ln>
        </p:spPr>
      </p:cxnSp>
      <p:sp>
        <p:nvSpPr>
          <p:cNvPr id="771" name="Google Shape;771;p82"/>
          <p:cNvSpPr txBox="1">
            <a:spLocks noGrp="1"/>
          </p:cNvSpPr>
          <p:nvPr>
            <p:ph type="subTitle" idx="5"/>
          </p:nvPr>
        </p:nvSpPr>
        <p:spPr>
          <a:xfrm>
            <a:off x="6675551" y="2064600"/>
            <a:ext cx="4025600" cy="457201"/>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20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b="1">
                <a:solidFill>
                  <a:schemeClr val="dk1"/>
                </a:solidFill>
              </a:defRPr>
            </a:lvl2pPr>
            <a:lvl3pPr lvl="2" algn="l">
              <a:lnSpc>
                <a:spcPct val="90000"/>
              </a:lnSpc>
              <a:spcBef>
                <a:spcPts val="0"/>
              </a:spcBef>
              <a:spcAft>
                <a:spcPts val="0"/>
              </a:spcAft>
              <a:buClr>
                <a:schemeClr val="dk1"/>
              </a:buClr>
              <a:buSzPts val="1600"/>
              <a:buFont typeface="Arial"/>
              <a:buNone/>
              <a:defRPr sz="2131" b="1">
                <a:solidFill>
                  <a:schemeClr val="dk1"/>
                </a:solidFill>
              </a:defRPr>
            </a:lvl3pPr>
            <a:lvl4pPr lvl="3" algn="l">
              <a:lnSpc>
                <a:spcPct val="90000"/>
              </a:lnSpc>
              <a:spcBef>
                <a:spcPts val="0"/>
              </a:spcBef>
              <a:spcAft>
                <a:spcPts val="0"/>
              </a:spcAft>
              <a:buClr>
                <a:schemeClr val="dk1"/>
              </a:buClr>
              <a:buSzPts val="1600"/>
              <a:buFont typeface="Arial"/>
              <a:buNone/>
              <a:defRPr sz="2131" b="1">
                <a:solidFill>
                  <a:schemeClr val="dk1"/>
                </a:solidFill>
              </a:defRPr>
            </a:lvl4pPr>
            <a:lvl5pPr lvl="4" algn="l">
              <a:lnSpc>
                <a:spcPct val="90000"/>
              </a:lnSpc>
              <a:spcBef>
                <a:spcPts val="0"/>
              </a:spcBef>
              <a:spcAft>
                <a:spcPts val="0"/>
              </a:spcAft>
              <a:buClr>
                <a:schemeClr val="dk1"/>
              </a:buClr>
              <a:buSzPts val="1600"/>
              <a:buFont typeface="Arial"/>
              <a:buNone/>
              <a:defRPr sz="2131" b="1">
                <a:solidFill>
                  <a:schemeClr val="dk1"/>
                </a:solidFill>
              </a:defRPr>
            </a:lvl5pPr>
            <a:lvl6pPr lvl="5" algn="l">
              <a:lnSpc>
                <a:spcPct val="90000"/>
              </a:lnSpc>
              <a:spcBef>
                <a:spcPts val="0"/>
              </a:spcBef>
              <a:spcAft>
                <a:spcPts val="0"/>
              </a:spcAft>
              <a:buClr>
                <a:schemeClr val="dk1"/>
              </a:buClr>
              <a:buSzPts val="1600"/>
              <a:buNone/>
              <a:defRPr sz="2131" b="1">
                <a:solidFill>
                  <a:schemeClr val="dk1"/>
                </a:solidFill>
              </a:defRPr>
            </a:lvl6pPr>
            <a:lvl7pPr lvl="6" algn="l">
              <a:lnSpc>
                <a:spcPct val="90000"/>
              </a:lnSpc>
              <a:spcBef>
                <a:spcPts val="0"/>
              </a:spcBef>
              <a:spcAft>
                <a:spcPts val="0"/>
              </a:spcAft>
              <a:buClr>
                <a:schemeClr val="dk1"/>
              </a:buClr>
              <a:buSzPts val="1600"/>
              <a:buNone/>
              <a:defRPr sz="2131" b="1">
                <a:solidFill>
                  <a:schemeClr val="dk1"/>
                </a:solidFill>
              </a:defRPr>
            </a:lvl7pPr>
            <a:lvl8pPr lvl="7" algn="l">
              <a:lnSpc>
                <a:spcPct val="90000"/>
              </a:lnSpc>
              <a:spcBef>
                <a:spcPts val="0"/>
              </a:spcBef>
              <a:spcAft>
                <a:spcPts val="0"/>
              </a:spcAft>
              <a:buClr>
                <a:schemeClr val="dk1"/>
              </a:buClr>
              <a:buSzPts val="1600"/>
              <a:buNone/>
              <a:defRPr sz="2131" b="1">
                <a:solidFill>
                  <a:schemeClr val="dk1"/>
                </a:solidFill>
              </a:defRPr>
            </a:lvl8pPr>
            <a:lvl9pPr lvl="8" algn="l">
              <a:lnSpc>
                <a:spcPct val="90000"/>
              </a:lnSpc>
              <a:spcBef>
                <a:spcPts val="0"/>
              </a:spcBef>
              <a:spcAft>
                <a:spcPts val="0"/>
              </a:spcAft>
              <a:buClr>
                <a:schemeClr val="dk1"/>
              </a:buClr>
              <a:buSzPts val="1600"/>
              <a:buNone/>
              <a:defRPr sz="2131" b="1">
                <a:solidFill>
                  <a:schemeClr val="dk1"/>
                </a:solidFill>
              </a:defRPr>
            </a:lvl9pPr>
          </a:lstStyle>
          <a:p>
            <a:endParaRPr/>
          </a:p>
        </p:txBody>
      </p:sp>
      <p:sp>
        <p:nvSpPr>
          <p:cNvPr id="772" name="Google Shape;772;p82"/>
          <p:cNvSpPr txBox="1">
            <a:spLocks noGrp="1"/>
          </p:cNvSpPr>
          <p:nvPr>
            <p:ph type="subTitle" idx="6"/>
          </p:nvPr>
        </p:nvSpPr>
        <p:spPr>
          <a:xfrm>
            <a:off x="6675383" y="3014467"/>
            <a:ext cx="4155600" cy="634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73" name="Google Shape;773;p82"/>
          <p:cNvSpPr txBox="1">
            <a:spLocks noGrp="1"/>
          </p:cNvSpPr>
          <p:nvPr>
            <p:ph type="subTitle" idx="7"/>
          </p:nvPr>
        </p:nvSpPr>
        <p:spPr>
          <a:xfrm>
            <a:off x="6675387" y="4111748"/>
            <a:ext cx="4155600" cy="634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74" name="Google Shape;774;p82"/>
          <p:cNvSpPr txBox="1">
            <a:spLocks noGrp="1"/>
          </p:cNvSpPr>
          <p:nvPr>
            <p:ph type="subTitle" idx="8"/>
          </p:nvPr>
        </p:nvSpPr>
        <p:spPr>
          <a:xfrm>
            <a:off x="6675387" y="5196833"/>
            <a:ext cx="4155600" cy="634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Tree>
    <p:extLst>
      <p:ext uri="{BB962C8B-B14F-4D97-AF65-F5344CB8AC3E}">
        <p14:creationId xmlns:p14="http://schemas.microsoft.com/office/powerpoint/2010/main" val="2539708249"/>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matchingName="78. Three silos">
  <p:cSld name="78. Three silos">
    <p:spTree>
      <p:nvGrpSpPr>
        <p:cNvPr id="1" name="Shape 775"/>
        <p:cNvGrpSpPr/>
        <p:nvPr/>
      </p:nvGrpSpPr>
      <p:grpSpPr>
        <a:xfrm>
          <a:off x="0" y="0"/>
          <a:ext cx="0" cy="0"/>
          <a:chOff x="0" y="0"/>
          <a:chExt cx="0" cy="0"/>
        </a:xfrm>
      </p:grpSpPr>
      <p:sp>
        <p:nvSpPr>
          <p:cNvPr id="776" name="Google Shape;776;p83"/>
          <p:cNvSpPr/>
          <p:nvPr/>
        </p:nvSpPr>
        <p:spPr>
          <a:xfrm>
            <a:off x="596067" y="1498600"/>
            <a:ext cx="3486000" cy="4394400"/>
          </a:xfrm>
          <a:prstGeom prst="roundRect">
            <a:avLst>
              <a:gd name="adj" fmla="val 3738"/>
            </a:avLst>
          </a:prstGeom>
          <a:solidFill>
            <a:srgbClr val="0A0C10"/>
          </a:solidFill>
          <a:ln w="9525" cap="flat" cmpd="sng">
            <a:solidFill>
              <a:srgbClr val="282828"/>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777" name="Google Shape;777;p83"/>
          <p:cNvSpPr/>
          <p:nvPr/>
        </p:nvSpPr>
        <p:spPr>
          <a:xfrm>
            <a:off x="4336079" y="1498600"/>
            <a:ext cx="3564000" cy="4394400"/>
          </a:xfrm>
          <a:prstGeom prst="roundRect">
            <a:avLst>
              <a:gd name="adj" fmla="val 3738"/>
            </a:avLst>
          </a:prstGeom>
          <a:solidFill>
            <a:srgbClr val="0A0C10"/>
          </a:solidFill>
          <a:ln w="9525" cap="flat" cmpd="sng">
            <a:solidFill>
              <a:srgbClr val="282828"/>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778" name="Google Shape;778;p83"/>
          <p:cNvSpPr/>
          <p:nvPr/>
        </p:nvSpPr>
        <p:spPr>
          <a:xfrm>
            <a:off x="8121844" y="1498600"/>
            <a:ext cx="3486000" cy="4394400"/>
          </a:xfrm>
          <a:prstGeom prst="roundRect">
            <a:avLst>
              <a:gd name="adj" fmla="val 3738"/>
            </a:avLst>
          </a:prstGeom>
          <a:solidFill>
            <a:srgbClr val="0A0C10"/>
          </a:solidFill>
          <a:ln w="9525" cap="flat" cmpd="sng">
            <a:solidFill>
              <a:srgbClr val="282828"/>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779" name="Google Shape;779;p83"/>
          <p:cNvSpPr txBox="1">
            <a:spLocks noGrp="1"/>
          </p:cNvSpPr>
          <p:nvPr>
            <p:ph type="subTitle" idx="1"/>
          </p:nvPr>
        </p:nvSpPr>
        <p:spPr>
          <a:xfrm>
            <a:off x="8347933" y="4758680"/>
            <a:ext cx="3009600" cy="1002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80" name="Google Shape;780;p83"/>
          <p:cNvSpPr txBox="1">
            <a:spLocks noGrp="1"/>
          </p:cNvSpPr>
          <p:nvPr>
            <p:ph type="subTitle" idx="2"/>
          </p:nvPr>
        </p:nvSpPr>
        <p:spPr>
          <a:xfrm>
            <a:off x="4597133" y="4756513"/>
            <a:ext cx="3009600" cy="1002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81" name="Google Shape;781;p83"/>
          <p:cNvSpPr txBox="1">
            <a:spLocks noGrp="1"/>
          </p:cNvSpPr>
          <p:nvPr>
            <p:ph type="subTitle" idx="3"/>
          </p:nvPr>
        </p:nvSpPr>
        <p:spPr>
          <a:xfrm>
            <a:off x="793300" y="4756513"/>
            <a:ext cx="3009600" cy="1002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82" name="Google Shape;782;p83"/>
          <p:cNvSpPr/>
          <p:nvPr/>
        </p:nvSpPr>
        <p:spPr>
          <a:xfrm rot="5400000">
            <a:off x="139152" y="2234000"/>
            <a:ext cx="914400" cy="24400"/>
          </a:xfrm>
          <a:prstGeom prst="roundRect">
            <a:avLst>
              <a:gd name="adj" fmla="val 50000"/>
            </a:avLst>
          </a:prstGeom>
          <a:gradFill>
            <a:gsLst>
              <a:gs pos="0">
                <a:srgbClr val="A371F7"/>
              </a:gs>
              <a:gs pos="100000">
                <a:srgbClr val="DB61A2"/>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783" name="Google Shape;783;p83"/>
          <p:cNvSpPr/>
          <p:nvPr/>
        </p:nvSpPr>
        <p:spPr>
          <a:xfrm rot="5400000">
            <a:off x="3879259" y="2335601"/>
            <a:ext cx="914400" cy="24400"/>
          </a:xfrm>
          <a:prstGeom prst="roundRect">
            <a:avLst>
              <a:gd name="adj" fmla="val 50000"/>
            </a:avLst>
          </a:prstGeom>
          <a:gradFill>
            <a:gsLst>
              <a:gs pos="0">
                <a:srgbClr val="388BFD"/>
              </a:gs>
              <a:gs pos="50000">
                <a:srgbClr val="797EF9"/>
              </a:gs>
              <a:gs pos="100000">
                <a:srgbClr val="A371F7"/>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784" name="Google Shape;784;p83"/>
          <p:cNvSpPr/>
          <p:nvPr/>
        </p:nvSpPr>
        <p:spPr>
          <a:xfrm rot="5400000">
            <a:off x="7665135" y="2335601"/>
            <a:ext cx="914400" cy="24400"/>
          </a:xfrm>
          <a:prstGeom prst="roundRect">
            <a:avLst>
              <a:gd name="adj" fmla="val 50000"/>
            </a:avLst>
          </a:prstGeom>
          <a:gradFill>
            <a:gsLst>
              <a:gs pos="0">
                <a:srgbClr val="57CCC5"/>
              </a:gs>
              <a:gs pos="100000">
                <a:srgbClr val="388BFD"/>
              </a:gs>
            </a:gsLst>
            <a:lin ang="8099331" scaled="0"/>
          </a:gra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785" name="Google Shape;785;p83"/>
          <p:cNvSpPr txBox="1">
            <a:spLocks noGrp="1"/>
          </p:cNvSpPr>
          <p:nvPr>
            <p:ph type="subTitle" idx="4"/>
          </p:nvPr>
        </p:nvSpPr>
        <p:spPr>
          <a:xfrm>
            <a:off x="772836" y="1735833"/>
            <a:ext cx="3037131" cy="929471"/>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20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b="1">
                <a:solidFill>
                  <a:schemeClr val="dk1"/>
                </a:solidFill>
              </a:defRPr>
            </a:lvl2pPr>
            <a:lvl3pPr lvl="2" algn="l">
              <a:lnSpc>
                <a:spcPct val="90000"/>
              </a:lnSpc>
              <a:spcBef>
                <a:spcPts val="0"/>
              </a:spcBef>
              <a:spcAft>
                <a:spcPts val="0"/>
              </a:spcAft>
              <a:buClr>
                <a:schemeClr val="dk1"/>
              </a:buClr>
              <a:buSzPts val="1600"/>
              <a:buFont typeface="Arial"/>
              <a:buNone/>
              <a:defRPr sz="2131" b="1">
                <a:solidFill>
                  <a:schemeClr val="dk1"/>
                </a:solidFill>
              </a:defRPr>
            </a:lvl3pPr>
            <a:lvl4pPr lvl="3" algn="l">
              <a:lnSpc>
                <a:spcPct val="90000"/>
              </a:lnSpc>
              <a:spcBef>
                <a:spcPts val="0"/>
              </a:spcBef>
              <a:spcAft>
                <a:spcPts val="0"/>
              </a:spcAft>
              <a:buClr>
                <a:schemeClr val="dk1"/>
              </a:buClr>
              <a:buSzPts val="1600"/>
              <a:buFont typeface="Arial"/>
              <a:buNone/>
              <a:defRPr sz="2131" b="1">
                <a:solidFill>
                  <a:schemeClr val="dk1"/>
                </a:solidFill>
              </a:defRPr>
            </a:lvl4pPr>
            <a:lvl5pPr lvl="4" algn="l">
              <a:lnSpc>
                <a:spcPct val="90000"/>
              </a:lnSpc>
              <a:spcBef>
                <a:spcPts val="0"/>
              </a:spcBef>
              <a:spcAft>
                <a:spcPts val="0"/>
              </a:spcAft>
              <a:buClr>
                <a:schemeClr val="dk1"/>
              </a:buClr>
              <a:buSzPts val="1600"/>
              <a:buFont typeface="Arial"/>
              <a:buNone/>
              <a:defRPr sz="2131" b="1">
                <a:solidFill>
                  <a:schemeClr val="dk1"/>
                </a:solidFill>
              </a:defRPr>
            </a:lvl5pPr>
            <a:lvl6pPr lvl="5" algn="l">
              <a:lnSpc>
                <a:spcPct val="90000"/>
              </a:lnSpc>
              <a:spcBef>
                <a:spcPts val="0"/>
              </a:spcBef>
              <a:spcAft>
                <a:spcPts val="0"/>
              </a:spcAft>
              <a:buClr>
                <a:schemeClr val="dk1"/>
              </a:buClr>
              <a:buSzPts val="1600"/>
              <a:buNone/>
              <a:defRPr sz="2131" b="1">
                <a:solidFill>
                  <a:schemeClr val="dk1"/>
                </a:solidFill>
              </a:defRPr>
            </a:lvl6pPr>
            <a:lvl7pPr lvl="6" algn="l">
              <a:lnSpc>
                <a:spcPct val="90000"/>
              </a:lnSpc>
              <a:spcBef>
                <a:spcPts val="0"/>
              </a:spcBef>
              <a:spcAft>
                <a:spcPts val="0"/>
              </a:spcAft>
              <a:buClr>
                <a:schemeClr val="dk1"/>
              </a:buClr>
              <a:buSzPts val="1600"/>
              <a:buNone/>
              <a:defRPr sz="2131" b="1">
                <a:solidFill>
                  <a:schemeClr val="dk1"/>
                </a:solidFill>
              </a:defRPr>
            </a:lvl7pPr>
            <a:lvl8pPr lvl="7" algn="l">
              <a:lnSpc>
                <a:spcPct val="90000"/>
              </a:lnSpc>
              <a:spcBef>
                <a:spcPts val="0"/>
              </a:spcBef>
              <a:spcAft>
                <a:spcPts val="0"/>
              </a:spcAft>
              <a:buClr>
                <a:schemeClr val="dk1"/>
              </a:buClr>
              <a:buSzPts val="1600"/>
              <a:buNone/>
              <a:defRPr sz="2131" b="1">
                <a:solidFill>
                  <a:schemeClr val="dk1"/>
                </a:solidFill>
              </a:defRPr>
            </a:lvl8pPr>
            <a:lvl9pPr lvl="8" algn="l">
              <a:lnSpc>
                <a:spcPct val="90000"/>
              </a:lnSpc>
              <a:spcBef>
                <a:spcPts val="0"/>
              </a:spcBef>
              <a:spcAft>
                <a:spcPts val="0"/>
              </a:spcAft>
              <a:buClr>
                <a:schemeClr val="dk1"/>
              </a:buClr>
              <a:buSzPts val="1600"/>
              <a:buNone/>
              <a:defRPr sz="2131" b="1">
                <a:solidFill>
                  <a:schemeClr val="dk1"/>
                </a:solidFill>
              </a:defRPr>
            </a:lvl9pPr>
          </a:lstStyle>
          <a:p>
            <a:endParaRPr/>
          </a:p>
        </p:txBody>
      </p:sp>
      <p:sp>
        <p:nvSpPr>
          <p:cNvPr id="786" name="Google Shape;786;p83"/>
          <p:cNvSpPr txBox="1">
            <a:spLocks noGrp="1"/>
          </p:cNvSpPr>
          <p:nvPr>
            <p:ph type="subTitle" idx="5"/>
          </p:nvPr>
        </p:nvSpPr>
        <p:spPr>
          <a:xfrm>
            <a:off x="4591020" y="1735833"/>
            <a:ext cx="3037131" cy="929471"/>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20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b="1">
                <a:solidFill>
                  <a:schemeClr val="dk1"/>
                </a:solidFill>
              </a:defRPr>
            </a:lvl2pPr>
            <a:lvl3pPr lvl="2" algn="l">
              <a:lnSpc>
                <a:spcPct val="90000"/>
              </a:lnSpc>
              <a:spcBef>
                <a:spcPts val="0"/>
              </a:spcBef>
              <a:spcAft>
                <a:spcPts val="0"/>
              </a:spcAft>
              <a:buClr>
                <a:schemeClr val="dk1"/>
              </a:buClr>
              <a:buSzPts val="1600"/>
              <a:buFont typeface="Arial"/>
              <a:buNone/>
              <a:defRPr sz="2131" b="1">
                <a:solidFill>
                  <a:schemeClr val="dk1"/>
                </a:solidFill>
              </a:defRPr>
            </a:lvl3pPr>
            <a:lvl4pPr lvl="3" algn="l">
              <a:lnSpc>
                <a:spcPct val="90000"/>
              </a:lnSpc>
              <a:spcBef>
                <a:spcPts val="0"/>
              </a:spcBef>
              <a:spcAft>
                <a:spcPts val="0"/>
              </a:spcAft>
              <a:buClr>
                <a:schemeClr val="dk1"/>
              </a:buClr>
              <a:buSzPts val="1600"/>
              <a:buFont typeface="Arial"/>
              <a:buNone/>
              <a:defRPr sz="2131" b="1">
                <a:solidFill>
                  <a:schemeClr val="dk1"/>
                </a:solidFill>
              </a:defRPr>
            </a:lvl4pPr>
            <a:lvl5pPr lvl="4" algn="l">
              <a:lnSpc>
                <a:spcPct val="90000"/>
              </a:lnSpc>
              <a:spcBef>
                <a:spcPts val="0"/>
              </a:spcBef>
              <a:spcAft>
                <a:spcPts val="0"/>
              </a:spcAft>
              <a:buClr>
                <a:schemeClr val="dk1"/>
              </a:buClr>
              <a:buSzPts val="1600"/>
              <a:buFont typeface="Arial"/>
              <a:buNone/>
              <a:defRPr sz="2131" b="1">
                <a:solidFill>
                  <a:schemeClr val="dk1"/>
                </a:solidFill>
              </a:defRPr>
            </a:lvl5pPr>
            <a:lvl6pPr lvl="5" algn="l">
              <a:lnSpc>
                <a:spcPct val="90000"/>
              </a:lnSpc>
              <a:spcBef>
                <a:spcPts val="0"/>
              </a:spcBef>
              <a:spcAft>
                <a:spcPts val="0"/>
              </a:spcAft>
              <a:buClr>
                <a:schemeClr val="dk1"/>
              </a:buClr>
              <a:buSzPts val="1600"/>
              <a:buNone/>
              <a:defRPr sz="2131" b="1">
                <a:solidFill>
                  <a:schemeClr val="dk1"/>
                </a:solidFill>
              </a:defRPr>
            </a:lvl6pPr>
            <a:lvl7pPr lvl="6" algn="l">
              <a:lnSpc>
                <a:spcPct val="90000"/>
              </a:lnSpc>
              <a:spcBef>
                <a:spcPts val="0"/>
              </a:spcBef>
              <a:spcAft>
                <a:spcPts val="0"/>
              </a:spcAft>
              <a:buClr>
                <a:schemeClr val="dk1"/>
              </a:buClr>
              <a:buSzPts val="1600"/>
              <a:buNone/>
              <a:defRPr sz="2131" b="1">
                <a:solidFill>
                  <a:schemeClr val="dk1"/>
                </a:solidFill>
              </a:defRPr>
            </a:lvl7pPr>
            <a:lvl8pPr lvl="7" algn="l">
              <a:lnSpc>
                <a:spcPct val="90000"/>
              </a:lnSpc>
              <a:spcBef>
                <a:spcPts val="0"/>
              </a:spcBef>
              <a:spcAft>
                <a:spcPts val="0"/>
              </a:spcAft>
              <a:buClr>
                <a:schemeClr val="dk1"/>
              </a:buClr>
              <a:buSzPts val="1600"/>
              <a:buNone/>
              <a:defRPr sz="2131" b="1">
                <a:solidFill>
                  <a:schemeClr val="dk1"/>
                </a:solidFill>
              </a:defRPr>
            </a:lvl8pPr>
            <a:lvl9pPr lvl="8" algn="l">
              <a:lnSpc>
                <a:spcPct val="90000"/>
              </a:lnSpc>
              <a:spcBef>
                <a:spcPts val="0"/>
              </a:spcBef>
              <a:spcAft>
                <a:spcPts val="0"/>
              </a:spcAft>
              <a:buClr>
                <a:schemeClr val="dk1"/>
              </a:buClr>
              <a:buSzPts val="1600"/>
              <a:buNone/>
              <a:defRPr sz="2131" b="1">
                <a:solidFill>
                  <a:schemeClr val="dk1"/>
                </a:solidFill>
              </a:defRPr>
            </a:lvl9pPr>
          </a:lstStyle>
          <a:p>
            <a:endParaRPr/>
          </a:p>
        </p:txBody>
      </p:sp>
      <p:cxnSp>
        <p:nvCxnSpPr>
          <p:cNvPr id="787" name="Google Shape;787;p83"/>
          <p:cNvCxnSpPr/>
          <p:nvPr/>
        </p:nvCxnSpPr>
        <p:spPr>
          <a:xfrm>
            <a:off x="8433236" y="3699137"/>
            <a:ext cx="2793600" cy="0"/>
          </a:xfrm>
          <a:prstGeom prst="straightConnector1">
            <a:avLst/>
          </a:prstGeom>
          <a:noFill/>
          <a:ln w="9525" cap="rnd" cmpd="sng">
            <a:solidFill>
              <a:schemeClr val="lt2"/>
            </a:solidFill>
            <a:prstDash val="solid"/>
            <a:round/>
            <a:headEnd type="none" w="sm" len="sm"/>
            <a:tailEnd type="none" w="sm" len="sm"/>
          </a:ln>
        </p:spPr>
      </p:cxnSp>
      <p:cxnSp>
        <p:nvCxnSpPr>
          <p:cNvPr id="788" name="Google Shape;788;p83"/>
          <p:cNvCxnSpPr/>
          <p:nvPr/>
        </p:nvCxnSpPr>
        <p:spPr>
          <a:xfrm>
            <a:off x="8433239" y="4721734"/>
            <a:ext cx="2793600" cy="0"/>
          </a:xfrm>
          <a:prstGeom prst="straightConnector1">
            <a:avLst/>
          </a:prstGeom>
          <a:noFill/>
          <a:ln w="9525" cap="rnd" cmpd="sng">
            <a:solidFill>
              <a:schemeClr val="lt2"/>
            </a:solidFill>
            <a:prstDash val="solid"/>
            <a:round/>
            <a:headEnd type="none" w="sm" len="sm"/>
            <a:tailEnd type="none" w="sm" len="sm"/>
          </a:ln>
        </p:spPr>
      </p:cxnSp>
      <p:sp>
        <p:nvSpPr>
          <p:cNvPr id="789" name="Google Shape;789;p83"/>
          <p:cNvSpPr txBox="1">
            <a:spLocks noGrp="1"/>
          </p:cNvSpPr>
          <p:nvPr>
            <p:ph type="subTitle" idx="6"/>
          </p:nvPr>
        </p:nvSpPr>
        <p:spPr>
          <a:xfrm>
            <a:off x="8330969" y="1735833"/>
            <a:ext cx="3037131" cy="929471"/>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2000"/>
              <a:buFont typeface="Arial"/>
              <a:buNone/>
              <a:defRPr sz="2131" b="0" i="0">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b="1">
                <a:solidFill>
                  <a:schemeClr val="dk1"/>
                </a:solidFill>
              </a:defRPr>
            </a:lvl2pPr>
            <a:lvl3pPr lvl="2" algn="l">
              <a:lnSpc>
                <a:spcPct val="90000"/>
              </a:lnSpc>
              <a:spcBef>
                <a:spcPts val="0"/>
              </a:spcBef>
              <a:spcAft>
                <a:spcPts val="0"/>
              </a:spcAft>
              <a:buClr>
                <a:schemeClr val="dk1"/>
              </a:buClr>
              <a:buSzPts val="1600"/>
              <a:buFont typeface="Arial"/>
              <a:buNone/>
              <a:defRPr sz="2131" b="1">
                <a:solidFill>
                  <a:schemeClr val="dk1"/>
                </a:solidFill>
              </a:defRPr>
            </a:lvl3pPr>
            <a:lvl4pPr lvl="3" algn="l">
              <a:lnSpc>
                <a:spcPct val="90000"/>
              </a:lnSpc>
              <a:spcBef>
                <a:spcPts val="0"/>
              </a:spcBef>
              <a:spcAft>
                <a:spcPts val="0"/>
              </a:spcAft>
              <a:buClr>
                <a:schemeClr val="dk1"/>
              </a:buClr>
              <a:buSzPts val="1600"/>
              <a:buFont typeface="Arial"/>
              <a:buNone/>
              <a:defRPr sz="2131" b="1">
                <a:solidFill>
                  <a:schemeClr val="dk1"/>
                </a:solidFill>
              </a:defRPr>
            </a:lvl4pPr>
            <a:lvl5pPr lvl="4" algn="l">
              <a:lnSpc>
                <a:spcPct val="90000"/>
              </a:lnSpc>
              <a:spcBef>
                <a:spcPts val="0"/>
              </a:spcBef>
              <a:spcAft>
                <a:spcPts val="0"/>
              </a:spcAft>
              <a:buClr>
                <a:schemeClr val="dk1"/>
              </a:buClr>
              <a:buSzPts val="1600"/>
              <a:buFont typeface="Arial"/>
              <a:buNone/>
              <a:defRPr sz="2131" b="1">
                <a:solidFill>
                  <a:schemeClr val="dk1"/>
                </a:solidFill>
              </a:defRPr>
            </a:lvl5pPr>
            <a:lvl6pPr lvl="5" algn="l">
              <a:lnSpc>
                <a:spcPct val="90000"/>
              </a:lnSpc>
              <a:spcBef>
                <a:spcPts val="0"/>
              </a:spcBef>
              <a:spcAft>
                <a:spcPts val="0"/>
              </a:spcAft>
              <a:buClr>
                <a:schemeClr val="dk1"/>
              </a:buClr>
              <a:buSzPts val="1600"/>
              <a:buNone/>
              <a:defRPr sz="2131" b="1">
                <a:solidFill>
                  <a:schemeClr val="dk1"/>
                </a:solidFill>
              </a:defRPr>
            </a:lvl6pPr>
            <a:lvl7pPr lvl="6" algn="l">
              <a:lnSpc>
                <a:spcPct val="90000"/>
              </a:lnSpc>
              <a:spcBef>
                <a:spcPts val="0"/>
              </a:spcBef>
              <a:spcAft>
                <a:spcPts val="0"/>
              </a:spcAft>
              <a:buClr>
                <a:schemeClr val="dk1"/>
              </a:buClr>
              <a:buSzPts val="1600"/>
              <a:buNone/>
              <a:defRPr sz="2131" b="1">
                <a:solidFill>
                  <a:schemeClr val="dk1"/>
                </a:solidFill>
              </a:defRPr>
            </a:lvl7pPr>
            <a:lvl8pPr lvl="7" algn="l">
              <a:lnSpc>
                <a:spcPct val="90000"/>
              </a:lnSpc>
              <a:spcBef>
                <a:spcPts val="0"/>
              </a:spcBef>
              <a:spcAft>
                <a:spcPts val="0"/>
              </a:spcAft>
              <a:buClr>
                <a:schemeClr val="dk1"/>
              </a:buClr>
              <a:buSzPts val="1600"/>
              <a:buNone/>
              <a:defRPr sz="2131" b="1">
                <a:solidFill>
                  <a:schemeClr val="dk1"/>
                </a:solidFill>
              </a:defRPr>
            </a:lvl8pPr>
            <a:lvl9pPr lvl="8" algn="l">
              <a:lnSpc>
                <a:spcPct val="90000"/>
              </a:lnSpc>
              <a:spcBef>
                <a:spcPts val="0"/>
              </a:spcBef>
              <a:spcAft>
                <a:spcPts val="0"/>
              </a:spcAft>
              <a:buClr>
                <a:schemeClr val="dk1"/>
              </a:buClr>
              <a:buSzPts val="1600"/>
              <a:buNone/>
              <a:defRPr sz="2131" b="1">
                <a:solidFill>
                  <a:schemeClr val="dk1"/>
                </a:solidFill>
              </a:defRPr>
            </a:lvl9pPr>
          </a:lstStyle>
          <a:p>
            <a:endParaRPr/>
          </a:p>
        </p:txBody>
      </p:sp>
      <p:sp>
        <p:nvSpPr>
          <p:cNvPr id="790" name="Google Shape;790;p83"/>
          <p:cNvSpPr txBox="1">
            <a:spLocks noGrp="1"/>
          </p:cNvSpPr>
          <p:nvPr>
            <p:ph type="subTitle" idx="7"/>
          </p:nvPr>
        </p:nvSpPr>
        <p:spPr>
          <a:xfrm>
            <a:off x="8347933" y="2697137"/>
            <a:ext cx="3009600" cy="1002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91" name="Google Shape;791;p83"/>
          <p:cNvSpPr txBox="1">
            <a:spLocks noGrp="1"/>
          </p:cNvSpPr>
          <p:nvPr>
            <p:ph type="subTitle" idx="8"/>
          </p:nvPr>
        </p:nvSpPr>
        <p:spPr>
          <a:xfrm>
            <a:off x="8347933" y="3728804"/>
            <a:ext cx="3009600" cy="1002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cxnSp>
        <p:nvCxnSpPr>
          <p:cNvPr id="792" name="Google Shape;792;p83"/>
          <p:cNvCxnSpPr/>
          <p:nvPr/>
        </p:nvCxnSpPr>
        <p:spPr>
          <a:xfrm>
            <a:off x="4682436" y="3696971"/>
            <a:ext cx="2793600" cy="0"/>
          </a:xfrm>
          <a:prstGeom prst="straightConnector1">
            <a:avLst/>
          </a:prstGeom>
          <a:noFill/>
          <a:ln w="9525" cap="rnd" cmpd="sng">
            <a:solidFill>
              <a:schemeClr val="lt2"/>
            </a:solidFill>
            <a:prstDash val="solid"/>
            <a:round/>
            <a:headEnd type="none" w="sm" len="sm"/>
            <a:tailEnd type="none" w="sm" len="sm"/>
          </a:ln>
        </p:spPr>
      </p:cxnSp>
      <p:cxnSp>
        <p:nvCxnSpPr>
          <p:cNvPr id="793" name="Google Shape;793;p83"/>
          <p:cNvCxnSpPr/>
          <p:nvPr/>
        </p:nvCxnSpPr>
        <p:spPr>
          <a:xfrm>
            <a:off x="4682439" y="4719568"/>
            <a:ext cx="2793600" cy="0"/>
          </a:xfrm>
          <a:prstGeom prst="straightConnector1">
            <a:avLst/>
          </a:prstGeom>
          <a:noFill/>
          <a:ln w="9525" cap="rnd" cmpd="sng">
            <a:solidFill>
              <a:schemeClr val="lt2"/>
            </a:solidFill>
            <a:prstDash val="solid"/>
            <a:round/>
            <a:headEnd type="none" w="sm" len="sm"/>
            <a:tailEnd type="none" w="sm" len="sm"/>
          </a:ln>
        </p:spPr>
      </p:cxnSp>
      <p:sp>
        <p:nvSpPr>
          <p:cNvPr id="794" name="Google Shape;794;p83"/>
          <p:cNvSpPr txBox="1">
            <a:spLocks noGrp="1"/>
          </p:cNvSpPr>
          <p:nvPr>
            <p:ph type="subTitle" idx="9"/>
          </p:nvPr>
        </p:nvSpPr>
        <p:spPr>
          <a:xfrm>
            <a:off x="4597133" y="2694971"/>
            <a:ext cx="3009600" cy="1002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95" name="Google Shape;795;p83"/>
          <p:cNvSpPr txBox="1">
            <a:spLocks noGrp="1"/>
          </p:cNvSpPr>
          <p:nvPr>
            <p:ph type="subTitle" idx="13"/>
          </p:nvPr>
        </p:nvSpPr>
        <p:spPr>
          <a:xfrm>
            <a:off x="4597133" y="3726637"/>
            <a:ext cx="3009600" cy="1002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cxnSp>
        <p:nvCxnSpPr>
          <p:cNvPr id="796" name="Google Shape;796;p83"/>
          <p:cNvCxnSpPr/>
          <p:nvPr/>
        </p:nvCxnSpPr>
        <p:spPr>
          <a:xfrm>
            <a:off x="878603" y="3696971"/>
            <a:ext cx="2793600" cy="0"/>
          </a:xfrm>
          <a:prstGeom prst="straightConnector1">
            <a:avLst/>
          </a:prstGeom>
          <a:noFill/>
          <a:ln w="9525" cap="rnd" cmpd="sng">
            <a:solidFill>
              <a:schemeClr val="lt2"/>
            </a:solidFill>
            <a:prstDash val="solid"/>
            <a:round/>
            <a:headEnd type="none" w="sm" len="sm"/>
            <a:tailEnd type="none" w="sm" len="sm"/>
          </a:ln>
        </p:spPr>
      </p:cxnSp>
      <p:cxnSp>
        <p:nvCxnSpPr>
          <p:cNvPr id="797" name="Google Shape;797;p83"/>
          <p:cNvCxnSpPr/>
          <p:nvPr/>
        </p:nvCxnSpPr>
        <p:spPr>
          <a:xfrm>
            <a:off x="878605" y="4719568"/>
            <a:ext cx="2793600" cy="0"/>
          </a:xfrm>
          <a:prstGeom prst="straightConnector1">
            <a:avLst/>
          </a:prstGeom>
          <a:noFill/>
          <a:ln w="9525" cap="rnd" cmpd="sng">
            <a:solidFill>
              <a:schemeClr val="lt2"/>
            </a:solidFill>
            <a:prstDash val="solid"/>
            <a:round/>
            <a:headEnd type="none" w="sm" len="sm"/>
            <a:tailEnd type="none" w="sm" len="sm"/>
          </a:ln>
        </p:spPr>
      </p:cxnSp>
      <p:sp>
        <p:nvSpPr>
          <p:cNvPr id="798" name="Google Shape;798;p83"/>
          <p:cNvSpPr txBox="1">
            <a:spLocks noGrp="1"/>
          </p:cNvSpPr>
          <p:nvPr>
            <p:ph type="subTitle" idx="14"/>
          </p:nvPr>
        </p:nvSpPr>
        <p:spPr>
          <a:xfrm>
            <a:off x="793300" y="2694971"/>
            <a:ext cx="3009600" cy="1002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799" name="Google Shape;799;p83"/>
          <p:cNvSpPr txBox="1">
            <a:spLocks noGrp="1"/>
          </p:cNvSpPr>
          <p:nvPr>
            <p:ph type="subTitle" idx="15"/>
          </p:nvPr>
        </p:nvSpPr>
        <p:spPr>
          <a:xfrm>
            <a:off x="793300" y="3726637"/>
            <a:ext cx="3009600" cy="1002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400"/>
              <a:buFont typeface="Arial"/>
              <a:buNone/>
              <a:defRPr sz="1865">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400"/>
              <a:buFont typeface="Arial"/>
              <a:buNone/>
              <a:defRPr>
                <a:solidFill>
                  <a:schemeClr val="dk2"/>
                </a:solidFill>
              </a:defRPr>
            </a:lvl2pPr>
            <a:lvl3pPr lvl="2" algn="l">
              <a:lnSpc>
                <a:spcPct val="90000"/>
              </a:lnSpc>
              <a:spcBef>
                <a:spcPts val="0"/>
              </a:spcBef>
              <a:spcAft>
                <a:spcPts val="0"/>
              </a:spcAft>
              <a:buClr>
                <a:schemeClr val="dk2"/>
              </a:buClr>
              <a:buSzPts val="1400"/>
              <a:buFont typeface="Arial"/>
              <a:buNone/>
              <a:defRPr>
                <a:solidFill>
                  <a:schemeClr val="dk2"/>
                </a:solidFill>
              </a:defRPr>
            </a:lvl3pPr>
            <a:lvl4pPr lvl="3" algn="l">
              <a:lnSpc>
                <a:spcPct val="90000"/>
              </a:lnSpc>
              <a:spcBef>
                <a:spcPts val="0"/>
              </a:spcBef>
              <a:spcAft>
                <a:spcPts val="0"/>
              </a:spcAft>
              <a:buClr>
                <a:schemeClr val="dk2"/>
              </a:buClr>
              <a:buSzPts val="1400"/>
              <a:buFont typeface="Arial"/>
              <a:buNone/>
              <a:defRPr>
                <a:solidFill>
                  <a:schemeClr val="dk2"/>
                </a:solidFill>
              </a:defRPr>
            </a:lvl4pPr>
            <a:lvl5pPr lvl="4" algn="l">
              <a:lnSpc>
                <a:spcPct val="90000"/>
              </a:lnSpc>
              <a:spcBef>
                <a:spcPts val="0"/>
              </a:spcBef>
              <a:spcAft>
                <a:spcPts val="0"/>
              </a:spcAft>
              <a:buClr>
                <a:schemeClr val="dk2"/>
              </a:buClr>
              <a:buSzPts val="1400"/>
              <a:buFont typeface="Arial"/>
              <a:buNone/>
              <a:defRPr>
                <a:solidFill>
                  <a:schemeClr val="dk2"/>
                </a:solidFill>
              </a:defRPr>
            </a:lvl5pPr>
            <a:lvl6pPr lvl="5" algn="l">
              <a:lnSpc>
                <a:spcPct val="90000"/>
              </a:lnSpc>
              <a:spcBef>
                <a:spcPts val="0"/>
              </a:spcBef>
              <a:spcAft>
                <a:spcPts val="0"/>
              </a:spcAft>
              <a:buClr>
                <a:schemeClr val="dk2"/>
              </a:buClr>
              <a:buSzPts val="1400"/>
              <a:buNone/>
              <a:defRPr>
                <a:solidFill>
                  <a:schemeClr val="dk2"/>
                </a:solidFill>
              </a:defRPr>
            </a:lvl6pPr>
            <a:lvl7pPr lvl="6" algn="l">
              <a:lnSpc>
                <a:spcPct val="90000"/>
              </a:lnSpc>
              <a:spcBef>
                <a:spcPts val="0"/>
              </a:spcBef>
              <a:spcAft>
                <a:spcPts val="0"/>
              </a:spcAft>
              <a:buClr>
                <a:schemeClr val="dk2"/>
              </a:buClr>
              <a:buSzPts val="1400"/>
              <a:buNone/>
              <a:defRPr>
                <a:solidFill>
                  <a:schemeClr val="dk2"/>
                </a:solidFill>
              </a:defRPr>
            </a:lvl7pPr>
            <a:lvl8pPr lvl="7" algn="l">
              <a:lnSpc>
                <a:spcPct val="90000"/>
              </a:lnSpc>
              <a:spcBef>
                <a:spcPts val="0"/>
              </a:spcBef>
              <a:spcAft>
                <a:spcPts val="0"/>
              </a:spcAft>
              <a:buClr>
                <a:schemeClr val="dk2"/>
              </a:buClr>
              <a:buSzPts val="1400"/>
              <a:buNone/>
              <a:defRPr>
                <a:solidFill>
                  <a:schemeClr val="dk2"/>
                </a:solidFill>
              </a:defRPr>
            </a:lvl8pPr>
            <a:lvl9pPr lvl="8" algn="l">
              <a:lnSpc>
                <a:spcPct val="90000"/>
              </a:lnSpc>
              <a:spcBef>
                <a:spcPts val="0"/>
              </a:spcBef>
              <a:spcAft>
                <a:spcPts val="0"/>
              </a:spcAft>
              <a:buClr>
                <a:schemeClr val="dk2"/>
              </a:buClr>
              <a:buSzPts val="1400"/>
              <a:buNone/>
              <a:defRPr>
                <a:solidFill>
                  <a:schemeClr val="dk2"/>
                </a:solidFill>
              </a:defRPr>
            </a:lvl9pPr>
          </a:lstStyle>
          <a:p>
            <a:endParaRPr/>
          </a:p>
        </p:txBody>
      </p:sp>
      <p:sp>
        <p:nvSpPr>
          <p:cNvPr id="800" name="Google Shape;800;p83"/>
          <p:cNvSpPr txBox="1">
            <a:spLocks noGrp="1"/>
          </p:cNvSpPr>
          <p:nvPr>
            <p:ph type="title"/>
          </p:nvPr>
        </p:nvSpPr>
        <p:spPr>
          <a:xfrm>
            <a:off x="608567" y="1"/>
            <a:ext cx="10999200" cy="1498600"/>
          </a:xfrm>
          <a:prstGeom prst="rect">
            <a:avLst/>
          </a:prstGeom>
          <a:noFill/>
          <a:ln>
            <a:noFill/>
          </a:ln>
        </p:spPr>
        <p:txBody>
          <a:bodyPr spcFirstLastPara="1" wrap="square" lIns="34275" tIns="17150" rIns="34275" bIns="17150" anchor="ctr" anchorCtr="0">
            <a:noAutofit/>
          </a:bodyPr>
          <a:lstStyle>
            <a:lvl1pPr marR="0" lvl="0" algn="ctr">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ctr">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Tree>
    <p:extLst>
      <p:ext uri="{BB962C8B-B14F-4D97-AF65-F5344CB8AC3E}">
        <p14:creationId xmlns:p14="http://schemas.microsoft.com/office/powerpoint/2010/main" val="86001622"/>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matchingName="79. Four part gradient cycle">
  <p:cSld name="79. Four part gradient cycle">
    <p:spTree>
      <p:nvGrpSpPr>
        <p:cNvPr id="1" name="Shape 801"/>
        <p:cNvGrpSpPr/>
        <p:nvPr/>
      </p:nvGrpSpPr>
      <p:grpSpPr>
        <a:xfrm>
          <a:off x="0" y="0"/>
          <a:ext cx="0" cy="0"/>
          <a:chOff x="0" y="0"/>
          <a:chExt cx="0" cy="0"/>
        </a:xfrm>
      </p:grpSpPr>
      <p:grpSp>
        <p:nvGrpSpPr>
          <p:cNvPr id="802" name="Google Shape;802;p84"/>
          <p:cNvGrpSpPr/>
          <p:nvPr/>
        </p:nvGrpSpPr>
        <p:grpSpPr>
          <a:xfrm rot="-5400000" flipH="1">
            <a:off x="7959585" y="2560118"/>
            <a:ext cx="160020" cy="1390016"/>
            <a:chOff x="8582701" y="8238489"/>
            <a:chExt cx="320040" cy="2780031"/>
          </a:xfrm>
        </p:grpSpPr>
        <p:cxnSp>
          <p:nvCxnSpPr>
            <p:cNvPr id="803" name="Google Shape;803;p84"/>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04" name="Google Shape;804;p84"/>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05" name="Google Shape;805;p84"/>
          <p:cNvGrpSpPr/>
          <p:nvPr/>
        </p:nvGrpSpPr>
        <p:grpSpPr>
          <a:xfrm rot="5400000">
            <a:off x="4057722" y="2543493"/>
            <a:ext cx="160020" cy="1390016"/>
            <a:chOff x="8582701" y="8238489"/>
            <a:chExt cx="320040" cy="2780031"/>
          </a:xfrm>
        </p:grpSpPr>
        <p:cxnSp>
          <p:nvCxnSpPr>
            <p:cNvPr id="806" name="Google Shape;806;p84"/>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07" name="Google Shape;807;p84"/>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08" name="Google Shape;808;p84"/>
          <p:cNvGrpSpPr/>
          <p:nvPr/>
        </p:nvGrpSpPr>
        <p:grpSpPr>
          <a:xfrm>
            <a:off x="6027666" y="4371874"/>
            <a:ext cx="160020" cy="1390015"/>
            <a:chOff x="8582701" y="8238489"/>
            <a:chExt cx="320040" cy="2780031"/>
          </a:xfrm>
        </p:grpSpPr>
        <p:cxnSp>
          <p:nvCxnSpPr>
            <p:cNvPr id="809" name="Google Shape;809;p84"/>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10" name="Google Shape;810;p84"/>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11" name="Google Shape;811;p84"/>
          <p:cNvGrpSpPr/>
          <p:nvPr/>
        </p:nvGrpSpPr>
        <p:grpSpPr>
          <a:xfrm rot="10800000" flipH="1">
            <a:off x="6027666" y="552575"/>
            <a:ext cx="160020" cy="1390015"/>
            <a:chOff x="8582701" y="8238489"/>
            <a:chExt cx="320040" cy="2780031"/>
          </a:xfrm>
        </p:grpSpPr>
        <p:cxnSp>
          <p:nvCxnSpPr>
            <p:cNvPr id="812" name="Google Shape;812;p84"/>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13" name="Google Shape;813;p84"/>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14" name="Google Shape;814;p84"/>
          <p:cNvGrpSpPr/>
          <p:nvPr/>
        </p:nvGrpSpPr>
        <p:grpSpPr>
          <a:xfrm flipH="1">
            <a:off x="4302252" y="1409700"/>
            <a:ext cx="3586651" cy="3657600"/>
            <a:chOff x="2466726" y="-956149"/>
            <a:chExt cx="10032273" cy="10058401"/>
          </a:xfrm>
        </p:grpSpPr>
        <p:sp>
          <p:nvSpPr>
            <p:cNvPr id="815" name="Google Shape;815;p84"/>
            <p:cNvSpPr/>
            <p:nvPr/>
          </p:nvSpPr>
          <p:spPr>
            <a:xfrm>
              <a:off x="6050072" y="-956149"/>
              <a:ext cx="6447769" cy="4983482"/>
            </a:xfrm>
            <a:custGeom>
              <a:avLst/>
              <a:gdLst/>
              <a:ahLst/>
              <a:cxnLst/>
              <a:rect l="l" t="t" r="r" b="b"/>
              <a:pathLst>
                <a:path w="6447769" h="4983482" extrusionOk="0">
                  <a:moveTo>
                    <a:pt x="1419727" y="0"/>
                  </a:moveTo>
                  <a:lnTo>
                    <a:pt x="1465447" y="2309"/>
                  </a:lnTo>
                  <a:lnTo>
                    <a:pt x="1465447" y="1157"/>
                  </a:lnTo>
                  <a:lnTo>
                    <a:pt x="1678528" y="6545"/>
                  </a:lnTo>
                  <a:cubicBezTo>
                    <a:pt x="4250087" y="136898"/>
                    <a:pt x="6312029" y="2198841"/>
                    <a:pt x="6442381" y="4770399"/>
                  </a:cubicBezTo>
                  <a:lnTo>
                    <a:pt x="6447769" y="4983482"/>
                  </a:lnTo>
                  <a:lnTo>
                    <a:pt x="6446619" y="4983482"/>
                  </a:lnTo>
                  <a:lnTo>
                    <a:pt x="6441597" y="4884041"/>
                  </a:lnTo>
                  <a:cubicBezTo>
                    <a:pt x="6368893" y="4168135"/>
                    <a:pt x="5764288" y="3609473"/>
                    <a:pt x="5029200" y="3609473"/>
                  </a:cubicBezTo>
                  <a:cubicBezTo>
                    <a:pt x="4294112" y="3609473"/>
                    <a:pt x="3689507" y="4168135"/>
                    <a:pt x="3616803" y="4884041"/>
                  </a:cubicBezTo>
                  <a:lnTo>
                    <a:pt x="3614562" y="4928423"/>
                  </a:lnTo>
                  <a:lnTo>
                    <a:pt x="3608185" y="4802127"/>
                  </a:lnTo>
                  <a:cubicBezTo>
                    <a:pt x="3495325" y="3690812"/>
                    <a:pt x="2556784" y="2823590"/>
                    <a:pt x="1415693" y="2823590"/>
                  </a:cubicBezTo>
                  <a:lnTo>
                    <a:pt x="1267636" y="2831067"/>
                  </a:lnTo>
                  <a:lnTo>
                    <a:pt x="1133602" y="2810611"/>
                  </a:lnTo>
                  <a:cubicBezTo>
                    <a:pt x="486657" y="2678226"/>
                    <a:pt x="0" y="2105810"/>
                    <a:pt x="0" y="1419727"/>
                  </a:cubicBezTo>
                  <a:cubicBezTo>
                    <a:pt x="0" y="635633"/>
                    <a:pt x="635633" y="0"/>
                    <a:pt x="1419727" y="0"/>
                  </a:cubicBezTo>
                  <a:close/>
                </a:path>
              </a:pathLst>
            </a:custGeom>
            <a:gradFill>
              <a:gsLst>
                <a:gs pos="0">
                  <a:srgbClr val="A371F7"/>
                </a:gs>
                <a:gs pos="100000">
                  <a:srgbClr val="6E40C9"/>
                </a:gs>
              </a:gsLst>
              <a:lin ang="27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1" i="0" u="none" strike="noStrike" cap="none">
                <a:solidFill>
                  <a:schemeClr val="lt1"/>
                </a:solidFill>
                <a:latin typeface="Arial"/>
                <a:ea typeface="Arial"/>
                <a:cs typeface="Arial"/>
                <a:sym typeface="Arial"/>
              </a:endParaRPr>
            </a:p>
          </p:txBody>
        </p:sp>
        <p:sp>
          <p:nvSpPr>
            <p:cNvPr id="816" name="Google Shape;816;p84"/>
            <p:cNvSpPr/>
            <p:nvPr/>
          </p:nvSpPr>
          <p:spPr>
            <a:xfrm>
              <a:off x="2466726" y="-954993"/>
              <a:ext cx="4983482" cy="6447770"/>
            </a:xfrm>
            <a:custGeom>
              <a:avLst/>
              <a:gdLst/>
              <a:ahLst/>
              <a:cxnLst/>
              <a:rect l="l" t="t" r="r" b="b"/>
              <a:pathLst>
                <a:path w="4983482" h="6447770" extrusionOk="0">
                  <a:moveTo>
                    <a:pt x="4983482" y="0"/>
                  </a:moveTo>
                  <a:lnTo>
                    <a:pt x="4983482" y="1152"/>
                  </a:lnTo>
                  <a:lnTo>
                    <a:pt x="4884042" y="6173"/>
                  </a:lnTo>
                  <a:cubicBezTo>
                    <a:pt x="4168136" y="78877"/>
                    <a:pt x="3609474" y="683482"/>
                    <a:pt x="3609474" y="1418570"/>
                  </a:cubicBezTo>
                  <a:cubicBezTo>
                    <a:pt x="3609474" y="2107715"/>
                    <a:pt x="4100486" y="2682178"/>
                    <a:pt x="4751750" y="2811200"/>
                  </a:cubicBezTo>
                  <a:lnTo>
                    <a:pt x="4877001" y="2829915"/>
                  </a:lnTo>
                  <a:lnTo>
                    <a:pt x="4799835" y="2833812"/>
                  </a:lnTo>
                  <a:cubicBezTo>
                    <a:pt x="3688520" y="2946672"/>
                    <a:pt x="2821298" y="3885212"/>
                    <a:pt x="2821298" y="5026303"/>
                  </a:cubicBezTo>
                  <a:lnTo>
                    <a:pt x="2829563" y="5189982"/>
                  </a:lnTo>
                  <a:lnTo>
                    <a:pt x="2810610" y="5314168"/>
                  </a:lnTo>
                  <a:cubicBezTo>
                    <a:pt x="2678226" y="5961114"/>
                    <a:pt x="2105809" y="6447770"/>
                    <a:pt x="1419727" y="6447770"/>
                  </a:cubicBezTo>
                  <a:cubicBezTo>
                    <a:pt x="635633" y="6447770"/>
                    <a:pt x="0" y="5812137"/>
                    <a:pt x="0" y="5028043"/>
                  </a:cubicBezTo>
                  <a:lnTo>
                    <a:pt x="2309" y="4982324"/>
                  </a:lnTo>
                  <a:lnTo>
                    <a:pt x="1157" y="4982324"/>
                  </a:lnTo>
                  <a:lnTo>
                    <a:pt x="6545" y="4769242"/>
                  </a:lnTo>
                  <a:cubicBezTo>
                    <a:pt x="136898" y="2197684"/>
                    <a:pt x="2198840" y="135741"/>
                    <a:pt x="4770399" y="5388"/>
                  </a:cubicBezTo>
                  <a:close/>
                </a:path>
              </a:pathLst>
            </a:custGeom>
            <a:gradFill>
              <a:gsLst>
                <a:gs pos="0">
                  <a:srgbClr val="A371F7"/>
                </a:gs>
                <a:gs pos="100000">
                  <a:srgbClr val="388BFD"/>
                </a:gs>
              </a:gsLst>
              <a:lin ang="54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1" i="0" u="none" strike="noStrike" cap="none">
                <a:solidFill>
                  <a:schemeClr val="lt1"/>
                </a:solidFill>
                <a:latin typeface="Arial"/>
                <a:ea typeface="Arial"/>
                <a:cs typeface="Arial"/>
                <a:sym typeface="Arial"/>
              </a:endParaRPr>
            </a:p>
          </p:txBody>
        </p:sp>
        <p:sp>
          <p:nvSpPr>
            <p:cNvPr id="817" name="Google Shape;817;p84"/>
            <p:cNvSpPr/>
            <p:nvPr/>
          </p:nvSpPr>
          <p:spPr>
            <a:xfrm>
              <a:off x="2467884" y="4118771"/>
              <a:ext cx="6447771" cy="4983481"/>
            </a:xfrm>
            <a:custGeom>
              <a:avLst/>
              <a:gdLst/>
              <a:ahLst/>
              <a:cxnLst/>
              <a:rect l="l" t="t" r="r" b="b"/>
              <a:pathLst>
                <a:path w="6447771" h="4983481" extrusionOk="0">
                  <a:moveTo>
                    <a:pt x="0" y="0"/>
                  </a:moveTo>
                  <a:lnTo>
                    <a:pt x="1152" y="0"/>
                  </a:lnTo>
                  <a:lnTo>
                    <a:pt x="6173" y="99439"/>
                  </a:lnTo>
                  <a:cubicBezTo>
                    <a:pt x="78877" y="815345"/>
                    <a:pt x="683482" y="1374007"/>
                    <a:pt x="1418570" y="1374007"/>
                  </a:cubicBezTo>
                  <a:cubicBezTo>
                    <a:pt x="2107715" y="1374007"/>
                    <a:pt x="2682178" y="882996"/>
                    <a:pt x="2811200" y="231731"/>
                  </a:cubicBezTo>
                  <a:lnTo>
                    <a:pt x="2828419" y="116492"/>
                  </a:lnTo>
                  <a:lnTo>
                    <a:pt x="2831519" y="177872"/>
                  </a:lnTo>
                  <a:cubicBezTo>
                    <a:pt x="2944379" y="1289187"/>
                    <a:pt x="3882919" y="2156409"/>
                    <a:pt x="5024010" y="2156409"/>
                  </a:cubicBezTo>
                  <a:lnTo>
                    <a:pt x="5148631" y="2150116"/>
                  </a:lnTo>
                  <a:lnTo>
                    <a:pt x="5173203" y="2151357"/>
                  </a:lnTo>
                  <a:cubicBezTo>
                    <a:pt x="5889109" y="2224061"/>
                    <a:pt x="6447771" y="2828666"/>
                    <a:pt x="6447771" y="3563754"/>
                  </a:cubicBezTo>
                  <a:cubicBezTo>
                    <a:pt x="6447771" y="4347848"/>
                    <a:pt x="5812138" y="4983481"/>
                    <a:pt x="5028044" y="4983481"/>
                  </a:cubicBezTo>
                  <a:lnTo>
                    <a:pt x="4982325" y="4981172"/>
                  </a:lnTo>
                  <a:lnTo>
                    <a:pt x="4982325" y="4982324"/>
                  </a:lnTo>
                  <a:lnTo>
                    <a:pt x="4769242" y="4976936"/>
                  </a:lnTo>
                  <a:cubicBezTo>
                    <a:pt x="2197683" y="4846583"/>
                    <a:pt x="135741" y="2784641"/>
                    <a:pt x="5388" y="213082"/>
                  </a:cubicBezTo>
                  <a:close/>
                </a:path>
              </a:pathLst>
            </a:custGeom>
            <a:gradFill>
              <a:gsLst>
                <a:gs pos="0">
                  <a:srgbClr val="388BFD"/>
                </a:gs>
                <a:gs pos="82000">
                  <a:srgbClr val="1158C7"/>
                </a:gs>
                <a:gs pos="100000">
                  <a:srgbClr val="1158C7"/>
                </a:gs>
              </a:gsLst>
              <a:lin ang="39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1" i="0" u="none" strike="noStrike" cap="none">
                <a:solidFill>
                  <a:schemeClr val="lt1"/>
                </a:solidFill>
                <a:latin typeface="Arial"/>
                <a:ea typeface="Arial"/>
                <a:cs typeface="Arial"/>
                <a:sym typeface="Arial"/>
              </a:endParaRPr>
            </a:p>
          </p:txBody>
        </p:sp>
        <p:sp>
          <p:nvSpPr>
            <p:cNvPr id="818" name="Google Shape;818;p84"/>
            <p:cNvSpPr/>
            <p:nvPr/>
          </p:nvSpPr>
          <p:spPr>
            <a:xfrm>
              <a:off x="7515520" y="2653324"/>
              <a:ext cx="4983479" cy="6447772"/>
            </a:xfrm>
            <a:custGeom>
              <a:avLst/>
              <a:gdLst/>
              <a:ahLst/>
              <a:cxnLst/>
              <a:rect l="l" t="t" r="r" b="b"/>
              <a:pathLst>
                <a:path w="4983480" h="6447772" extrusionOk="0">
                  <a:moveTo>
                    <a:pt x="3563753" y="0"/>
                  </a:moveTo>
                  <a:cubicBezTo>
                    <a:pt x="4347847" y="0"/>
                    <a:pt x="4983480" y="635633"/>
                    <a:pt x="4983480" y="1419727"/>
                  </a:cubicBezTo>
                  <a:lnTo>
                    <a:pt x="4981172" y="1465449"/>
                  </a:lnTo>
                  <a:lnTo>
                    <a:pt x="4982322" y="1465449"/>
                  </a:lnTo>
                  <a:lnTo>
                    <a:pt x="4976934" y="1678530"/>
                  </a:lnTo>
                  <a:cubicBezTo>
                    <a:pt x="4846582" y="4250089"/>
                    <a:pt x="2784640" y="6312031"/>
                    <a:pt x="213081" y="6442384"/>
                  </a:cubicBezTo>
                  <a:lnTo>
                    <a:pt x="0" y="6447772"/>
                  </a:lnTo>
                  <a:lnTo>
                    <a:pt x="0" y="6446619"/>
                  </a:lnTo>
                  <a:lnTo>
                    <a:pt x="99439" y="6441598"/>
                  </a:lnTo>
                  <a:cubicBezTo>
                    <a:pt x="815345" y="6368894"/>
                    <a:pt x="1374007" y="5764289"/>
                    <a:pt x="1374007" y="5029201"/>
                  </a:cubicBezTo>
                  <a:cubicBezTo>
                    <a:pt x="1374007" y="4294113"/>
                    <a:pt x="815345" y="3689508"/>
                    <a:pt x="99439" y="3616804"/>
                  </a:cubicBezTo>
                  <a:lnTo>
                    <a:pt x="74876" y="3615564"/>
                  </a:lnTo>
                  <a:lnTo>
                    <a:pt x="175579" y="3610479"/>
                  </a:lnTo>
                  <a:cubicBezTo>
                    <a:pt x="1286894" y="3497619"/>
                    <a:pt x="2154116" y="2559078"/>
                    <a:pt x="2154116" y="1417987"/>
                  </a:cubicBezTo>
                  <a:lnTo>
                    <a:pt x="2149115" y="1318948"/>
                  </a:lnTo>
                  <a:lnTo>
                    <a:pt x="2151356" y="1274568"/>
                  </a:lnTo>
                  <a:cubicBezTo>
                    <a:pt x="2224060" y="558662"/>
                    <a:pt x="2828665" y="0"/>
                    <a:pt x="3563753" y="0"/>
                  </a:cubicBezTo>
                  <a:close/>
                </a:path>
              </a:pathLst>
            </a:custGeom>
            <a:gradFill>
              <a:gsLst>
                <a:gs pos="0">
                  <a:srgbClr val="6E40C9"/>
                </a:gs>
                <a:gs pos="16000">
                  <a:srgbClr val="6E40C9"/>
                </a:gs>
                <a:gs pos="100000">
                  <a:srgbClr val="1158C7"/>
                </a:gs>
              </a:gsLst>
              <a:lin ang="54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1" i="0" u="none" strike="noStrike" cap="none">
                <a:solidFill>
                  <a:schemeClr val="lt1"/>
                </a:solidFill>
                <a:latin typeface="Arial"/>
                <a:ea typeface="Arial"/>
                <a:cs typeface="Arial"/>
                <a:sym typeface="Arial"/>
              </a:endParaRPr>
            </a:p>
          </p:txBody>
        </p:sp>
      </p:grpSp>
      <p:sp>
        <p:nvSpPr>
          <p:cNvPr id="819" name="Google Shape;819;p84"/>
          <p:cNvSpPr txBox="1">
            <a:spLocks noGrp="1"/>
          </p:cNvSpPr>
          <p:nvPr>
            <p:ph type="subTitle" idx="1"/>
          </p:nvPr>
        </p:nvSpPr>
        <p:spPr>
          <a:xfrm>
            <a:off x="573024" y="3169920"/>
            <a:ext cx="2743200" cy="3292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20" name="Google Shape;820;p84"/>
          <p:cNvSpPr txBox="1">
            <a:spLocks noGrp="1"/>
          </p:cNvSpPr>
          <p:nvPr>
            <p:ph type="subTitle" idx="2"/>
          </p:nvPr>
        </p:nvSpPr>
        <p:spPr>
          <a:xfrm>
            <a:off x="573024" y="3255265"/>
            <a:ext cx="27432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821" name="Google Shape;821;p84"/>
          <p:cNvSpPr txBox="1">
            <a:spLocks noGrp="1"/>
          </p:cNvSpPr>
          <p:nvPr>
            <p:ph type="subTitle" idx="3"/>
          </p:nvPr>
        </p:nvSpPr>
        <p:spPr>
          <a:xfrm>
            <a:off x="6327648" y="548641"/>
            <a:ext cx="2743200"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22" name="Google Shape;822;p84"/>
          <p:cNvSpPr txBox="1">
            <a:spLocks noGrp="1"/>
          </p:cNvSpPr>
          <p:nvPr>
            <p:ph type="subTitle" idx="4"/>
          </p:nvPr>
        </p:nvSpPr>
        <p:spPr>
          <a:xfrm>
            <a:off x="6330848" y="633984"/>
            <a:ext cx="2743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823" name="Google Shape;823;p84"/>
          <p:cNvSpPr txBox="1">
            <a:spLocks noGrp="1"/>
          </p:cNvSpPr>
          <p:nvPr>
            <p:ph type="subTitle" idx="5"/>
          </p:nvPr>
        </p:nvSpPr>
        <p:spPr>
          <a:xfrm>
            <a:off x="6327648" y="5608321"/>
            <a:ext cx="2743200"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24" name="Google Shape;824;p84"/>
          <p:cNvSpPr txBox="1">
            <a:spLocks noGrp="1"/>
          </p:cNvSpPr>
          <p:nvPr>
            <p:ph type="subTitle" idx="6"/>
          </p:nvPr>
        </p:nvSpPr>
        <p:spPr>
          <a:xfrm>
            <a:off x="6327648" y="5693664"/>
            <a:ext cx="2743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825" name="Google Shape;825;p84"/>
          <p:cNvSpPr txBox="1">
            <a:spLocks noGrp="1"/>
          </p:cNvSpPr>
          <p:nvPr>
            <p:ph type="subTitle" idx="7"/>
          </p:nvPr>
        </p:nvSpPr>
        <p:spPr>
          <a:xfrm>
            <a:off x="8851392" y="3182113"/>
            <a:ext cx="2743200"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26" name="Google Shape;826;p84"/>
          <p:cNvSpPr txBox="1">
            <a:spLocks noGrp="1"/>
          </p:cNvSpPr>
          <p:nvPr>
            <p:ph type="subTitle" idx="8"/>
          </p:nvPr>
        </p:nvSpPr>
        <p:spPr>
          <a:xfrm>
            <a:off x="8851392" y="3267456"/>
            <a:ext cx="2743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Tree>
    <p:extLst>
      <p:ext uri="{BB962C8B-B14F-4D97-AF65-F5344CB8AC3E}">
        <p14:creationId xmlns:p14="http://schemas.microsoft.com/office/powerpoint/2010/main" val="3557710264"/>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matchingName="80. Four part gradient cycle">
  <p:cSld name="80. Four part gradient cycle">
    <p:spTree>
      <p:nvGrpSpPr>
        <p:cNvPr id="1" name="Shape 827"/>
        <p:cNvGrpSpPr/>
        <p:nvPr/>
      </p:nvGrpSpPr>
      <p:grpSpPr>
        <a:xfrm>
          <a:off x="0" y="0"/>
          <a:ext cx="0" cy="0"/>
          <a:chOff x="0" y="0"/>
          <a:chExt cx="0" cy="0"/>
        </a:xfrm>
      </p:grpSpPr>
      <p:grpSp>
        <p:nvGrpSpPr>
          <p:cNvPr id="828" name="Google Shape;828;p85"/>
          <p:cNvGrpSpPr/>
          <p:nvPr/>
        </p:nvGrpSpPr>
        <p:grpSpPr>
          <a:xfrm rot="-5400000" flipH="1">
            <a:off x="7959585" y="2560118"/>
            <a:ext cx="160020" cy="1390016"/>
            <a:chOff x="8582701" y="8238489"/>
            <a:chExt cx="320040" cy="2780031"/>
          </a:xfrm>
        </p:grpSpPr>
        <p:cxnSp>
          <p:nvCxnSpPr>
            <p:cNvPr id="829" name="Google Shape;829;p85"/>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30" name="Google Shape;830;p85"/>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31" name="Google Shape;831;p85"/>
          <p:cNvGrpSpPr/>
          <p:nvPr/>
        </p:nvGrpSpPr>
        <p:grpSpPr>
          <a:xfrm rot="5400000">
            <a:off x="4057722" y="2543493"/>
            <a:ext cx="160020" cy="1390016"/>
            <a:chOff x="8582701" y="8238489"/>
            <a:chExt cx="320040" cy="2780031"/>
          </a:xfrm>
        </p:grpSpPr>
        <p:cxnSp>
          <p:nvCxnSpPr>
            <p:cNvPr id="832" name="Google Shape;832;p85"/>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33" name="Google Shape;833;p85"/>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34" name="Google Shape;834;p85"/>
          <p:cNvGrpSpPr/>
          <p:nvPr/>
        </p:nvGrpSpPr>
        <p:grpSpPr>
          <a:xfrm>
            <a:off x="6027666" y="4371874"/>
            <a:ext cx="160020" cy="1390015"/>
            <a:chOff x="8582701" y="8238489"/>
            <a:chExt cx="320040" cy="2780031"/>
          </a:xfrm>
        </p:grpSpPr>
        <p:cxnSp>
          <p:nvCxnSpPr>
            <p:cNvPr id="835" name="Google Shape;835;p85"/>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36" name="Google Shape;836;p85"/>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37" name="Google Shape;837;p85"/>
          <p:cNvGrpSpPr/>
          <p:nvPr/>
        </p:nvGrpSpPr>
        <p:grpSpPr>
          <a:xfrm rot="10800000" flipH="1">
            <a:off x="6027666" y="552575"/>
            <a:ext cx="160020" cy="1390015"/>
            <a:chOff x="8582701" y="8238489"/>
            <a:chExt cx="320040" cy="2780031"/>
          </a:xfrm>
        </p:grpSpPr>
        <p:cxnSp>
          <p:nvCxnSpPr>
            <p:cNvPr id="838" name="Google Shape;838;p85"/>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39" name="Google Shape;839;p85"/>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40" name="Google Shape;840;p85"/>
          <p:cNvGrpSpPr/>
          <p:nvPr/>
        </p:nvGrpSpPr>
        <p:grpSpPr>
          <a:xfrm flipH="1">
            <a:off x="4302252" y="1409816"/>
            <a:ext cx="3586651" cy="3657600"/>
            <a:chOff x="2466726" y="-956149"/>
            <a:chExt cx="10032274" cy="10058401"/>
          </a:xfrm>
        </p:grpSpPr>
        <p:sp>
          <p:nvSpPr>
            <p:cNvPr id="841" name="Google Shape;841;p85"/>
            <p:cNvSpPr/>
            <p:nvPr/>
          </p:nvSpPr>
          <p:spPr>
            <a:xfrm>
              <a:off x="6050072" y="-956149"/>
              <a:ext cx="6447769" cy="4983482"/>
            </a:xfrm>
            <a:custGeom>
              <a:avLst/>
              <a:gdLst/>
              <a:ahLst/>
              <a:cxnLst/>
              <a:rect l="l" t="t" r="r" b="b"/>
              <a:pathLst>
                <a:path w="6447769" h="4983482" extrusionOk="0">
                  <a:moveTo>
                    <a:pt x="1419727" y="0"/>
                  </a:moveTo>
                  <a:lnTo>
                    <a:pt x="1465447" y="2309"/>
                  </a:lnTo>
                  <a:lnTo>
                    <a:pt x="1465447" y="1157"/>
                  </a:lnTo>
                  <a:lnTo>
                    <a:pt x="1678528" y="6545"/>
                  </a:lnTo>
                  <a:cubicBezTo>
                    <a:pt x="4250087" y="136898"/>
                    <a:pt x="6312029" y="2198841"/>
                    <a:pt x="6442381" y="4770399"/>
                  </a:cubicBezTo>
                  <a:lnTo>
                    <a:pt x="6447769" y="4983482"/>
                  </a:lnTo>
                  <a:lnTo>
                    <a:pt x="6446619" y="4983482"/>
                  </a:lnTo>
                  <a:lnTo>
                    <a:pt x="6441597" y="4884041"/>
                  </a:lnTo>
                  <a:cubicBezTo>
                    <a:pt x="6368893" y="4168135"/>
                    <a:pt x="5764288" y="3609473"/>
                    <a:pt x="5029200" y="3609473"/>
                  </a:cubicBezTo>
                  <a:cubicBezTo>
                    <a:pt x="4294112" y="3609473"/>
                    <a:pt x="3689507" y="4168135"/>
                    <a:pt x="3616803" y="4884041"/>
                  </a:cubicBezTo>
                  <a:lnTo>
                    <a:pt x="3614562" y="4928423"/>
                  </a:lnTo>
                  <a:lnTo>
                    <a:pt x="3608185" y="4802127"/>
                  </a:lnTo>
                  <a:cubicBezTo>
                    <a:pt x="3495325" y="3690812"/>
                    <a:pt x="2556784" y="2823590"/>
                    <a:pt x="1415693" y="2823590"/>
                  </a:cubicBezTo>
                  <a:lnTo>
                    <a:pt x="1267636" y="2831067"/>
                  </a:lnTo>
                  <a:lnTo>
                    <a:pt x="1133602" y="2810611"/>
                  </a:lnTo>
                  <a:cubicBezTo>
                    <a:pt x="486657" y="2678226"/>
                    <a:pt x="0" y="2105810"/>
                    <a:pt x="0" y="1419727"/>
                  </a:cubicBezTo>
                  <a:cubicBezTo>
                    <a:pt x="0" y="635633"/>
                    <a:pt x="635633" y="0"/>
                    <a:pt x="1419727" y="0"/>
                  </a:cubicBezTo>
                  <a:close/>
                </a:path>
              </a:pathLst>
            </a:custGeom>
            <a:gradFill>
              <a:gsLst>
                <a:gs pos="0">
                  <a:srgbClr val="56D364"/>
                </a:gs>
                <a:gs pos="88000">
                  <a:srgbClr val="238636"/>
                </a:gs>
                <a:gs pos="100000">
                  <a:srgbClr val="238636"/>
                </a:gs>
              </a:gsLst>
              <a:lin ang="27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0" i="0" u="none" strike="noStrike" cap="none">
                <a:solidFill>
                  <a:schemeClr val="lt1"/>
                </a:solidFill>
                <a:latin typeface="Arial"/>
                <a:ea typeface="Arial"/>
                <a:cs typeface="Arial"/>
                <a:sym typeface="Arial"/>
              </a:endParaRPr>
            </a:p>
          </p:txBody>
        </p:sp>
        <p:sp>
          <p:nvSpPr>
            <p:cNvPr id="842" name="Google Shape;842;p85"/>
            <p:cNvSpPr/>
            <p:nvPr/>
          </p:nvSpPr>
          <p:spPr>
            <a:xfrm>
              <a:off x="2466726" y="-954993"/>
              <a:ext cx="4983482" cy="6447770"/>
            </a:xfrm>
            <a:custGeom>
              <a:avLst/>
              <a:gdLst/>
              <a:ahLst/>
              <a:cxnLst/>
              <a:rect l="l" t="t" r="r" b="b"/>
              <a:pathLst>
                <a:path w="4983482" h="6447770" extrusionOk="0">
                  <a:moveTo>
                    <a:pt x="4983482" y="0"/>
                  </a:moveTo>
                  <a:lnTo>
                    <a:pt x="4983482" y="1152"/>
                  </a:lnTo>
                  <a:lnTo>
                    <a:pt x="4884042" y="6173"/>
                  </a:lnTo>
                  <a:cubicBezTo>
                    <a:pt x="4168136" y="78877"/>
                    <a:pt x="3609474" y="683482"/>
                    <a:pt x="3609474" y="1418570"/>
                  </a:cubicBezTo>
                  <a:cubicBezTo>
                    <a:pt x="3609474" y="2107715"/>
                    <a:pt x="4100486" y="2682178"/>
                    <a:pt x="4751750" y="2811200"/>
                  </a:cubicBezTo>
                  <a:lnTo>
                    <a:pt x="4877001" y="2829915"/>
                  </a:lnTo>
                  <a:lnTo>
                    <a:pt x="4799835" y="2833812"/>
                  </a:lnTo>
                  <a:cubicBezTo>
                    <a:pt x="3688520" y="2946672"/>
                    <a:pt x="2821298" y="3885212"/>
                    <a:pt x="2821298" y="5026303"/>
                  </a:cubicBezTo>
                  <a:lnTo>
                    <a:pt x="2829563" y="5189982"/>
                  </a:lnTo>
                  <a:lnTo>
                    <a:pt x="2810610" y="5314168"/>
                  </a:lnTo>
                  <a:cubicBezTo>
                    <a:pt x="2678226" y="5961114"/>
                    <a:pt x="2105809" y="6447770"/>
                    <a:pt x="1419727" y="6447770"/>
                  </a:cubicBezTo>
                  <a:cubicBezTo>
                    <a:pt x="635633" y="6447770"/>
                    <a:pt x="0" y="5812137"/>
                    <a:pt x="0" y="5028043"/>
                  </a:cubicBezTo>
                  <a:lnTo>
                    <a:pt x="2309" y="4982324"/>
                  </a:lnTo>
                  <a:lnTo>
                    <a:pt x="1157" y="4982324"/>
                  </a:lnTo>
                  <a:lnTo>
                    <a:pt x="6545" y="4769242"/>
                  </a:lnTo>
                  <a:cubicBezTo>
                    <a:pt x="136898" y="2197684"/>
                    <a:pt x="2198840" y="135741"/>
                    <a:pt x="4770399" y="5388"/>
                  </a:cubicBezTo>
                  <a:close/>
                </a:path>
              </a:pathLst>
            </a:custGeom>
            <a:gradFill>
              <a:gsLst>
                <a:gs pos="0">
                  <a:srgbClr val="56D364"/>
                </a:gs>
                <a:gs pos="100000">
                  <a:srgbClr val="388BFD"/>
                </a:gs>
              </a:gsLst>
              <a:lin ang="54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0" i="0" u="none" strike="noStrike" cap="none">
                <a:solidFill>
                  <a:schemeClr val="lt1"/>
                </a:solidFill>
                <a:latin typeface="Arial"/>
                <a:ea typeface="Arial"/>
                <a:cs typeface="Arial"/>
                <a:sym typeface="Arial"/>
              </a:endParaRPr>
            </a:p>
          </p:txBody>
        </p:sp>
        <p:sp>
          <p:nvSpPr>
            <p:cNvPr id="843" name="Google Shape;843;p85"/>
            <p:cNvSpPr/>
            <p:nvPr/>
          </p:nvSpPr>
          <p:spPr>
            <a:xfrm>
              <a:off x="2467884" y="4118771"/>
              <a:ext cx="6447771" cy="4983481"/>
            </a:xfrm>
            <a:custGeom>
              <a:avLst/>
              <a:gdLst/>
              <a:ahLst/>
              <a:cxnLst/>
              <a:rect l="l" t="t" r="r" b="b"/>
              <a:pathLst>
                <a:path w="6447771" h="4983481" extrusionOk="0">
                  <a:moveTo>
                    <a:pt x="0" y="0"/>
                  </a:moveTo>
                  <a:lnTo>
                    <a:pt x="1152" y="0"/>
                  </a:lnTo>
                  <a:lnTo>
                    <a:pt x="6173" y="99439"/>
                  </a:lnTo>
                  <a:cubicBezTo>
                    <a:pt x="78877" y="815345"/>
                    <a:pt x="683482" y="1374007"/>
                    <a:pt x="1418570" y="1374007"/>
                  </a:cubicBezTo>
                  <a:cubicBezTo>
                    <a:pt x="2107715" y="1374007"/>
                    <a:pt x="2682178" y="882996"/>
                    <a:pt x="2811200" y="231731"/>
                  </a:cubicBezTo>
                  <a:lnTo>
                    <a:pt x="2828419" y="116492"/>
                  </a:lnTo>
                  <a:lnTo>
                    <a:pt x="2831519" y="177872"/>
                  </a:lnTo>
                  <a:cubicBezTo>
                    <a:pt x="2944379" y="1289187"/>
                    <a:pt x="3882919" y="2156409"/>
                    <a:pt x="5024010" y="2156409"/>
                  </a:cubicBezTo>
                  <a:lnTo>
                    <a:pt x="5148631" y="2150116"/>
                  </a:lnTo>
                  <a:lnTo>
                    <a:pt x="5173203" y="2151357"/>
                  </a:lnTo>
                  <a:cubicBezTo>
                    <a:pt x="5889109" y="2224061"/>
                    <a:pt x="6447771" y="2828666"/>
                    <a:pt x="6447771" y="3563754"/>
                  </a:cubicBezTo>
                  <a:cubicBezTo>
                    <a:pt x="6447771" y="4347848"/>
                    <a:pt x="5812138" y="4983481"/>
                    <a:pt x="5028044" y="4983481"/>
                  </a:cubicBezTo>
                  <a:lnTo>
                    <a:pt x="4982325" y="4981172"/>
                  </a:lnTo>
                  <a:lnTo>
                    <a:pt x="4982325" y="4982324"/>
                  </a:lnTo>
                  <a:lnTo>
                    <a:pt x="4769242" y="4976936"/>
                  </a:lnTo>
                  <a:cubicBezTo>
                    <a:pt x="2197683" y="4846583"/>
                    <a:pt x="135741" y="2784641"/>
                    <a:pt x="5388" y="213082"/>
                  </a:cubicBezTo>
                  <a:close/>
                </a:path>
              </a:pathLst>
            </a:custGeom>
            <a:gradFill>
              <a:gsLst>
                <a:gs pos="0">
                  <a:srgbClr val="388BFD"/>
                </a:gs>
                <a:gs pos="83000">
                  <a:srgbClr val="1158C7"/>
                </a:gs>
                <a:gs pos="100000">
                  <a:srgbClr val="1158C7"/>
                </a:gs>
              </a:gsLst>
              <a:lin ang="39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0" i="0" u="none" strike="noStrike" cap="none">
                <a:solidFill>
                  <a:schemeClr val="lt1"/>
                </a:solidFill>
                <a:latin typeface="Arial"/>
                <a:ea typeface="Arial"/>
                <a:cs typeface="Arial"/>
                <a:sym typeface="Arial"/>
              </a:endParaRPr>
            </a:p>
          </p:txBody>
        </p:sp>
        <p:sp>
          <p:nvSpPr>
            <p:cNvPr id="844" name="Google Shape;844;p85"/>
            <p:cNvSpPr/>
            <p:nvPr/>
          </p:nvSpPr>
          <p:spPr>
            <a:xfrm>
              <a:off x="7515520" y="2653324"/>
              <a:ext cx="4983480" cy="6447772"/>
            </a:xfrm>
            <a:custGeom>
              <a:avLst/>
              <a:gdLst/>
              <a:ahLst/>
              <a:cxnLst/>
              <a:rect l="l" t="t" r="r" b="b"/>
              <a:pathLst>
                <a:path w="4983480" h="6447772" extrusionOk="0">
                  <a:moveTo>
                    <a:pt x="3563753" y="0"/>
                  </a:moveTo>
                  <a:cubicBezTo>
                    <a:pt x="4347847" y="0"/>
                    <a:pt x="4983480" y="635633"/>
                    <a:pt x="4983480" y="1419727"/>
                  </a:cubicBezTo>
                  <a:lnTo>
                    <a:pt x="4981172" y="1465449"/>
                  </a:lnTo>
                  <a:lnTo>
                    <a:pt x="4982322" y="1465449"/>
                  </a:lnTo>
                  <a:lnTo>
                    <a:pt x="4976934" y="1678530"/>
                  </a:lnTo>
                  <a:cubicBezTo>
                    <a:pt x="4846582" y="4250089"/>
                    <a:pt x="2784640" y="6312031"/>
                    <a:pt x="213081" y="6442384"/>
                  </a:cubicBezTo>
                  <a:lnTo>
                    <a:pt x="0" y="6447772"/>
                  </a:lnTo>
                  <a:lnTo>
                    <a:pt x="0" y="6446619"/>
                  </a:lnTo>
                  <a:lnTo>
                    <a:pt x="99439" y="6441598"/>
                  </a:lnTo>
                  <a:cubicBezTo>
                    <a:pt x="815345" y="6368894"/>
                    <a:pt x="1374007" y="5764289"/>
                    <a:pt x="1374007" y="5029201"/>
                  </a:cubicBezTo>
                  <a:cubicBezTo>
                    <a:pt x="1374007" y="4294113"/>
                    <a:pt x="815345" y="3689508"/>
                    <a:pt x="99439" y="3616804"/>
                  </a:cubicBezTo>
                  <a:lnTo>
                    <a:pt x="74876" y="3615564"/>
                  </a:lnTo>
                  <a:lnTo>
                    <a:pt x="175579" y="3610479"/>
                  </a:lnTo>
                  <a:cubicBezTo>
                    <a:pt x="1286894" y="3497619"/>
                    <a:pt x="2154116" y="2559078"/>
                    <a:pt x="2154116" y="1417987"/>
                  </a:cubicBezTo>
                  <a:lnTo>
                    <a:pt x="2149115" y="1318948"/>
                  </a:lnTo>
                  <a:lnTo>
                    <a:pt x="2151356" y="1274568"/>
                  </a:lnTo>
                  <a:cubicBezTo>
                    <a:pt x="2224060" y="558662"/>
                    <a:pt x="2828665" y="0"/>
                    <a:pt x="3563753" y="0"/>
                  </a:cubicBezTo>
                  <a:close/>
                </a:path>
              </a:pathLst>
            </a:custGeom>
            <a:gradFill>
              <a:gsLst>
                <a:gs pos="0">
                  <a:srgbClr val="238636"/>
                </a:gs>
                <a:gs pos="100000">
                  <a:srgbClr val="1158C7"/>
                </a:gs>
              </a:gsLst>
              <a:lin ang="54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0" i="0" u="none" strike="noStrike" cap="none">
                <a:solidFill>
                  <a:schemeClr val="lt1"/>
                </a:solidFill>
                <a:latin typeface="Arial"/>
                <a:ea typeface="Arial"/>
                <a:cs typeface="Arial"/>
                <a:sym typeface="Arial"/>
              </a:endParaRPr>
            </a:p>
          </p:txBody>
        </p:sp>
      </p:grpSp>
      <p:sp>
        <p:nvSpPr>
          <p:cNvPr id="845" name="Google Shape;845;p85"/>
          <p:cNvSpPr txBox="1">
            <a:spLocks noGrp="1"/>
          </p:cNvSpPr>
          <p:nvPr>
            <p:ph type="subTitle" idx="1"/>
          </p:nvPr>
        </p:nvSpPr>
        <p:spPr>
          <a:xfrm>
            <a:off x="573024" y="3169920"/>
            <a:ext cx="2743200" cy="3292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46" name="Google Shape;846;p85"/>
          <p:cNvSpPr txBox="1">
            <a:spLocks noGrp="1"/>
          </p:cNvSpPr>
          <p:nvPr>
            <p:ph type="subTitle" idx="2"/>
          </p:nvPr>
        </p:nvSpPr>
        <p:spPr>
          <a:xfrm>
            <a:off x="573024" y="3255265"/>
            <a:ext cx="27432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847" name="Google Shape;847;p85"/>
          <p:cNvSpPr txBox="1">
            <a:spLocks noGrp="1"/>
          </p:cNvSpPr>
          <p:nvPr>
            <p:ph type="subTitle" idx="3"/>
          </p:nvPr>
        </p:nvSpPr>
        <p:spPr>
          <a:xfrm>
            <a:off x="6327648" y="548641"/>
            <a:ext cx="2743200"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48" name="Google Shape;848;p85"/>
          <p:cNvSpPr txBox="1">
            <a:spLocks noGrp="1"/>
          </p:cNvSpPr>
          <p:nvPr>
            <p:ph type="subTitle" idx="4"/>
          </p:nvPr>
        </p:nvSpPr>
        <p:spPr>
          <a:xfrm>
            <a:off x="6330848" y="633984"/>
            <a:ext cx="2743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849" name="Google Shape;849;p85"/>
          <p:cNvSpPr txBox="1">
            <a:spLocks noGrp="1"/>
          </p:cNvSpPr>
          <p:nvPr>
            <p:ph type="subTitle" idx="5"/>
          </p:nvPr>
        </p:nvSpPr>
        <p:spPr>
          <a:xfrm>
            <a:off x="6327648" y="5608321"/>
            <a:ext cx="2743200"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50" name="Google Shape;850;p85"/>
          <p:cNvSpPr txBox="1">
            <a:spLocks noGrp="1"/>
          </p:cNvSpPr>
          <p:nvPr>
            <p:ph type="subTitle" idx="6"/>
          </p:nvPr>
        </p:nvSpPr>
        <p:spPr>
          <a:xfrm>
            <a:off x="6327648" y="5693664"/>
            <a:ext cx="2743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851" name="Google Shape;851;p85"/>
          <p:cNvSpPr txBox="1">
            <a:spLocks noGrp="1"/>
          </p:cNvSpPr>
          <p:nvPr>
            <p:ph type="subTitle" idx="7"/>
          </p:nvPr>
        </p:nvSpPr>
        <p:spPr>
          <a:xfrm>
            <a:off x="8851392" y="3182113"/>
            <a:ext cx="2743200"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52" name="Google Shape;852;p85"/>
          <p:cNvSpPr txBox="1">
            <a:spLocks noGrp="1"/>
          </p:cNvSpPr>
          <p:nvPr>
            <p:ph type="subTitle" idx="8"/>
          </p:nvPr>
        </p:nvSpPr>
        <p:spPr>
          <a:xfrm>
            <a:off x="8851392" y="3267456"/>
            <a:ext cx="2743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Tree>
    <p:extLst>
      <p:ext uri="{BB962C8B-B14F-4D97-AF65-F5344CB8AC3E}">
        <p14:creationId xmlns:p14="http://schemas.microsoft.com/office/powerpoint/2010/main" val="28188405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2"/>
          <a:srcRect l="10625" r="2270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C6ABB87C-4F6B-4CA0-88CF-0E4E3E27849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4556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matchingName="81. Three part gradient cycle">
  <p:cSld name="81. Three part gradient cycle">
    <p:spTree>
      <p:nvGrpSpPr>
        <p:cNvPr id="1" name="Shape 853"/>
        <p:cNvGrpSpPr/>
        <p:nvPr/>
      </p:nvGrpSpPr>
      <p:grpSpPr>
        <a:xfrm>
          <a:off x="0" y="0"/>
          <a:ext cx="0" cy="0"/>
          <a:chOff x="0" y="0"/>
          <a:chExt cx="0" cy="0"/>
        </a:xfrm>
      </p:grpSpPr>
      <p:grpSp>
        <p:nvGrpSpPr>
          <p:cNvPr id="854" name="Google Shape;854;p86"/>
          <p:cNvGrpSpPr/>
          <p:nvPr/>
        </p:nvGrpSpPr>
        <p:grpSpPr>
          <a:xfrm rot="-5400000" flipH="1">
            <a:off x="7890829" y="3582715"/>
            <a:ext cx="160020" cy="1390016"/>
            <a:chOff x="8582701" y="8238489"/>
            <a:chExt cx="320040" cy="2780031"/>
          </a:xfrm>
        </p:grpSpPr>
        <p:cxnSp>
          <p:nvCxnSpPr>
            <p:cNvPr id="855" name="Google Shape;855;p86"/>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56" name="Google Shape;856;p86"/>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57" name="Google Shape;857;p86"/>
          <p:cNvGrpSpPr/>
          <p:nvPr/>
        </p:nvGrpSpPr>
        <p:grpSpPr>
          <a:xfrm rot="10800000" flipH="1">
            <a:off x="6027666" y="971674"/>
            <a:ext cx="160020" cy="1390015"/>
            <a:chOff x="8582701" y="8238489"/>
            <a:chExt cx="320040" cy="2780031"/>
          </a:xfrm>
        </p:grpSpPr>
        <p:cxnSp>
          <p:nvCxnSpPr>
            <p:cNvPr id="858" name="Google Shape;858;p86"/>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59" name="Google Shape;859;p86"/>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60" name="Google Shape;860;p86"/>
          <p:cNvGrpSpPr/>
          <p:nvPr/>
        </p:nvGrpSpPr>
        <p:grpSpPr>
          <a:xfrm rot="5400000">
            <a:off x="4141671" y="3582715"/>
            <a:ext cx="160020" cy="1390016"/>
            <a:chOff x="8582701" y="8238489"/>
            <a:chExt cx="320040" cy="2780031"/>
          </a:xfrm>
        </p:grpSpPr>
        <p:cxnSp>
          <p:nvCxnSpPr>
            <p:cNvPr id="861" name="Google Shape;861;p86"/>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62" name="Google Shape;862;p86"/>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63" name="Google Shape;863;p86"/>
          <p:cNvGrpSpPr/>
          <p:nvPr/>
        </p:nvGrpSpPr>
        <p:grpSpPr>
          <a:xfrm>
            <a:off x="4263149" y="1828800"/>
            <a:ext cx="3665705" cy="3657600"/>
            <a:chOff x="2779615" y="736954"/>
            <a:chExt cx="4778508" cy="4767941"/>
          </a:xfrm>
        </p:grpSpPr>
        <p:sp>
          <p:nvSpPr>
            <p:cNvPr id="864" name="Google Shape;864;p86"/>
            <p:cNvSpPr/>
            <p:nvPr/>
          </p:nvSpPr>
          <p:spPr>
            <a:xfrm>
              <a:off x="5208381" y="741079"/>
              <a:ext cx="2349742" cy="3935040"/>
            </a:xfrm>
            <a:custGeom>
              <a:avLst/>
              <a:gdLst/>
              <a:ahLst/>
              <a:cxnLst/>
              <a:rect l="l" t="t" r="r" b="b"/>
              <a:pathLst>
                <a:path w="2349742" h="3935040" extrusionOk="0">
                  <a:moveTo>
                    <a:pt x="32367" y="0"/>
                  </a:moveTo>
                  <a:lnTo>
                    <a:pt x="195949" y="8260"/>
                  </a:lnTo>
                  <a:cubicBezTo>
                    <a:pt x="1405703" y="131117"/>
                    <a:pt x="2349742" y="1152792"/>
                    <a:pt x="2349742" y="2394960"/>
                  </a:cubicBezTo>
                  <a:cubicBezTo>
                    <a:pt x="2349742" y="2726205"/>
                    <a:pt x="2282611" y="3041770"/>
                    <a:pt x="2161210" y="3328793"/>
                  </a:cubicBezTo>
                  <a:lnTo>
                    <a:pt x="2076609" y="3504414"/>
                  </a:lnTo>
                  <a:lnTo>
                    <a:pt x="2060185" y="3538507"/>
                  </a:lnTo>
                  <a:lnTo>
                    <a:pt x="1980730" y="3669296"/>
                  </a:lnTo>
                  <a:lnTo>
                    <a:pt x="1926095" y="3735513"/>
                  </a:lnTo>
                  <a:cubicBezTo>
                    <a:pt x="1802817" y="3858791"/>
                    <a:pt x="1632510" y="3935040"/>
                    <a:pt x="1444394" y="3935040"/>
                  </a:cubicBezTo>
                  <a:cubicBezTo>
                    <a:pt x="1068162" y="3935040"/>
                    <a:pt x="763166" y="3630044"/>
                    <a:pt x="763166" y="3253812"/>
                  </a:cubicBezTo>
                  <a:cubicBezTo>
                    <a:pt x="763166" y="3159754"/>
                    <a:pt x="782228" y="3070148"/>
                    <a:pt x="816700" y="2988647"/>
                  </a:cubicBezTo>
                  <a:lnTo>
                    <a:pt x="820423" y="2981789"/>
                  </a:lnTo>
                  <a:lnTo>
                    <a:pt x="820610" y="2981538"/>
                  </a:lnTo>
                  <a:cubicBezTo>
                    <a:pt x="839464" y="2953631"/>
                    <a:pt x="857010" y="2924768"/>
                    <a:pt x="873161" y="2895037"/>
                  </a:cubicBezTo>
                  <a:lnTo>
                    <a:pt x="889844" y="2860405"/>
                  </a:lnTo>
                  <a:lnTo>
                    <a:pt x="917339" y="2803328"/>
                  </a:lnTo>
                  <a:cubicBezTo>
                    <a:pt x="970428" y="2677812"/>
                    <a:pt x="999785" y="2539815"/>
                    <a:pt x="999785" y="2394960"/>
                  </a:cubicBezTo>
                  <a:cubicBezTo>
                    <a:pt x="999785" y="1851756"/>
                    <a:pt x="586953" y="1404974"/>
                    <a:pt x="57923" y="1351248"/>
                  </a:cubicBezTo>
                  <a:lnTo>
                    <a:pt x="0" y="1348323"/>
                  </a:lnTo>
                  <a:lnTo>
                    <a:pt x="83375" y="1339918"/>
                  </a:lnTo>
                  <a:cubicBezTo>
                    <a:pt x="393800" y="1276396"/>
                    <a:pt x="627312" y="1001733"/>
                    <a:pt x="627312" y="672530"/>
                  </a:cubicBezTo>
                  <a:cubicBezTo>
                    <a:pt x="627312" y="343327"/>
                    <a:pt x="393800" y="68664"/>
                    <a:pt x="83375" y="5142"/>
                  </a:cubicBezTo>
                  <a:close/>
                </a:path>
              </a:pathLst>
            </a:custGeom>
            <a:gradFill>
              <a:gsLst>
                <a:gs pos="0">
                  <a:srgbClr val="6E40C9"/>
                </a:gs>
                <a:gs pos="9000">
                  <a:srgbClr val="6E40C9"/>
                </a:gs>
                <a:gs pos="78000">
                  <a:srgbClr val="A371F7"/>
                </a:gs>
                <a:gs pos="100000">
                  <a:srgbClr val="A371F7"/>
                </a:gs>
              </a:gsLst>
              <a:lin ang="54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1" i="0" u="none" strike="noStrike" cap="none">
                <a:solidFill>
                  <a:schemeClr val="dk1"/>
                </a:solidFill>
                <a:latin typeface="Arial"/>
                <a:ea typeface="Arial"/>
                <a:cs typeface="Arial"/>
                <a:sym typeface="Arial"/>
              </a:endParaRPr>
            </a:p>
          </p:txBody>
        </p:sp>
        <p:sp>
          <p:nvSpPr>
            <p:cNvPr id="865" name="Google Shape;865;p86"/>
            <p:cNvSpPr/>
            <p:nvPr/>
          </p:nvSpPr>
          <p:spPr>
            <a:xfrm>
              <a:off x="2779615" y="736954"/>
              <a:ext cx="3075742" cy="3606241"/>
            </a:xfrm>
            <a:custGeom>
              <a:avLst/>
              <a:gdLst/>
              <a:ahLst/>
              <a:cxnLst/>
              <a:rect l="l" t="t" r="r" b="b"/>
              <a:pathLst>
                <a:path w="3075742" h="3606241" extrusionOk="0">
                  <a:moveTo>
                    <a:pt x="2399086" y="0"/>
                  </a:moveTo>
                  <a:lnTo>
                    <a:pt x="2480797" y="4126"/>
                  </a:lnTo>
                  <a:lnTo>
                    <a:pt x="2531805" y="9268"/>
                  </a:lnTo>
                  <a:cubicBezTo>
                    <a:pt x="2842230" y="72790"/>
                    <a:pt x="3075742" y="347453"/>
                    <a:pt x="3075742" y="676656"/>
                  </a:cubicBezTo>
                  <a:cubicBezTo>
                    <a:pt x="3075742" y="1005859"/>
                    <a:pt x="2842230" y="1280522"/>
                    <a:pt x="2531805" y="1344044"/>
                  </a:cubicBezTo>
                  <a:lnTo>
                    <a:pt x="2448430" y="1352449"/>
                  </a:lnTo>
                  <a:lnTo>
                    <a:pt x="2399086" y="1349957"/>
                  </a:lnTo>
                  <a:lnTo>
                    <a:pt x="2343650" y="1352757"/>
                  </a:lnTo>
                  <a:lnTo>
                    <a:pt x="2343644" y="1352756"/>
                  </a:lnTo>
                  <a:lnTo>
                    <a:pt x="2291819" y="1355373"/>
                  </a:lnTo>
                  <a:cubicBezTo>
                    <a:pt x="1762789" y="1409099"/>
                    <a:pt x="1349957" y="1855881"/>
                    <a:pt x="1349957" y="2399085"/>
                  </a:cubicBezTo>
                  <a:cubicBezTo>
                    <a:pt x="1349957" y="2543940"/>
                    <a:pt x="1379314" y="2681937"/>
                    <a:pt x="1432403" y="2807453"/>
                  </a:cubicBezTo>
                  <a:lnTo>
                    <a:pt x="1450354" y="2844719"/>
                  </a:lnTo>
                  <a:lnTo>
                    <a:pt x="1389810" y="2771338"/>
                  </a:lnTo>
                  <a:cubicBezTo>
                    <a:pt x="1266532" y="2648060"/>
                    <a:pt x="1096225" y="2571811"/>
                    <a:pt x="908109" y="2571811"/>
                  </a:cubicBezTo>
                  <a:cubicBezTo>
                    <a:pt x="531877" y="2571811"/>
                    <a:pt x="226881" y="2876807"/>
                    <a:pt x="226881" y="3253039"/>
                  </a:cubicBezTo>
                  <a:cubicBezTo>
                    <a:pt x="226881" y="3347097"/>
                    <a:pt x="245943" y="3436703"/>
                    <a:pt x="280415" y="3518204"/>
                  </a:cubicBezTo>
                  <a:lnTo>
                    <a:pt x="328200" y="3606241"/>
                  </a:lnTo>
                  <a:lnTo>
                    <a:pt x="289557" y="3542632"/>
                  </a:lnTo>
                  <a:cubicBezTo>
                    <a:pt x="104893" y="3202698"/>
                    <a:pt x="0" y="2813141"/>
                    <a:pt x="0" y="2399085"/>
                  </a:cubicBezTo>
                  <a:cubicBezTo>
                    <a:pt x="0" y="1156917"/>
                    <a:pt x="944039" y="135242"/>
                    <a:pt x="2153793" y="12385"/>
                  </a:cubicBezTo>
                  <a:lnTo>
                    <a:pt x="2299055" y="5050"/>
                  </a:lnTo>
                  <a:lnTo>
                    <a:pt x="2257223" y="9267"/>
                  </a:lnTo>
                  <a:cubicBezTo>
                    <a:pt x="1946799" y="72789"/>
                    <a:pt x="1713286" y="347452"/>
                    <a:pt x="1713286" y="676655"/>
                  </a:cubicBezTo>
                  <a:lnTo>
                    <a:pt x="1713286" y="676656"/>
                  </a:lnTo>
                  <a:lnTo>
                    <a:pt x="1723926" y="556067"/>
                  </a:lnTo>
                  <a:cubicBezTo>
                    <a:pt x="1772866" y="282086"/>
                    <a:pt x="1985602" y="64850"/>
                    <a:pt x="2257223" y="9268"/>
                  </a:cubicBezTo>
                  <a:lnTo>
                    <a:pt x="2299055" y="5051"/>
                  </a:lnTo>
                  <a:close/>
                </a:path>
              </a:pathLst>
            </a:custGeom>
            <a:gradFill>
              <a:gsLst>
                <a:gs pos="0">
                  <a:srgbClr val="6E40C9"/>
                </a:gs>
                <a:gs pos="23000">
                  <a:srgbClr val="6E40C9"/>
                </a:gs>
                <a:gs pos="83000">
                  <a:srgbClr val="1158C7"/>
                </a:gs>
                <a:gs pos="100000">
                  <a:srgbClr val="1158C7"/>
                </a:gs>
              </a:gsLst>
              <a:lin ang="54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1" i="0" u="none" strike="noStrike" cap="none">
                <a:solidFill>
                  <a:schemeClr val="dk1"/>
                </a:solidFill>
                <a:latin typeface="Arial"/>
                <a:ea typeface="Arial"/>
                <a:cs typeface="Arial"/>
                <a:sym typeface="Arial"/>
              </a:endParaRPr>
            </a:p>
          </p:txBody>
        </p:sp>
        <p:sp>
          <p:nvSpPr>
            <p:cNvPr id="866" name="Google Shape;866;p86"/>
            <p:cNvSpPr/>
            <p:nvPr/>
          </p:nvSpPr>
          <p:spPr>
            <a:xfrm>
              <a:off x="2996664" y="3278535"/>
              <a:ext cx="4202279" cy="2226360"/>
            </a:xfrm>
            <a:custGeom>
              <a:avLst/>
              <a:gdLst/>
              <a:ahLst/>
              <a:cxnLst/>
              <a:rect l="l" t="t" r="r" b="b"/>
              <a:pathLst>
                <a:path w="4202279" h="2226360" extrusionOk="0">
                  <a:moveTo>
                    <a:pt x="681228" y="0"/>
                  </a:moveTo>
                  <a:cubicBezTo>
                    <a:pt x="869344" y="0"/>
                    <a:pt x="1039651" y="76249"/>
                    <a:pt x="1162929" y="199527"/>
                  </a:cubicBezTo>
                  <a:lnTo>
                    <a:pt x="1223473" y="272908"/>
                  </a:lnTo>
                  <a:lnTo>
                    <a:pt x="1249700" y="327351"/>
                  </a:lnTo>
                  <a:cubicBezTo>
                    <a:pt x="1265851" y="357082"/>
                    <a:pt x="1283397" y="385945"/>
                    <a:pt x="1302251" y="413852"/>
                  </a:cubicBezTo>
                  <a:lnTo>
                    <a:pt x="1312483" y="427535"/>
                  </a:lnTo>
                  <a:lnTo>
                    <a:pt x="1362646" y="494617"/>
                  </a:lnTo>
                  <a:cubicBezTo>
                    <a:pt x="1555072" y="727784"/>
                    <a:pt x="1846283" y="876403"/>
                    <a:pt x="2172205" y="876403"/>
                  </a:cubicBezTo>
                  <a:cubicBezTo>
                    <a:pt x="2498128" y="876403"/>
                    <a:pt x="2789339" y="727784"/>
                    <a:pt x="2981764" y="494617"/>
                  </a:cubicBezTo>
                  <a:lnTo>
                    <a:pt x="3041972" y="414103"/>
                  </a:lnTo>
                  <a:lnTo>
                    <a:pt x="3038249" y="420961"/>
                  </a:lnTo>
                  <a:cubicBezTo>
                    <a:pt x="3003777" y="502462"/>
                    <a:pt x="2984715" y="592068"/>
                    <a:pt x="2984715" y="686126"/>
                  </a:cubicBezTo>
                  <a:cubicBezTo>
                    <a:pt x="2984715" y="1062358"/>
                    <a:pt x="3289711" y="1367354"/>
                    <a:pt x="3665943" y="1367354"/>
                  </a:cubicBezTo>
                  <a:cubicBezTo>
                    <a:pt x="3854059" y="1367354"/>
                    <a:pt x="4024366" y="1291105"/>
                    <a:pt x="4147644" y="1167827"/>
                  </a:cubicBezTo>
                  <a:lnTo>
                    <a:pt x="4202279" y="1101610"/>
                  </a:lnTo>
                  <a:lnTo>
                    <a:pt x="4161565" y="1168626"/>
                  </a:lnTo>
                  <a:cubicBezTo>
                    <a:pt x="3730432" y="1806787"/>
                    <a:pt x="3000317" y="2226360"/>
                    <a:pt x="2172205" y="2226360"/>
                  </a:cubicBezTo>
                  <a:cubicBezTo>
                    <a:pt x="1344093" y="2226360"/>
                    <a:pt x="613978" y="1806787"/>
                    <a:pt x="182845" y="1168626"/>
                  </a:cubicBezTo>
                  <a:lnTo>
                    <a:pt x="123137" y="1070344"/>
                  </a:lnTo>
                  <a:lnTo>
                    <a:pt x="101319" y="1034430"/>
                  </a:lnTo>
                  <a:lnTo>
                    <a:pt x="53534" y="946393"/>
                  </a:lnTo>
                  <a:cubicBezTo>
                    <a:pt x="19062" y="864892"/>
                    <a:pt x="0" y="775286"/>
                    <a:pt x="0" y="681228"/>
                  </a:cubicBezTo>
                  <a:cubicBezTo>
                    <a:pt x="0" y="304996"/>
                    <a:pt x="304996" y="0"/>
                    <a:pt x="681228" y="0"/>
                  </a:cubicBezTo>
                  <a:close/>
                </a:path>
              </a:pathLst>
            </a:custGeom>
            <a:gradFill>
              <a:gsLst>
                <a:gs pos="0">
                  <a:srgbClr val="1F6FEB"/>
                </a:gs>
                <a:gs pos="2000">
                  <a:srgbClr val="1F6FEB"/>
                </a:gs>
                <a:gs pos="100000">
                  <a:srgbClr val="A371F7"/>
                </a:gs>
              </a:gsLst>
              <a:lin ang="27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1" i="0" u="none" strike="noStrike" cap="none">
                <a:solidFill>
                  <a:schemeClr val="dk1"/>
                </a:solidFill>
                <a:latin typeface="Arial"/>
                <a:ea typeface="Arial"/>
                <a:cs typeface="Arial"/>
                <a:sym typeface="Arial"/>
              </a:endParaRPr>
            </a:p>
          </p:txBody>
        </p:sp>
      </p:grpSp>
      <p:sp>
        <p:nvSpPr>
          <p:cNvPr id="867" name="Google Shape;867;p86"/>
          <p:cNvSpPr txBox="1">
            <a:spLocks noGrp="1"/>
          </p:cNvSpPr>
          <p:nvPr>
            <p:ph type="subTitle" idx="1"/>
          </p:nvPr>
        </p:nvSpPr>
        <p:spPr>
          <a:xfrm>
            <a:off x="573024" y="4185921"/>
            <a:ext cx="2743200" cy="3292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68" name="Google Shape;868;p86"/>
          <p:cNvSpPr txBox="1">
            <a:spLocks noGrp="1"/>
          </p:cNvSpPr>
          <p:nvPr>
            <p:ph type="subTitle" idx="2"/>
          </p:nvPr>
        </p:nvSpPr>
        <p:spPr>
          <a:xfrm>
            <a:off x="573024" y="4271264"/>
            <a:ext cx="27432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869" name="Google Shape;869;p86"/>
          <p:cNvSpPr txBox="1">
            <a:spLocks noGrp="1"/>
          </p:cNvSpPr>
          <p:nvPr>
            <p:ph type="subTitle" idx="3"/>
          </p:nvPr>
        </p:nvSpPr>
        <p:spPr>
          <a:xfrm>
            <a:off x="6327648" y="955041"/>
            <a:ext cx="2743200"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70" name="Google Shape;870;p86"/>
          <p:cNvSpPr txBox="1">
            <a:spLocks noGrp="1"/>
          </p:cNvSpPr>
          <p:nvPr>
            <p:ph type="subTitle" idx="4"/>
          </p:nvPr>
        </p:nvSpPr>
        <p:spPr>
          <a:xfrm>
            <a:off x="6330848" y="1040385"/>
            <a:ext cx="2743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871" name="Google Shape;871;p86"/>
          <p:cNvSpPr txBox="1">
            <a:spLocks noGrp="1"/>
          </p:cNvSpPr>
          <p:nvPr>
            <p:ph type="subTitle" idx="5"/>
          </p:nvPr>
        </p:nvSpPr>
        <p:spPr>
          <a:xfrm>
            <a:off x="8851392" y="4198112"/>
            <a:ext cx="2743200"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72" name="Google Shape;872;p86"/>
          <p:cNvSpPr txBox="1">
            <a:spLocks noGrp="1"/>
          </p:cNvSpPr>
          <p:nvPr>
            <p:ph type="subTitle" idx="6"/>
          </p:nvPr>
        </p:nvSpPr>
        <p:spPr>
          <a:xfrm>
            <a:off x="8851392" y="4283457"/>
            <a:ext cx="2743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Tree>
    <p:extLst>
      <p:ext uri="{BB962C8B-B14F-4D97-AF65-F5344CB8AC3E}">
        <p14:creationId xmlns:p14="http://schemas.microsoft.com/office/powerpoint/2010/main" val="67443580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matchingName="82. Three part gradient cycle">
  <p:cSld name="82. Three part gradient cycle">
    <p:spTree>
      <p:nvGrpSpPr>
        <p:cNvPr id="1" name="Shape 873"/>
        <p:cNvGrpSpPr/>
        <p:nvPr/>
      </p:nvGrpSpPr>
      <p:grpSpPr>
        <a:xfrm>
          <a:off x="0" y="0"/>
          <a:ext cx="0" cy="0"/>
          <a:chOff x="0" y="0"/>
          <a:chExt cx="0" cy="0"/>
        </a:xfrm>
      </p:grpSpPr>
      <p:grpSp>
        <p:nvGrpSpPr>
          <p:cNvPr id="874" name="Google Shape;874;p87"/>
          <p:cNvGrpSpPr/>
          <p:nvPr/>
        </p:nvGrpSpPr>
        <p:grpSpPr>
          <a:xfrm rot="-5400000" flipH="1">
            <a:off x="7890829" y="3582715"/>
            <a:ext cx="160020" cy="1390016"/>
            <a:chOff x="8582701" y="8238489"/>
            <a:chExt cx="320040" cy="2780031"/>
          </a:xfrm>
        </p:grpSpPr>
        <p:cxnSp>
          <p:nvCxnSpPr>
            <p:cNvPr id="875" name="Google Shape;875;p87"/>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76" name="Google Shape;876;p87"/>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77" name="Google Shape;877;p87"/>
          <p:cNvGrpSpPr/>
          <p:nvPr/>
        </p:nvGrpSpPr>
        <p:grpSpPr>
          <a:xfrm rot="10800000" flipH="1">
            <a:off x="6027666" y="971674"/>
            <a:ext cx="160020" cy="1390015"/>
            <a:chOff x="8582701" y="8238489"/>
            <a:chExt cx="320040" cy="2780031"/>
          </a:xfrm>
        </p:grpSpPr>
        <p:cxnSp>
          <p:nvCxnSpPr>
            <p:cNvPr id="878" name="Google Shape;878;p87"/>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79" name="Google Shape;879;p87"/>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80" name="Google Shape;880;p87"/>
          <p:cNvGrpSpPr/>
          <p:nvPr/>
        </p:nvGrpSpPr>
        <p:grpSpPr>
          <a:xfrm rot="5400000">
            <a:off x="4141671" y="3582715"/>
            <a:ext cx="160020" cy="1390016"/>
            <a:chOff x="8582701" y="8238489"/>
            <a:chExt cx="320040" cy="2780031"/>
          </a:xfrm>
        </p:grpSpPr>
        <p:cxnSp>
          <p:nvCxnSpPr>
            <p:cNvPr id="881" name="Google Shape;881;p87"/>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882" name="Google Shape;882;p87"/>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883" name="Google Shape;883;p87"/>
          <p:cNvGrpSpPr/>
          <p:nvPr/>
        </p:nvGrpSpPr>
        <p:grpSpPr>
          <a:xfrm>
            <a:off x="4263149" y="1828800"/>
            <a:ext cx="3665705" cy="3657600"/>
            <a:chOff x="2779615" y="736954"/>
            <a:chExt cx="4778508" cy="4767941"/>
          </a:xfrm>
        </p:grpSpPr>
        <p:sp>
          <p:nvSpPr>
            <p:cNvPr id="884" name="Google Shape;884;p87"/>
            <p:cNvSpPr/>
            <p:nvPr/>
          </p:nvSpPr>
          <p:spPr>
            <a:xfrm>
              <a:off x="5208381" y="741079"/>
              <a:ext cx="2349742" cy="3935040"/>
            </a:xfrm>
            <a:custGeom>
              <a:avLst/>
              <a:gdLst/>
              <a:ahLst/>
              <a:cxnLst/>
              <a:rect l="l" t="t" r="r" b="b"/>
              <a:pathLst>
                <a:path w="2349742" h="3935040" extrusionOk="0">
                  <a:moveTo>
                    <a:pt x="32367" y="0"/>
                  </a:moveTo>
                  <a:lnTo>
                    <a:pt x="195949" y="8260"/>
                  </a:lnTo>
                  <a:cubicBezTo>
                    <a:pt x="1405703" y="131117"/>
                    <a:pt x="2349742" y="1152792"/>
                    <a:pt x="2349742" y="2394960"/>
                  </a:cubicBezTo>
                  <a:cubicBezTo>
                    <a:pt x="2349742" y="2726205"/>
                    <a:pt x="2282611" y="3041770"/>
                    <a:pt x="2161210" y="3328793"/>
                  </a:cubicBezTo>
                  <a:lnTo>
                    <a:pt x="2076609" y="3504414"/>
                  </a:lnTo>
                  <a:lnTo>
                    <a:pt x="2060185" y="3538507"/>
                  </a:lnTo>
                  <a:lnTo>
                    <a:pt x="1980730" y="3669296"/>
                  </a:lnTo>
                  <a:lnTo>
                    <a:pt x="1926095" y="3735513"/>
                  </a:lnTo>
                  <a:cubicBezTo>
                    <a:pt x="1802817" y="3858791"/>
                    <a:pt x="1632510" y="3935040"/>
                    <a:pt x="1444394" y="3935040"/>
                  </a:cubicBezTo>
                  <a:cubicBezTo>
                    <a:pt x="1068162" y="3935040"/>
                    <a:pt x="763166" y="3630044"/>
                    <a:pt x="763166" y="3253812"/>
                  </a:cubicBezTo>
                  <a:cubicBezTo>
                    <a:pt x="763166" y="3159754"/>
                    <a:pt x="782228" y="3070148"/>
                    <a:pt x="816700" y="2988647"/>
                  </a:cubicBezTo>
                  <a:lnTo>
                    <a:pt x="820423" y="2981789"/>
                  </a:lnTo>
                  <a:lnTo>
                    <a:pt x="820610" y="2981538"/>
                  </a:lnTo>
                  <a:cubicBezTo>
                    <a:pt x="839464" y="2953631"/>
                    <a:pt x="857010" y="2924768"/>
                    <a:pt x="873161" y="2895037"/>
                  </a:cubicBezTo>
                  <a:lnTo>
                    <a:pt x="889844" y="2860405"/>
                  </a:lnTo>
                  <a:lnTo>
                    <a:pt x="917339" y="2803328"/>
                  </a:lnTo>
                  <a:cubicBezTo>
                    <a:pt x="970428" y="2677812"/>
                    <a:pt x="999785" y="2539815"/>
                    <a:pt x="999785" y="2394960"/>
                  </a:cubicBezTo>
                  <a:cubicBezTo>
                    <a:pt x="999785" y="1851756"/>
                    <a:pt x="586953" y="1404974"/>
                    <a:pt x="57923" y="1351248"/>
                  </a:cubicBezTo>
                  <a:lnTo>
                    <a:pt x="0" y="1348323"/>
                  </a:lnTo>
                  <a:lnTo>
                    <a:pt x="83375" y="1339918"/>
                  </a:lnTo>
                  <a:cubicBezTo>
                    <a:pt x="393800" y="1276396"/>
                    <a:pt x="627312" y="1001733"/>
                    <a:pt x="627312" y="672530"/>
                  </a:cubicBezTo>
                  <a:cubicBezTo>
                    <a:pt x="627312" y="343327"/>
                    <a:pt x="393800" y="68664"/>
                    <a:pt x="83375" y="5142"/>
                  </a:cubicBezTo>
                  <a:close/>
                </a:path>
              </a:pathLst>
            </a:custGeom>
            <a:gradFill>
              <a:gsLst>
                <a:gs pos="0">
                  <a:srgbClr val="2EA043"/>
                </a:gs>
                <a:gs pos="98000">
                  <a:srgbClr val="56D364"/>
                </a:gs>
                <a:gs pos="100000">
                  <a:srgbClr val="56D364"/>
                </a:gs>
              </a:gsLst>
              <a:lin ang="54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1" i="0" u="none" strike="noStrike" cap="none">
                <a:solidFill>
                  <a:schemeClr val="dk1"/>
                </a:solidFill>
                <a:latin typeface="Arial"/>
                <a:ea typeface="Arial"/>
                <a:cs typeface="Arial"/>
                <a:sym typeface="Arial"/>
              </a:endParaRPr>
            </a:p>
          </p:txBody>
        </p:sp>
        <p:sp>
          <p:nvSpPr>
            <p:cNvPr id="885" name="Google Shape;885;p87"/>
            <p:cNvSpPr/>
            <p:nvPr/>
          </p:nvSpPr>
          <p:spPr>
            <a:xfrm>
              <a:off x="2779615" y="736954"/>
              <a:ext cx="3075742" cy="3606241"/>
            </a:xfrm>
            <a:custGeom>
              <a:avLst/>
              <a:gdLst/>
              <a:ahLst/>
              <a:cxnLst/>
              <a:rect l="l" t="t" r="r" b="b"/>
              <a:pathLst>
                <a:path w="3075742" h="3606241" extrusionOk="0">
                  <a:moveTo>
                    <a:pt x="2399086" y="0"/>
                  </a:moveTo>
                  <a:lnTo>
                    <a:pt x="2480797" y="4126"/>
                  </a:lnTo>
                  <a:lnTo>
                    <a:pt x="2531805" y="9268"/>
                  </a:lnTo>
                  <a:cubicBezTo>
                    <a:pt x="2842230" y="72790"/>
                    <a:pt x="3075742" y="347453"/>
                    <a:pt x="3075742" y="676656"/>
                  </a:cubicBezTo>
                  <a:cubicBezTo>
                    <a:pt x="3075742" y="1005859"/>
                    <a:pt x="2842230" y="1280522"/>
                    <a:pt x="2531805" y="1344044"/>
                  </a:cubicBezTo>
                  <a:lnTo>
                    <a:pt x="2448430" y="1352449"/>
                  </a:lnTo>
                  <a:lnTo>
                    <a:pt x="2399086" y="1349957"/>
                  </a:lnTo>
                  <a:lnTo>
                    <a:pt x="2343650" y="1352757"/>
                  </a:lnTo>
                  <a:lnTo>
                    <a:pt x="2343644" y="1352756"/>
                  </a:lnTo>
                  <a:lnTo>
                    <a:pt x="2291819" y="1355373"/>
                  </a:lnTo>
                  <a:cubicBezTo>
                    <a:pt x="1762789" y="1409099"/>
                    <a:pt x="1349957" y="1855881"/>
                    <a:pt x="1349957" y="2399085"/>
                  </a:cubicBezTo>
                  <a:cubicBezTo>
                    <a:pt x="1349957" y="2543940"/>
                    <a:pt x="1379314" y="2681937"/>
                    <a:pt x="1432403" y="2807453"/>
                  </a:cubicBezTo>
                  <a:lnTo>
                    <a:pt x="1450354" y="2844719"/>
                  </a:lnTo>
                  <a:lnTo>
                    <a:pt x="1389810" y="2771338"/>
                  </a:lnTo>
                  <a:cubicBezTo>
                    <a:pt x="1266532" y="2648060"/>
                    <a:pt x="1096225" y="2571811"/>
                    <a:pt x="908109" y="2571811"/>
                  </a:cubicBezTo>
                  <a:cubicBezTo>
                    <a:pt x="531877" y="2571811"/>
                    <a:pt x="226881" y="2876807"/>
                    <a:pt x="226881" y="3253039"/>
                  </a:cubicBezTo>
                  <a:cubicBezTo>
                    <a:pt x="226881" y="3347097"/>
                    <a:pt x="245943" y="3436703"/>
                    <a:pt x="280415" y="3518204"/>
                  </a:cubicBezTo>
                  <a:lnTo>
                    <a:pt x="328200" y="3606241"/>
                  </a:lnTo>
                  <a:lnTo>
                    <a:pt x="289557" y="3542632"/>
                  </a:lnTo>
                  <a:cubicBezTo>
                    <a:pt x="104893" y="3202698"/>
                    <a:pt x="0" y="2813141"/>
                    <a:pt x="0" y="2399085"/>
                  </a:cubicBezTo>
                  <a:cubicBezTo>
                    <a:pt x="0" y="1156917"/>
                    <a:pt x="944039" y="135242"/>
                    <a:pt x="2153793" y="12385"/>
                  </a:cubicBezTo>
                  <a:lnTo>
                    <a:pt x="2299055" y="5050"/>
                  </a:lnTo>
                  <a:lnTo>
                    <a:pt x="2257223" y="9267"/>
                  </a:lnTo>
                  <a:cubicBezTo>
                    <a:pt x="1946799" y="72789"/>
                    <a:pt x="1713286" y="347452"/>
                    <a:pt x="1713286" y="676655"/>
                  </a:cubicBezTo>
                  <a:lnTo>
                    <a:pt x="1713286" y="676656"/>
                  </a:lnTo>
                  <a:lnTo>
                    <a:pt x="1723926" y="556067"/>
                  </a:lnTo>
                  <a:cubicBezTo>
                    <a:pt x="1772866" y="282086"/>
                    <a:pt x="1985602" y="64850"/>
                    <a:pt x="2257223" y="9268"/>
                  </a:cubicBezTo>
                  <a:lnTo>
                    <a:pt x="2299055" y="5051"/>
                  </a:lnTo>
                  <a:close/>
                </a:path>
              </a:pathLst>
            </a:custGeom>
            <a:gradFill>
              <a:gsLst>
                <a:gs pos="0">
                  <a:srgbClr val="56D364"/>
                </a:gs>
                <a:gs pos="54000">
                  <a:srgbClr val="388BFD"/>
                </a:gs>
                <a:gs pos="100000">
                  <a:srgbClr val="388BFD"/>
                </a:gs>
              </a:gsLst>
              <a:lin ang="54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1" i="0" u="none" strike="noStrike" cap="none">
                <a:solidFill>
                  <a:schemeClr val="dk1"/>
                </a:solidFill>
                <a:latin typeface="Arial"/>
                <a:ea typeface="Arial"/>
                <a:cs typeface="Arial"/>
                <a:sym typeface="Arial"/>
              </a:endParaRPr>
            </a:p>
          </p:txBody>
        </p:sp>
        <p:sp>
          <p:nvSpPr>
            <p:cNvPr id="886" name="Google Shape;886;p87"/>
            <p:cNvSpPr/>
            <p:nvPr/>
          </p:nvSpPr>
          <p:spPr>
            <a:xfrm>
              <a:off x="2996664" y="3278535"/>
              <a:ext cx="4202279" cy="2226360"/>
            </a:xfrm>
            <a:custGeom>
              <a:avLst/>
              <a:gdLst/>
              <a:ahLst/>
              <a:cxnLst/>
              <a:rect l="l" t="t" r="r" b="b"/>
              <a:pathLst>
                <a:path w="4202279" h="2226360" extrusionOk="0">
                  <a:moveTo>
                    <a:pt x="681228" y="0"/>
                  </a:moveTo>
                  <a:cubicBezTo>
                    <a:pt x="869344" y="0"/>
                    <a:pt x="1039651" y="76249"/>
                    <a:pt x="1162929" y="199527"/>
                  </a:cubicBezTo>
                  <a:lnTo>
                    <a:pt x="1223473" y="272908"/>
                  </a:lnTo>
                  <a:lnTo>
                    <a:pt x="1249700" y="327351"/>
                  </a:lnTo>
                  <a:cubicBezTo>
                    <a:pt x="1265851" y="357082"/>
                    <a:pt x="1283397" y="385945"/>
                    <a:pt x="1302251" y="413852"/>
                  </a:cubicBezTo>
                  <a:lnTo>
                    <a:pt x="1312483" y="427535"/>
                  </a:lnTo>
                  <a:lnTo>
                    <a:pt x="1362646" y="494617"/>
                  </a:lnTo>
                  <a:cubicBezTo>
                    <a:pt x="1555072" y="727784"/>
                    <a:pt x="1846283" y="876403"/>
                    <a:pt x="2172205" y="876403"/>
                  </a:cubicBezTo>
                  <a:cubicBezTo>
                    <a:pt x="2498128" y="876403"/>
                    <a:pt x="2789339" y="727784"/>
                    <a:pt x="2981764" y="494617"/>
                  </a:cubicBezTo>
                  <a:lnTo>
                    <a:pt x="3041972" y="414103"/>
                  </a:lnTo>
                  <a:lnTo>
                    <a:pt x="3038249" y="420961"/>
                  </a:lnTo>
                  <a:cubicBezTo>
                    <a:pt x="3003777" y="502462"/>
                    <a:pt x="2984715" y="592068"/>
                    <a:pt x="2984715" y="686126"/>
                  </a:cubicBezTo>
                  <a:cubicBezTo>
                    <a:pt x="2984715" y="1062358"/>
                    <a:pt x="3289711" y="1367354"/>
                    <a:pt x="3665943" y="1367354"/>
                  </a:cubicBezTo>
                  <a:cubicBezTo>
                    <a:pt x="3854059" y="1367354"/>
                    <a:pt x="4024366" y="1291105"/>
                    <a:pt x="4147644" y="1167827"/>
                  </a:cubicBezTo>
                  <a:lnTo>
                    <a:pt x="4202279" y="1101610"/>
                  </a:lnTo>
                  <a:lnTo>
                    <a:pt x="4161565" y="1168626"/>
                  </a:lnTo>
                  <a:cubicBezTo>
                    <a:pt x="3730432" y="1806787"/>
                    <a:pt x="3000317" y="2226360"/>
                    <a:pt x="2172205" y="2226360"/>
                  </a:cubicBezTo>
                  <a:cubicBezTo>
                    <a:pt x="1344093" y="2226360"/>
                    <a:pt x="613978" y="1806787"/>
                    <a:pt x="182845" y="1168626"/>
                  </a:cubicBezTo>
                  <a:lnTo>
                    <a:pt x="123137" y="1070344"/>
                  </a:lnTo>
                  <a:lnTo>
                    <a:pt x="101319" y="1034430"/>
                  </a:lnTo>
                  <a:lnTo>
                    <a:pt x="53534" y="946393"/>
                  </a:lnTo>
                  <a:cubicBezTo>
                    <a:pt x="19062" y="864892"/>
                    <a:pt x="0" y="775286"/>
                    <a:pt x="0" y="681228"/>
                  </a:cubicBezTo>
                  <a:cubicBezTo>
                    <a:pt x="0" y="304996"/>
                    <a:pt x="304996" y="0"/>
                    <a:pt x="681228" y="0"/>
                  </a:cubicBezTo>
                  <a:close/>
                </a:path>
              </a:pathLst>
            </a:custGeom>
            <a:gradFill>
              <a:gsLst>
                <a:gs pos="0">
                  <a:srgbClr val="1158C7"/>
                </a:gs>
                <a:gs pos="18000">
                  <a:srgbClr val="1158C7"/>
                </a:gs>
                <a:gs pos="100000">
                  <a:srgbClr val="56D364"/>
                </a:gs>
              </a:gsLst>
              <a:lin ang="2700000" scaled="0"/>
            </a:gradFill>
            <a:ln>
              <a:noFill/>
            </a:ln>
          </p:spPr>
          <p:txBody>
            <a:bodyPr spcFirstLastPara="1" wrap="square" lIns="34275" tIns="17150" rIns="34275" bIns="17150" anchor="ctr" anchorCtr="0">
              <a:noAutofit/>
            </a:bodyPr>
            <a:lstStyle/>
            <a:p>
              <a:pPr marL="0" marR="0" lvl="0" indent="0" algn="ctr" rtl="0">
                <a:lnSpc>
                  <a:spcPct val="100000"/>
                </a:lnSpc>
                <a:spcBef>
                  <a:spcPts val="0"/>
                </a:spcBef>
                <a:spcAft>
                  <a:spcPts val="0"/>
                </a:spcAft>
                <a:buClr>
                  <a:srgbClr val="F0F6FC"/>
                </a:buClr>
                <a:buSzPts val="8300"/>
                <a:buFont typeface="Arial"/>
                <a:buNone/>
              </a:pPr>
              <a:endParaRPr sz="11056" b="1" i="0" u="none" strike="noStrike" cap="none">
                <a:solidFill>
                  <a:schemeClr val="dk1"/>
                </a:solidFill>
                <a:latin typeface="Arial"/>
                <a:ea typeface="Arial"/>
                <a:cs typeface="Arial"/>
                <a:sym typeface="Arial"/>
              </a:endParaRPr>
            </a:p>
          </p:txBody>
        </p:sp>
      </p:grpSp>
      <p:sp>
        <p:nvSpPr>
          <p:cNvPr id="887" name="Google Shape;887;p87"/>
          <p:cNvSpPr txBox="1">
            <a:spLocks noGrp="1"/>
          </p:cNvSpPr>
          <p:nvPr>
            <p:ph type="subTitle" idx="1"/>
          </p:nvPr>
        </p:nvSpPr>
        <p:spPr>
          <a:xfrm>
            <a:off x="573024" y="4185921"/>
            <a:ext cx="2743200" cy="3292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88" name="Google Shape;888;p87"/>
          <p:cNvSpPr txBox="1">
            <a:spLocks noGrp="1"/>
          </p:cNvSpPr>
          <p:nvPr>
            <p:ph type="subTitle" idx="2"/>
          </p:nvPr>
        </p:nvSpPr>
        <p:spPr>
          <a:xfrm>
            <a:off x="573024" y="4271264"/>
            <a:ext cx="27432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889" name="Google Shape;889;p87"/>
          <p:cNvSpPr txBox="1">
            <a:spLocks noGrp="1"/>
          </p:cNvSpPr>
          <p:nvPr>
            <p:ph type="subTitle" idx="3"/>
          </p:nvPr>
        </p:nvSpPr>
        <p:spPr>
          <a:xfrm>
            <a:off x="6327648" y="955041"/>
            <a:ext cx="2743200"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90" name="Google Shape;890;p87"/>
          <p:cNvSpPr txBox="1">
            <a:spLocks noGrp="1"/>
          </p:cNvSpPr>
          <p:nvPr>
            <p:ph type="subTitle" idx="4"/>
          </p:nvPr>
        </p:nvSpPr>
        <p:spPr>
          <a:xfrm>
            <a:off x="6330848" y="1040385"/>
            <a:ext cx="2743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891" name="Google Shape;891;p87"/>
          <p:cNvSpPr txBox="1">
            <a:spLocks noGrp="1"/>
          </p:cNvSpPr>
          <p:nvPr>
            <p:ph type="subTitle" idx="5"/>
          </p:nvPr>
        </p:nvSpPr>
        <p:spPr>
          <a:xfrm>
            <a:off x="8851392" y="4198112"/>
            <a:ext cx="2743200"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892" name="Google Shape;892;p87"/>
          <p:cNvSpPr txBox="1">
            <a:spLocks noGrp="1"/>
          </p:cNvSpPr>
          <p:nvPr>
            <p:ph type="subTitle" idx="6"/>
          </p:nvPr>
        </p:nvSpPr>
        <p:spPr>
          <a:xfrm>
            <a:off x="8851392" y="4283457"/>
            <a:ext cx="27432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Tree>
    <p:extLst>
      <p:ext uri="{BB962C8B-B14F-4D97-AF65-F5344CB8AC3E}">
        <p14:creationId xmlns:p14="http://schemas.microsoft.com/office/powerpoint/2010/main" val="1085002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matchingName="83. Five part cycle">
  <p:cSld name="83. Five part cycle">
    <p:spTree>
      <p:nvGrpSpPr>
        <p:cNvPr id="1" name="Shape 893"/>
        <p:cNvGrpSpPr/>
        <p:nvPr/>
      </p:nvGrpSpPr>
      <p:grpSpPr>
        <a:xfrm>
          <a:off x="0" y="0"/>
          <a:ext cx="0" cy="0"/>
          <a:chOff x="0" y="0"/>
          <a:chExt cx="0" cy="0"/>
        </a:xfrm>
      </p:grpSpPr>
      <p:sp>
        <p:nvSpPr>
          <p:cNvPr id="894" name="Google Shape;894;p88"/>
          <p:cNvSpPr/>
          <p:nvPr/>
        </p:nvSpPr>
        <p:spPr>
          <a:xfrm>
            <a:off x="4519941" y="1885975"/>
            <a:ext cx="3105200" cy="3105201"/>
          </a:xfrm>
          <a:prstGeom prst="arc">
            <a:avLst>
              <a:gd name="adj1" fmla="val 16200000"/>
              <a:gd name="adj2" fmla="val 14515036"/>
            </a:avLst>
          </a:prstGeom>
          <a:noFill/>
          <a:ln w="19050" cap="rnd" cmpd="sng">
            <a:solidFill>
              <a:schemeClr val="dk2"/>
            </a:solidFill>
            <a:prstDash val="solid"/>
            <a:round/>
            <a:headEnd type="none" w="sm" len="sm"/>
            <a:tailEnd type="triangle" w="med" len="med"/>
          </a:ln>
        </p:spPr>
        <p:txBody>
          <a:bodyPr spcFirstLastPara="1" wrap="square" lIns="45658" tIns="22846" rIns="45658" bIns="22846" anchor="t" anchorCtr="0">
            <a:noAutofit/>
          </a:bodyPr>
          <a:lstStyle/>
          <a:p>
            <a:pPr marL="0" marR="0" lvl="0" indent="0" algn="l" rtl="0">
              <a:lnSpc>
                <a:spcPct val="100000"/>
              </a:lnSpc>
              <a:spcBef>
                <a:spcPts val="0"/>
              </a:spcBef>
              <a:spcAft>
                <a:spcPts val="0"/>
              </a:spcAft>
              <a:buClr>
                <a:srgbClr val="F0F6FC"/>
              </a:buClr>
              <a:buSzPts val="700"/>
              <a:buFont typeface="Arial"/>
              <a:buNone/>
            </a:pPr>
            <a:endParaRPr sz="932" b="0" i="0" u="none" strike="noStrike" cap="none">
              <a:solidFill>
                <a:srgbClr val="000000"/>
              </a:solidFill>
              <a:latin typeface="Arial"/>
              <a:ea typeface="Arial"/>
              <a:cs typeface="Arial"/>
              <a:sym typeface="Arial"/>
            </a:endParaRPr>
          </a:p>
        </p:txBody>
      </p:sp>
      <p:sp>
        <p:nvSpPr>
          <p:cNvPr id="895" name="Google Shape;895;p88"/>
          <p:cNvSpPr/>
          <p:nvPr/>
        </p:nvSpPr>
        <p:spPr>
          <a:xfrm>
            <a:off x="7160307" y="2684025"/>
            <a:ext cx="731600" cy="7316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896" name="Google Shape;896;p88"/>
          <p:cNvSpPr/>
          <p:nvPr/>
        </p:nvSpPr>
        <p:spPr>
          <a:xfrm>
            <a:off x="6647520" y="4259532"/>
            <a:ext cx="731600" cy="7316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897" name="Google Shape;897;p88"/>
          <p:cNvSpPr/>
          <p:nvPr/>
        </p:nvSpPr>
        <p:spPr>
          <a:xfrm>
            <a:off x="4721248" y="4259506"/>
            <a:ext cx="731600" cy="731600"/>
          </a:xfrm>
          <a:prstGeom prst="ellipse">
            <a:avLst/>
          </a:prstGeom>
          <a:solidFill>
            <a:srgbClr val="090C0F"/>
          </a:solidFill>
          <a:ln w="19050" cap="flat" cmpd="sng">
            <a:solidFill>
              <a:schemeClr val="accent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898" name="Google Shape;898;p88"/>
          <p:cNvSpPr/>
          <p:nvPr/>
        </p:nvSpPr>
        <p:spPr>
          <a:xfrm>
            <a:off x="4300092" y="2684025"/>
            <a:ext cx="731600" cy="731600"/>
          </a:xfrm>
          <a:prstGeom prst="ellipse">
            <a:avLst/>
          </a:prstGeom>
          <a:solidFill>
            <a:srgbClr val="090C0F"/>
          </a:solidFill>
          <a:ln w="19050" cap="flat" cmpd="sng">
            <a:solidFill>
              <a:schemeClr val="accent5"/>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899" name="Google Shape;899;p88"/>
          <p:cNvSpPr/>
          <p:nvPr/>
        </p:nvSpPr>
        <p:spPr>
          <a:xfrm>
            <a:off x="5706700" y="1581157"/>
            <a:ext cx="7316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900" name="Google Shape;900;p88"/>
          <p:cNvSpPr txBox="1">
            <a:spLocks noGrp="1"/>
          </p:cNvSpPr>
          <p:nvPr>
            <p:ph type="subTitle" idx="1"/>
          </p:nvPr>
        </p:nvSpPr>
        <p:spPr>
          <a:xfrm>
            <a:off x="449249" y="2966720"/>
            <a:ext cx="3578177" cy="3292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01" name="Google Shape;901;p88"/>
          <p:cNvSpPr txBox="1">
            <a:spLocks noGrp="1"/>
          </p:cNvSpPr>
          <p:nvPr>
            <p:ph type="subTitle" idx="2"/>
          </p:nvPr>
        </p:nvSpPr>
        <p:spPr>
          <a:xfrm>
            <a:off x="449249" y="3052065"/>
            <a:ext cx="3578177"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902" name="Google Shape;902;p88"/>
          <p:cNvSpPr txBox="1">
            <a:spLocks noGrp="1"/>
          </p:cNvSpPr>
          <p:nvPr>
            <p:ph type="subTitle" idx="3"/>
          </p:nvPr>
        </p:nvSpPr>
        <p:spPr>
          <a:xfrm>
            <a:off x="4023717" y="817233"/>
            <a:ext cx="4092800" cy="3292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03" name="Google Shape;903;p88"/>
          <p:cNvSpPr txBox="1">
            <a:spLocks noGrp="1"/>
          </p:cNvSpPr>
          <p:nvPr>
            <p:ph type="subTitle" idx="4"/>
          </p:nvPr>
        </p:nvSpPr>
        <p:spPr>
          <a:xfrm>
            <a:off x="4028492" y="902579"/>
            <a:ext cx="4092800" cy="5976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200"/>
              <a:buFont typeface="Arial"/>
              <a:buNone/>
              <a:defRPr sz="1599">
                <a:solidFill>
                  <a:schemeClr val="dk2"/>
                </a:solidFill>
              </a:defRPr>
            </a:lvl2pPr>
            <a:lvl3pPr lvl="2" algn="ctr">
              <a:lnSpc>
                <a:spcPct val="90000"/>
              </a:lnSpc>
              <a:spcBef>
                <a:spcPts val="0"/>
              </a:spcBef>
              <a:spcAft>
                <a:spcPts val="0"/>
              </a:spcAft>
              <a:buClr>
                <a:schemeClr val="dk2"/>
              </a:buClr>
              <a:buSzPts val="1200"/>
              <a:buFont typeface="Arial"/>
              <a:buNone/>
              <a:defRPr sz="1599">
                <a:solidFill>
                  <a:schemeClr val="dk2"/>
                </a:solidFill>
              </a:defRPr>
            </a:lvl3pPr>
            <a:lvl4pPr lvl="3" algn="ctr">
              <a:lnSpc>
                <a:spcPct val="90000"/>
              </a:lnSpc>
              <a:spcBef>
                <a:spcPts val="0"/>
              </a:spcBef>
              <a:spcAft>
                <a:spcPts val="0"/>
              </a:spcAft>
              <a:buClr>
                <a:schemeClr val="dk2"/>
              </a:buClr>
              <a:buSzPts val="1200"/>
              <a:buFont typeface="Arial"/>
              <a:buNone/>
              <a:defRPr sz="1599">
                <a:solidFill>
                  <a:schemeClr val="dk2"/>
                </a:solidFill>
              </a:defRPr>
            </a:lvl4pPr>
            <a:lvl5pPr lvl="4" algn="ctr">
              <a:lnSpc>
                <a:spcPct val="90000"/>
              </a:lnSpc>
              <a:spcBef>
                <a:spcPts val="0"/>
              </a:spcBef>
              <a:spcAft>
                <a:spcPts val="0"/>
              </a:spcAft>
              <a:buClr>
                <a:schemeClr val="dk2"/>
              </a:buClr>
              <a:buSzPts val="1200"/>
              <a:buFont typeface="Arial"/>
              <a:buNone/>
              <a:defRPr sz="1599">
                <a:solidFill>
                  <a:schemeClr val="dk2"/>
                </a:solidFill>
              </a:defRPr>
            </a:lvl5pPr>
            <a:lvl6pPr lvl="5" algn="ctr">
              <a:lnSpc>
                <a:spcPct val="90000"/>
              </a:lnSpc>
              <a:spcBef>
                <a:spcPts val="0"/>
              </a:spcBef>
              <a:spcAft>
                <a:spcPts val="0"/>
              </a:spcAft>
              <a:buClr>
                <a:schemeClr val="dk2"/>
              </a:buClr>
              <a:buSzPts val="1200"/>
              <a:buNone/>
              <a:defRPr sz="1599">
                <a:solidFill>
                  <a:schemeClr val="dk2"/>
                </a:solidFill>
              </a:defRPr>
            </a:lvl6pPr>
            <a:lvl7pPr lvl="6" algn="ctr">
              <a:lnSpc>
                <a:spcPct val="90000"/>
              </a:lnSpc>
              <a:spcBef>
                <a:spcPts val="0"/>
              </a:spcBef>
              <a:spcAft>
                <a:spcPts val="0"/>
              </a:spcAft>
              <a:buClr>
                <a:schemeClr val="dk2"/>
              </a:buClr>
              <a:buSzPts val="1200"/>
              <a:buNone/>
              <a:defRPr sz="1599">
                <a:solidFill>
                  <a:schemeClr val="dk2"/>
                </a:solidFill>
              </a:defRPr>
            </a:lvl7pPr>
            <a:lvl8pPr lvl="7" algn="ctr">
              <a:lnSpc>
                <a:spcPct val="90000"/>
              </a:lnSpc>
              <a:spcBef>
                <a:spcPts val="0"/>
              </a:spcBef>
              <a:spcAft>
                <a:spcPts val="0"/>
              </a:spcAft>
              <a:buClr>
                <a:schemeClr val="dk2"/>
              </a:buClr>
              <a:buSzPts val="1200"/>
              <a:buNone/>
              <a:defRPr sz="1599">
                <a:solidFill>
                  <a:schemeClr val="dk2"/>
                </a:solidFill>
              </a:defRPr>
            </a:lvl8pPr>
            <a:lvl9pPr lvl="8" algn="ct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904" name="Google Shape;904;p88"/>
          <p:cNvSpPr txBox="1">
            <a:spLocks noGrp="1"/>
          </p:cNvSpPr>
          <p:nvPr>
            <p:ph type="subTitle" idx="5"/>
          </p:nvPr>
        </p:nvSpPr>
        <p:spPr>
          <a:xfrm>
            <a:off x="7445249" y="4701088"/>
            <a:ext cx="3578177"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05" name="Google Shape;905;p88"/>
          <p:cNvSpPr txBox="1">
            <a:spLocks noGrp="1"/>
          </p:cNvSpPr>
          <p:nvPr>
            <p:ph type="subTitle" idx="6"/>
          </p:nvPr>
        </p:nvSpPr>
        <p:spPr>
          <a:xfrm>
            <a:off x="7445249" y="4779264"/>
            <a:ext cx="3578177"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906" name="Google Shape;906;p88"/>
          <p:cNvSpPr txBox="1">
            <a:spLocks noGrp="1"/>
          </p:cNvSpPr>
          <p:nvPr>
            <p:ph type="subTitle" idx="7"/>
          </p:nvPr>
        </p:nvSpPr>
        <p:spPr>
          <a:xfrm>
            <a:off x="8047326" y="3013164"/>
            <a:ext cx="3578177"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07" name="Google Shape;907;p88"/>
          <p:cNvSpPr txBox="1">
            <a:spLocks noGrp="1"/>
          </p:cNvSpPr>
          <p:nvPr>
            <p:ph type="subTitle" idx="8"/>
          </p:nvPr>
        </p:nvSpPr>
        <p:spPr>
          <a:xfrm>
            <a:off x="8047326" y="3098507"/>
            <a:ext cx="3578177"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908" name="Google Shape;908;p88"/>
          <p:cNvSpPr txBox="1">
            <a:spLocks noGrp="1"/>
          </p:cNvSpPr>
          <p:nvPr>
            <p:ph type="subTitle" idx="9"/>
          </p:nvPr>
        </p:nvSpPr>
        <p:spPr>
          <a:xfrm>
            <a:off x="872273" y="4701088"/>
            <a:ext cx="3578177" cy="3292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09" name="Google Shape;909;p88"/>
          <p:cNvSpPr txBox="1">
            <a:spLocks noGrp="1"/>
          </p:cNvSpPr>
          <p:nvPr>
            <p:ph type="subTitle" idx="13"/>
          </p:nvPr>
        </p:nvSpPr>
        <p:spPr>
          <a:xfrm>
            <a:off x="872273" y="4779264"/>
            <a:ext cx="3578177"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910" name="Google Shape;910;p88"/>
          <p:cNvSpPr>
            <a:spLocks noGrp="1"/>
          </p:cNvSpPr>
          <p:nvPr>
            <p:ph type="pic" idx="14"/>
          </p:nvPr>
        </p:nvSpPr>
        <p:spPr>
          <a:xfrm>
            <a:off x="5882640" y="1733597"/>
            <a:ext cx="426720" cy="426720"/>
          </a:xfrm>
          <a:prstGeom prst="rect">
            <a:avLst/>
          </a:prstGeom>
          <a:noFill/>
          <a:ln>
            <a:noFill/>
          </a:ln>
        </p:spPr>
      </p:sp>
      <p:sp>
        <p:nvSpPr>
          <p:cNvPr id="911" name="Google Shape;911;p88"/>
          <p:cNvSpPr>
            <a:spLocks noGrp="1"/>
          </p:cNvSpPr>
          <p:nvPr>
            <p:ph type="pic" idx="15"/>
          </p:nvPr>
        </p:nvSpPr>
        <p:spPr>
          <a:xfrm>
            <a:off x="7312747" y="2852718"/>
            <a:ext cx="426720" cy="426720"/>
          </a:xfrm>
          <a:prstGeom prst="rect">
            <a:avLst/>
          </a:prstGeom>
          <a:noFill/>
          <a:ln>
            <a:noFill/>
          </a:ln>
        </p:spPr>
      </p:sp>
      <p:sp>
        <p:nvSpPr>
          <p:cNvPr id="912" name="Google Shape;912;p88"/>
          <p:cNvSpPr>
            <a:spLocks noGrp="1"/>
          </p:cNvSpPr>
          <p:nvPr>
            <p:ph type="pic" idx="16"/>
          </p:nvPr>
        </p:nvSpPr>
        <p:spPr>
          <a:xfrm>
            <a:off x="4448775" y="2845125"/>
            <a:ext cx="426720" cy="426720"/>
          </a:xfrm>
          <a:prstGeom prst="rect">
            <a:avLst/>
          </a:prstGeom>
          <a:noFill/>
          <a:ln>
            <a:noFill/>
          </a:ln>
        </p:spPr>
      </p:sp>
      <p:sp>
        <p:nvSpPr>
          <p:cNvPr id="913" name="Google Shape;913;p88"/>
          <p:cNvSpPr>
            <a:spLocks noGrp="1"/>
          </p:cNvSpPr>
          <p:nvPr>
            <p:ph type="pic" idx="17"/>
          </p:nvPr>
        </p:nvSpPr>
        <p:spPr>
          <a:xfrm>
            <a:off x="4869931" y="4411946"/>
            <a:ext cx="426720" cy="426720"/>
          </a:xfrm>
          <a:prstGeom prst="rect">
            <a:avLst/>
          </a:prstGeom>
          <a:noFill/>
          <a:ln>
            <a:noFill/>
          </a:ln>
        </p:spPr>
      </p:sp>
      <p:sp>
        <p:nvSpPr>
          <p:cNvPr id="914" name="Google Shape;914;p88"/>
          <p:cNvSpPr>
            <a:spLocks noGrp="1"/>
          </p:cNvSpPr>
          <p:nvPr>
            <p:ph type="pic" idx="18"/>
          </p:nvPr>
        </p:nvSpPr>
        <p:spPr>
          <a:xfrm>
            <a:off x="6806125" y="4411946"/>
            <a:ext cx="426720" cy="426720"/>
          </a:xfrm>
          <a:prstGeom prst="rect">
            <a:avLst/>
          </a:prstGeom>
          <a:noFill/>
          <a:ln>
            <a:noFill/>
          </a:ln>
        </p:spPr>
      </p:sp>
    </p:spTree>
    <p:extLst>
      <p:ext uri="{BB962C8B-B14F-4D97-AF65-F5344CB8AC3E}">
        <p14:creationId xmlns:p14="http://schemas.microsoft.com/office/powerpoint/2010/main" val="62495679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matchingName="84. Six part cycle">
  <p:cSld name="84. Six part cycle">
    <p:spTree>
      <p:nvGrpSpPr>
        <p:cNvPr id="1" name="Shape 915"/>
        <p:cNvGrpSpPr/>
        <p:nvPr/>
      </p:nvGrpSpPr>
      <p:grpSpPr>
        <a:xfrm>
          <a:off x="0" y="0"/>
          <a:ext cx="0" cy="0"/>
          <a:chOff x="0" y="0"/>
          <a:chExt cx="0" cy="0"/>
        </a:xfrm>
      </p:grpSpPr>
      <p:sp>
        <p:nvSpPr>
          <p:cNvPr id="916" name="Google Shape;916;p89"/>
          <p:cNvSpPr/>
          <p:nvPr/>
        </p:nvSpPr>
        <p:spPr>
          <a:xfrm>
            <a:off x="4543424" y="1711324"/>
            <a:ext cx="3105200" cy="3105201"/>
          </a:xfrm>
          <a:prstGeom prst="arc">
            <a:avLst>
              <a:gd name="adj1" fmla="val 16200000"/>
              <a:gd name="adj2" fmla="val 14515036"/>
            </a:avLst>
          </a:prstGeom>
          <a:noFill/>
          <a:ln w="19050" cap="rnd" cmpd="sng">
            <a:solidFill>
              <a:schemeClr val="dk2"/>
            </a:solidFill>
            <a:prstDash val="solid"/>
            <a:round/>
            <a:headEnd type="none" w="sm" len="sm"/>
            <a:tailEnd type="triangle" w="med" len="med"/>
          </a:ln>
        </p:spPr>
        <p:txBody>
          <a:bodyPr spcFirstLastPara="1" wrap="square" lIns="45658" tIns="22846" rIns="45658" bIns="22846" anchor="t" anchorCtr="0">
            <a:noAutofit/>
          </a:bodyPr>
          <a:lstStyle/>
          <a:p>
            <a:pPr marL="0" marR="0" lvl="0" indent="0" algn="l" rtl="0">
              <a:lnSpc>
                <a:spcPct val="100000"/>
              </a:lnSpc>
              <a:spcBef>
                <a:spcPts val="0"/>
              </a:spcBef>
              <a:spcAft>
                <a:spcPts val="0"/>
              </a:spcAft>
              <a:buClr>
                <a:srgbClr val="F0F6FC"/>
              </a:buClr>
              <a:buSzPts val="700"/>
              <a:buFont typeface="Arial"/>
              <a:buNone/>
            </a:pPr>
            <a:endParaRPr sz="932" b="0" i="0" u="none" strike="noStrike" cap="none">
              <a:solidFill>
                <a:srgbClr val="000000"/>
              </a:solidFill>
              <a:latin typeface="Arial"/>
              <a:ea typeface="Arial"/>
              <a:cs typeface="Arial"/>
              <a:sym typeface="Arial"/>
            </a:endParaRPr>
          </a:p>
        </p:txBody>
      </p:sp>
      <p:sp>
        <p:nvSpPr>
          <p:cNvPr id="917" name="Google Shape;917;p89"/>
          <p:cNvSpPr/>
          <p:nvPr/>
        </p:nvSpPr>
        <p:spPr>
          <a:xfrm>
            <a:off x="7036781" y="2062146"/>
            <a:ext cx="731600" cy="7316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918" name="Google Shape;918;p89"/>
          <p:cNvSpPr/>
          <p:nvPr/>
        </p:nvSpPr>
        <p:spPr>
          <a:xfrm>
            <a:off x="4466600" y="2062146"/>
            <a:ext cx="731600" cy="731600"/>
          </a:xfrm>
          <a:prstGeom prst="ellipse">
            <a:avLst/>
          </a:prstGeom>
          <a:solidFill>
            <a:srgbClr val="090C0F"/>
          </a:solidFill>
          <a:ln w="19050" cap="flat" cmpd="sng">
            <a:solidFill>
              <a:schemeClr val="accent6"/>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919" name="Google Shape;919;p89"/>
          <p:cNvSpPr/>
          <p:nvPr/>
        </p:nvSpPr>
        <p:spPr>
          <a:xfrm>
            <a:off x="7138381" y="3547480"/>
            <a:ext cx="731600" cy="7316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920" name="Google Shape;920;p89"/>
          <p:cNvSpPr/>
          <p:nvPr/>
        </p:nvSpPr>
        <p:spPr>
          <a:xfrm>
            <a:off x="4365000" y="3547480"/>
            <a:ext cx="731600" cy="731600"/>
          </a:xfrm>
          <a:prstGeom prst="ellipse">
            <a:avLst/>
          </a:prstGeom>
          <a:solidFill>
            <a:srgbClr val="090C0F"/>
          </a:solidFill>
          <a:ln w="19050" cap="flat" cmpd="sng">
            <a:solidFill>
              <a:schemeClr val="accent5"/>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921" name="Google Shape;921;p89"/>
          <p:cNvSpPr/>
          <p:nvPr/>
        </p:nvSpPr>
        <p:spPr>
          <a:xfrm>
            <a:off x="5702148" y="1316908"/>
            <a:ext cx="7316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922" name="Google Shape;922;p89"/>
          <p:cNvSpPr/>
          <p:nvPr/>
        </p:nvSpPr>
        <p:spPr>
          <a:xfrm>
            <a:off x="5702148" y="4402492"/>
            <a:ext cx="731600" cy="731600"/>
          </a:xfrm>
          <a:prstGeom prst="ellipse">
            <a:avLst/>
          </a:prstGeom>
          <a:solidFill>
            <a:srgbClr val="090C0F"/>
          </a:solidFill>
          <a:ln w="19050" cap="flat" cmpd="sng">
            <a:solidFill>
              <a:schemeClr val="accent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923" name="Google Shape;923;p89"/>
          <p:cNvSpPr txBox="1">
            <a:spLocks noGrp="1"/>
          </p:cNvSpPr>
          <p:nvPr>
            <p:ph type="subTitle" idx="1"/>
          </p:nvPr>
        </p:nvSpPr>
        <p:spPr>
          <a:xfrm>
            <a:off x="566498" y="2258601"/>
            <a:ext cx="3534817" cy="3292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24" name="Google Shape;924;p89"/>
          <p:cNvSpPr txBox="1">
            <a:spLocks noGrp="1"/>
          </p:cNvSpPr>
          <p:nvPr>
            <p:ph type="subTitle" idx="2"/>
          </p:nvPr>
        </p:nvSpPr>
        <p:spPr>
          <a:xfrm>
            <a:off x="566498" y="2343946"/>
            <a:ext cx="3534817"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925" name="Google Shape;925;p89"/>
          <p:cNvSpPr txBox="1">
            <a:spLocks noGrp="1"/>
          </p:cNvSpPr>
          <p:nvPr>
            <p:ph type="subTitle" idx="3"/>
          </p:nvPr>
        </p:nvSpPr>
        <p:spPr>
          <a:xfrm>
            <a:off x="4007548" y="565834"/>
            <a:ext cx="4120800" cy="3292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26" name="Google Shape;926;p89"/>
          <p:cNvSpPr txBox="1">
            <a:spLocks noGrp="1"/>
          </p:cNvSpPr>
          <p:nvPr>
            <p:ph type="subTitle" idx="4"/>
          </p:nvPr>
        </p:nvSpPr>
        <p:spPr>
          <a:xfrm>
            <a:off x="4007548" y="651200"/>
            <a:ext cx="4120800" cy="5976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200"/>
              <a:buFont typeface="Arial"/>
              <a:buNone/>
              <a:defRPr sz="1599">
                <a:solidFill>
                  <a:schemeClr val="dk2"/>
                </a:solidFill>
              </a:defRPr>
            </a:lvl2pPr>
            <a:lvl3pPr lvl="2" algn="ctr">
              <a:lnSpc>
                <a:spcPct val="90000"/>
              </a:lnSpc>
              <a:spcBef>
                <a:spcPts val="0"/>
              </a:spcBef>
              <a:spcAft>
                <a:spcPts val="0"/>
              </a:spcAft>
              <a:buClr>
                <a:schemeClr val="dk2"/>
              </a:buClr>
              <a:buSzPts val="1200"/>
              <a:buFont typeface="Arial"/>
              <a:buNone/>
              <a:defRPr sz="1599">
                <a:solidFill>
                  <a:schemeClr val="dk2"/>
                </a:solidFill>
              </a:defRPr>
            </a:lvl3pPr>
            <a:lvl4pPr lvl="3" algn="ctr">
              <a:lnSpc>
                <a:spcPct val="90000"/>
              </a:lnSpc>
              <a:spcBef>
                <a:spcPts val="0"/>
              </a:spcBef>
              <a:spcAft>
                <a:spcPts val="0"/>
              </a:spcAft>
              <a:buClr>
                <a:schemeClr val="dk2"/>
              </a:buClr>
              <a:buSzPts val="1200"/>
              <a:buFont typeface="Arial"/>
              <a:buNone/>
              <a:defRPr sz="1599">
                <a:solidFill>
                  <a:schemeClr val="dk2"/>
                </a:solidFill>
              </a:defRPr>
            </a:lvl4pPr>
            <a:lvl5pPr lvl="4" algn="ctr">
              <a:lnSpc>
                <a:spcPct val="90000"/>
              </a:lnSpc>
              <a:spcBef>
                <a:spcPts val="0"/>
              </a:spcBef>
              <a:spcAft>
                <a:spcPts val="0"/>
              </a:spcAft>
              <a:buClr>
                <a:schemeClr val="dk2"/>
              </a:buClr>
              <a:buSzPts val="1200"/>
              <a:buFont typeface="Arial"/>
              <a:buNone/>
              <a:defRPr sz="1599">
                <a:solidFill>
                  <a:schemeClr val="dk2"/>
                </a:solidFill>
              </a:defRPr>
            </a:lvl5pPr>
            <a:lvl6pPr lvl="5" algn="ctr">
              <a:lnSpc>
                <a:spcPct val="90000"/>
              </a:lnSpc>
              <a:spcBef>
                <a:spcPts val="0"/>
              </a:spcBef>
              <a:spcAft>
                <a:spcPts val="0"/>
              </a:spcAft>
              <a:buClr>
                <a:schemeClr val="dk2"/>
              </a:buClr>
              <a:buSzPts val="1200"/>
              <a:buNone/>
              <a:defRPr sz="1599">
                <a:solidFill>
                  <a:schemeClr val="dk2"/>
                </a:solidFill>
              </a:defRPr>
            </a:lvl6pPr>
            <a:lvl7pPr lvl="6" algn="ctr">
              <a:lnSpc>
                <a:spcPct val="90000"/>
              </a:lnSpc>
              <a:spcBef>
                <a:spcPts val="0"/>
              </a:spcBef>
              <a:spcAft>
                <a:spcPts val="0"/>
              </a:spcAft>
              <a:buClr>
                <a:schemeClr val="dk2"/>
              </a:buClr>
              <a:buSzPts val="1200"/>
              <a:buNone/>
              <a:defRPr sz="1599">
                <a:solidFill>
                  <a:schemeClr val="dk2"/>
                </a:solidFill>
              </a:defRPr>
            </a:lvl7pPr>
            <a:lvl8pPr lvl="7" algn="ctr">
              <a:lnSpc>
                <a:spcPct val="90000"/>
              </a:lnSpc>
              <a:spcBef>
                <a:spcPts val="0"/>
              </a:spcBef>
              <a:spcAft>
                <a:spcPts val="0"/>
              </a:spcAft>
              <a:buClr>
                <a:schemeClr val="dk2"/>
              </a:buClr>
              <a:buSzPts val="1200"/>
              <a:buNone/>
              <a:defRPr sz="1599">
                <a:solidFill>
                  <a:schemeClr val="dk2"/>
                </a:solidFill>
              </a:defRPr>
            </a:lvl8pPr>
            <a:lvl9pPr lvl="8" algn="ct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927" name="Google Shape;927;p89"/>
          <p:cNvSpPr txBox="1">
            <a:spLocks noGrp="1"/>
          </p:cNvSpPr>
          <p:nvPr>
            <p:ph type="subTitle" idx="5"/>
          </p:nvPr>
        </p:nvSpPr>
        <p:spPr>
          <a:xfrm>
            <a:off x="7961382" y="3824438"/>
            <a:ext cx="3735668"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28" name="Google Shape;928;p89"/>
          <p:cNvSpPr txBox="1">
            <a:spLocks noGrp="1"/>
          </p:cNvSpPr>
          <p:nvPr>
            <p:ph type="subTitle" idx="6"/>
          </p:nvPr>
        </p:nvSpPr>
        <p:spPr>
          <a:xfrm>
            <a:off x="7961382" y="3902615"/>
            <a:ext cx="3735668"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929" name="Google Shape;929;p89"/>
          <p:cNvSpPr txBox="1">
            <a:spLocks noGrp="1"/>
          </p:cNvSpPr>
          <p:nvPr>
            <p:ph type="subTitle" idx="7"/>
          </p:nvPr>
        </p:nvSpPr>
        <p:spPr>
          <a:xfrm>
            <a:off x="7963726" y="2192812"/>
            <a:ext cx="3735668" cy="3292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30" name="Google Shape;930;p89"/>
          <p:cNvSpPr txBox="1">
            <a:spLocks noGrp="1"/>
          </p:cNvSpPr>
          <p:nvPr>
            <p:ph type="subTitle" idx="8"/>
          </p:nvPr>
        </p:nvSpPr>
        <p:spPr>
          <a:xfrm>
            <a:off x="7963726" y="2278154"/>
            <a:ext cx="3735668"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931" name="Google Shape;931;p89"/>
          <p:cNvSpPr txBox="1">
            <a:spLocks noGrp="1"/>
          </p:cNvSpPr>
          <p:nvPr>
            <p:ph type="subTitle" idx="9"/>
          </p:nvPr>
        </p:nvSpPr>
        <p:spPr>
          <a:xfrm>
            <a:off x="583122" y="3888287"/>
            <a:ext cx="3534817" cy="3292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32" name="Google Shape;932;p89"/>
          <p:cNvSpPr txBox="1">
            <a:spLocks noGrp="1"/>
          </p:cNvSpPr>
          <p:nvPr>
            <p:ph type="subTitle" idx="13"/>
          </p:nvPr>
        </p:nvSpPr>
        <p:spPr>
          <a:xfrm>
            <a:off x="583122" y="3966465"/>
            <a:ext cx="3534817"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933" name="Google Shape;933;p89"/>
          <p:cNvSpPr txBox="1">
            <a:spLocks noGrp="1"/>
          </p:cNvSpPr>
          <p:nvPr>
            <p:ph type="subTitle" idx="14"/>
          </p:nvPr>
        </p:nvSpPr>
        <p:spPr>
          <a:xfrm>
            <a:off x="4009948" y="5428534"/>
            <a:ext cx="4116000" cy="3292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34" name="Google Shape;934;p89"/>
          <p:cNvSpPr txBox="1">
            <a:spLocks noGrp="1"/>
          </p:cNvSpPr>
          <p:nvPr>
            <p:ph type="subTitle" idx="15"/>
          </p:nvPr>
        </p:nvSpPr>
        <p:spPr>
          <a:xfrm>
            <a:off x="4009948" y="5513881"/>
            <a:ext cx="4116000" cy="5976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200"/>
              <a:buFont typeface="Arial"/>
              <a:buNone/>
              <a:defRPr sz="1599">
                <a:solidFill>
                  <a:schemeClr val="dk2"/>
                </a:solidFill>
              </a:defRPr>
            </a:lvl2pPr>
            <a:lvl3pPr lvl="2" algn="ctr">
              <a:lnSpc>
                <a:spcPct val="90000"/>
              </a:lnSpc>
              <a:spcBef>
                <a:spcPts val="0"/>
              </a:spcBef>
              <a:spcAft>
                <a:spcPts val="0"/>
              </a:spcAft>
              <a:buClr>
                <a:schemeClr val="dk2"/>
              </a:buClr>
              <a:buSzPts val="1200"/>
              <a:buFont typeface="Arial"/>
              <a:buNone/>
              <a:defRPr sz="1599">
                <a:solidFill>
                  <a:schemeClr val="dk2"/>
                </a:solidFill>
              </a:defRPr>
            </a:lvl3pPr>
            <a:lvl4pPr lvl="3" algn="ctr">
              <a:lnSpc>
                <a:spcPct val="90000"/>
              </a:lnSpc>
              <a:spcBef>
                <a:spcPts val="0"/>
              </a:spcBef>
              <a:spcAft>
                <a:spcPts val="0"/>
              </a:spcAft>
              <a:buClr>
                <a:schemeClr val="dk2"/>
              </a:buClr>
              <a:buSzPts val="1200"/>
              <a:buFont typeface="Arial"/>
              <a:buNone/>
              <a:defRPr sz="1599">
                <a:solidFill>
                  <a:schemeClr val="dk2"/>
                </a:solidFill>
              </a:defRPr>
            </a:lvl4pPr>
            <a:lvl5pPr lvl="4" algn="ctr">
              <a:lnSpc>
                <a:spcPct val="90000"/>
              </a:lnSpc>
              <a:spcBef>
                <a:spcPts val="0"/>
              </a:spcBef>
              <a:spcAft>
                <a:spcPts val="0"/>
              </a:spcAft>
              <a:buClr>
                <a:schemeClr val="dk2"/>
              </a:buClr>
              <a:buSzPts val="1200"/>
              <a:buFont typeface="Arial"/>
              <a:buNone/>
              <a:defRPr sz="1599">
                <a:solidFill>
                  <a:schemeClr val="dk2"/>
                </a:solidFill>
              </a:defRPr>
            </a:lvl5pPr>
            <a:lvl6pPr lvl="5" algn="ctr">
              <a:lnSpc>
                <a:spcPct val="90000"/>
              </a:lnSpc>
              <a:spcBef>
                <a:spcPts val="0"/>
              </a:spcBef>
              <a:spcAft>
                <a:spcPts val="0"/>
              </a:spcAft>
              <a:buClr>
                <a:schemeClr val="dk2"/>
              </a:buClr>
              <a:buSzPts val="1200"/>
              <a:buNone/>
              <a:defRPr sz="1599">
                <a:solidFill>
                  <a:schemeClr val="dk2"/>
                </a:solidFill>
              </a:defRPr>
            </a:lvl6pPr>
            <a:lvl7pPr lvl="6" algn="ctr">
              <a:lnSpc>
                <a:spcPct val="90000"/>
              </a:lnSpc>
              <a:spcBef>
                <a:spcPts val="0"/>
              </a:spcBef>
              <a:spcAft>
                <a:spcPts val="0"/>
              </a:spcAft>
              <a:buClr>
                <a:schemeClr val="dk2"/>
              </a:buClr>
              <a:buSzPts val="1200"/>
              <a:buNone/>
              <a:defRPr sz="1599">
                <a:solidFill>
                  <a:schemeClr val="dk2"/>
                </a:solidFill>
              </a:defRPr>
            </a:lvl7pPr>
            <a:lvl8pPr lvl="7" algn="ctr">
              <a:lnSpc>
                <a:spcPct val="90000"/>
              </a:lnSpc>
              <a:spcBef>
                <a:spcPts val="0"/>
              </a:spcBef>
              <a:spcAft>
                <a:spcPts val="0"/>
              </a:spcAft>
              <a:buClr>
                <a:schemeClr val="dk2"/>
              </a:buClr>
              <a:buSzPts val="1200"/>
              <a:buNone/>
              <a:defRPr sz="1599">
                <a:solidFill>
                  <a:schemeClr val="dk2"/>
                </a:solidFill>
              </a:defRPr>
            </a:lvl8pPr>
            <a:lvl9pPr lvl="8" algn="ct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935" name="Google Shape;935;p89"/>
          <p:cNvSpPr>
            <a:spLocks noGrp="1"/>
          </p:cNvSpPr>
          <p:nvPr>
            <p:ph type="pic" idx="16"/>
          </p:nvPr>
        </p:nvSpPr>
        <p:spPr>
          <a:xfrm>
            <a:off x="5854588" y="1469348"/>
            <a:ext cx="426720" cy="426720"/>
          </a:xfrm>
          <a:prstGeom prst="rect">
            <a:avLst/>
          </a:prstGeom>
          <a:noFill/>
          <a:ln>
            <a:noFill/>
          </a:ln>
        </p:spPr>
      </p:sp>
      <p:sp>
        <p:nvSpPr>
          <p:cNvPr id="936" name="Google Shape;936;p89"/>
          <p:cNvSpPr>
            <a:spLocks noGrp="1"/>
          </p:cNvSpPr>
          <p:nvPr>
            <p:ph type="pic" idx="17"/>
          </p:nvPr>
        </p:nvSpPr>
        <p:spPr>
          <a:xfrm>
            <a:off x="7189221" y="2214586"/>
            <a:ext cx="426720" cy="426720"/>
          </a:xfrm>
          <a:prstGeom prst="rect">
            <a:avLst/>
          </a:prstGeom>
          <a:noFill/>
          <a:ln>
            <a:noFill/>
          </a:ln>
        </p:spPr>
      </p:sp>
      <p:sp>
        <p:nvSpPr>
          <p:cNvPr id="937" name="Google Shape;937;p89"/>
          <p:cNvSpPr>
            <a:spLocks noGrp="1"/>
          </p:cNvSpPr>
          <p:nvPr>
            <p:ph type="pic" idx="18"/>
          </p:nvPr>
        </p:nvSpPr>
        <p:spPr>
          <a:xfrm>
            <a:off x="4612556" y="2214586"/>
            <a:ext cx="426720" cy="426720"/>
          </a:xfrm>
          <a:prstGeom prst="rect">
            <a:avLst/>
          </a:prstGeom>
          <a:noFill/>
          <a:ln>
            <a:noFill/>
          </a:ln>
        </p:spPr>
      </p:sp>
      <p:sp>
        <p:nvSpPr>
          <p:cNvPr id="938" name="Google Shape;938;p89"/>
          <p:cNvSpPr>
            <a:spLocks noGrp="1"/>
          </p:cNvSpPr>
          <p:nvPr>
            <p:ph type="pic" idx="19"/>
          </p:nvPr>
        </p:nvSpPr>
        <p:spPr>
          <a:xfrm>
            <a:off x="4516399" y="3699920"/>
            <a:ext cx="426720" cy="426720"/>
          </a:xfrm>
          <a:prstGeom prst="rect">
            <a:avLst/>
          </a:prstGeom>
          <a:noFill/>
          <a:ln>
            <a:noFill/>
          </a:ln>
        </p:spPr>
      </p:sp>
      <p:sp>
        <p:nvSpPr>
          <p:cNvPr id="939" name="Google Shape;939;p89"/>
          <p:cNvSpPr>
            <a:spLocks noGrp="1"/>
          </p:cNvSpPr>
          <p:nvPr>
            <p:ph type="pic" idx="20"/>
          </p:nvPr>
        </p:nvSpPr>
        <p:spPr>
          <a:xfrm>
            <a:off x="7275601" y="3699920"/>
            <a:ext cx="426720" cy="426720"/>
          </a:xfrm>
          <a:prstGeom prst="rect">
            <a:avLst/>
          </a:prstGeom>
          <a:noFill/>
          <a:ln>
            <a:noFill/>
          </a:ln>
        </p:spPr>
      </p:sp>
      <p:sp>
        <p:nvSpPr>
          <p:cNvPr id="940" name="Google Shape;940;p89"/>
          <p:cNvSpPr>
            <a:spLocks noGrp="1"/>
          </p:cNvSpPr>
          <p:nvPr>
            <p:ph type="pic" idx="21"/>
          </p:nvPr>
        </p:nvSpPr>
        <p:spPr>
          <a:xfrm>
            <a:off x="5853547" y="4578435"/>
            <a:ext cx="426720" cy="426720"/>
          </a:xfrm>
          <a:prstGeom prst="rect">
            <a:avLst/>
          </a:prstGeom>
          <a:noFill/>
          <a:ln>
            <a:noFill/>
          </a:ln>
        </p:spPr>
      </p:sp>
    </p:spTree>
    <p:extLst>
      <p:ext uri="{BB962C8B-B14F-4D97-AF65-F5344CB8AC3E}">
        <p14:creationId xmlns:p14="http://schemas.microsoft.com/office/powerpoint/2010/main" val="929885546"/>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matchingName="85. Four dates horizontal timeline">
  <p:cSld name="85. Four dates horizontal timeline">
    <p:spTree>
      <p:nvGrpSpPr>
        <p:cNvPr id="1" name="Shape 941"/>
        <p:cNvGrpSpPr/>
        <p:nvPr/>
      </p:nvGrpSpPr>
      <p:grpSpPr>
        <a:xfrm>
          <a:off x="0" y="0"/>
          <a:ext cx="0" cy="0"/>
          <a:chOff x="0" y="0"/>
          <a:chExt cx="0" cy="0"/>
        </a:xfrm>
      </p:grpSpPr>
      <p:grpSp>
        <p:nvGrpSpPr>
          <p:cNvPr id="942" name="Google Shape;942;p90"/>
          <p:cNvGrpSpPr/>
          <p:nvPr/>
        </p:nvGrpSpPr>
        <p:grpSpPr>
          <a:xfrm>
            <a:off x="4294735" y="3308974"/>
            <a:ext cx="160020" cy="1390015"/>
            <a:chOff x="8582701" y="8238489"/>
            <a:chExt cx="320040" cy="2780031"/>
          </a:xfrm>
        </p:grpSpPr>
        <p:cxnSp>
          <p:nvCxnSpPr>
            <p:cNvPr id="943" name="Google Shape;943;p90"/>
            <p:cNvCxnSpPr/>
            <p:nvPr/>
          </p:nvCxnSpPr>
          <p:spPr>
            <a:xfrm rot="10800000">
              <a:off x="8742721" y="8238489"/>
              <a:ext cx="0" cy="2459991"/>
            </a:xfrm>
            <a:prstGeom prst="straightConnector1">
              <a:avLst/>
            </a:prstGeom>
            <a:noFill/>
            <a:ln w="19050" cap="flat" cmpd="sng">
              <a:solidFill>
                <a:schemeClr val="dk2"/>
              </a:solidFill>
              <a:prstDash val="solid"/>
              <a:miter lim="400000"/>
              <a:headEnd type="none" w="sm" len="sm"/>
              <a:tailEnd type="none" w="sm" len="sm"/>
            </a:ln>
          </p:spPr>
        </p:cxnSp>
        <p:sp>
          <p:nvSpPr>
            <p:cNvPr id="944" name="Google Shape;944;p90"/>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945" name="Google Shape;945;p90"/>
          <p:cNvGrpSpPr/>
          <p:nvPr/>
        </p:nvGrpSpPr>
        <p:grpSpPr>
          <a:xfrm>
            <a:off x="952502" y="1264139"/>
            <a:ext cx="342900" cy="1908811"/>
            <a:chOff x="1880937" y="2193885"/>
            <a:chExt cx="685800" cy="3817620"/>
          </a:xfrm>
        </p:grpSpPr>
        <p:cxnSp>
          <p:nvCxnSpPr>
            <p:cNvPr id="946" name="Google Shape;946;p90"/>
            <p:cNvCxnSpPr/>
            <p:nvPr/>
          </p:nvCxnSpPr>
          <p:spPr>
            <a:xfrm rot="5400000">
              <a:off x="76200" y="4182705"/>
              <a:ext cx="3657600" cy="0"/>
            </a:xfrm>
            <a:prstGeom prst="straightConnector1">
              <a:avLst/>
            </a:prstGeom>
            <a:noFill/>
            <a:ln w="19050" cap="flat" cmpd="sng">
              <a:solidFill>
                <a:schemeClr val="dk2"/>
              </a:solidFill>
              <a:prstDash val="solid"/>
              <a:miter lim="400000"/>
              <a:headEnd type="none" w="sm" len="sm"/>
              <a:tailEnd type="none" w="sm" len="sm"/>
            </a:ln>
          </p:spPr>
        </p:cxnSp>
        <p:sp>
          <p:nvSpPr>
            <p:cNvPr id="947" name="Google Shape;947;p90"/>
            <p:cNvSpPr/>
            <p:nvPr/>
          </p:nvSpPr>
          <p:spPr>
            <a:xfrm>
              <a:off x="2246697" y="2193885"/>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cxnSp>
          <p:nvCxnSpPr>
            <p:cNvPr id="948" name="Google Shape;948;p90"/>
            <p:cNvCxnSpPr/>
            <p:nvPr/>
          </p:nvCxnSpPr>
          <p:spPr>
            <a:xfrm rot="10800000">
              <a:off x="1880937" y="2355483"/>
              <a:ext cx="365760" cy="0"/>
            </a:xfrm>
            <a:prstGeom prst="straightConnector1">
              <a:avLst/>
            </a:prstGeom>
            <a:noFill/>
            <a:ln w="19050" cap="flat" cmpd="sng">
              <a:solidFill>
                <a:schemeClr val="dk2"/>
              </a:solidFill>
              <a:prstDash val="solid"/>
              <a:miter lim="400000"/>
              <a:headEnd type="none" w="sm" len="sm"/>
              <a:tailEnd type="none" w="sm" len="sm"/>
            </a:ln>
          </p:spPr>
        </p:cxnSp>
      </p:grpSp>
      <p:cxnSp>
        <p:nvCxnSpPr>
          <p:cNvPr id="949" name="Google Shape;949;p90"/>
          <p:cNvCxnSpPr/>
          <p:nvPr/>
        </p:nvCxnSpPr>
        <p:spPr>
          <a:xfrm>
            <a:off x="952600" y="3122551"/>
            <a:ext cx="10286800" cy="0"/>
          </a:xfrm>
          <a:prstGeom prst="straightConnector1">
            <a:avLst/>
          </a:prstGeom>
          <a:noFill/>
          <a:ln w="19050" cap="flat" cmpd="sng">
            <a:solidFill>
              <a:schemeClr val="dk2"/>
            </a:solidFill>
            <a:prstDash val="solid"/>
            <a:miter lim="400000"/>
            <a:headEnd type="none" w="sm" len="sm"/>
            <a:tailEnd type="none" w="sm" len="sm"/>
          </a:ln>
        </p:spPr>
      </p:cxnSp>
      <p:sp>
        <p:nvSpPr>
          <p:cNvPr id="950" name="Google Shape;950;p90"/>
          <p:cNvSpPr/>
          <p:nvPr/>
        </p:nvSpPr>
        <p:spPr>
          <a:xfrm>
            <a:off x="569561" y="2756751"/>
            <a:ext cx="7268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951" name="Google Shape;951;p90"/>
          <p:cNvSpPr/>
          <p:nvPr/>
        </p:nvSpPr>
        <p:spPr>
          <a:xfrm>
            <a:off x="4011340" y="2756751"/>
            <a:ext cx="726800" cy="7316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nvGrpSpPr>
          <p:cNvPr id="952" name="Google Shape;952;p90"/>
          <p:cNvGrpSpPr/>
          <p:nvPr/>
        </p:nvGrpSpPr>
        <p:grpSpPr>
          <a:xfrm rot="10800000">
            <a:off x="10920665" y="3203575"/>
            <a:ext cx="342900" cy="2010982"/>
            <a:chOff x="1880937" y="2193885"/>
            <a:chExt cx="685800" cy="4021962"/>
          </a:xfrm>
        </p:grpSpPr>
        <p:cxnSp>
          <p:nvCxnSpPr>
            <p:cNvPr id="953" name="Google Shape;953;p90"/>
            <p:cNvCxnSpPr/>
            <p:nvPr/>
          </p:nvCxnSpPr>
          <p:spPr>
            <a:xfrm>
              <a:off x="1905000" y="2353905"/>
              <a:ext cx="0" cy="3861942"/>
            </a:xfrm>
            <a:prstGeom prst="straightConnector1">
              <a:avLst/>
            </a:prstGeom>
            <a:noFill/>
            <a:ln w="19050" cap="flat" cmpd="sng">
              <a:solidFill>
                <a:schemeClr val="dk2"/>
              </a:solidFill>
              <a:prstDash val="solid"/>
              <a:miter lim="400000"/>
              <a:headEnd type="none" w="sm" len="sm"/>
              <a:tailEnd type="none" w="sm" len="sm"/>
            </a:ln>
          </p:spPr>
        </p:cxnSp>
        <p:sp>
          <p:nvSpPr>
            <p:cNvPr id="954" name="Google Shape;954;p90"/>
            <p:cNvSpPr/>
            <p:nvPr/>
          </p:nvSpPr>
          <p:spPr>
            <a:xfrm>
              <a:off x="2246697" y="2193885"/>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cxnSp>
          <p:nvCxnSpPr>
            <p:cNvPr id="955" name="Google Shape;955;p90"/>
            <p:cNvCxnSpPr/>
            <p:nvPr/>
          </p:nvCxnSpPr>
          <p:spPr>
            <a:xfrm rot="10800000">
              <a:off x="1880937" y="2355483"/>
              <a:ext cx="365760" cy="0"/>
            </a:xfrm>
            <a:prstGeom prst="straightConnector1">
              <a:avLst/>
            </a:prstGeom>
            <a:noFill/>
            <a:ln w="19050" cap="flat" cmpd="sng">
              <a:solidFill>
                <a:schemeClr val="dk2"/>
              </a:solidFill>
              <a:prstDash val="solid"/>
              <a:miter lim="400000"/>
              <a:headEnd type="none" w="sm" len="sm"/>
              <a:tailEnd type="none" w="sm" len="sm"/>
            </a:ln>
          </p:spPr>
        </p:cxnSp>
      </p:grpSp>
      <p:grpSp>
        <p:nvGrpSpPr>
          <p:cNvPr id="956" name="Google Shape;956;p90"/>
          <p:cNvGrpSpPr/>
          <p:nvPr/>
        </p:nvGrpSpPr>
        <p:grpSpPr>
          <a:xfrm rot="10800000" flipH="1">
            <a:off x="7730491" y="1994393"/>
            <a:ext cx="160020" cy="1202742"/>
            <a:chOff x="8582701" y="8613035"/>
            <a:chExt cx="320040" cy="2405485"/>
          </a:xfrm>
        </p:grpSpPr>
        <p:cxnSp>
          <p:nvCxnSpPr>
            <p:cNvPr id="957" name="Google Shape;957;p90"/>
            <p:cNvCxnSpPr/>
            <p:nvPr/>
          </p:nvCxnSpPr>
          <p:spPr>
            <a:xfrm rot="10800000">
              <a:off x="8742721" y="8613035"/>
              <a:ext cx="0" cy="2085445"/>
            </a:xfrm>
            <a:prstGeom prst="straightConnector1">
              <a:avLst/>
            </a:prstGeom>
            <a:noFill/>
            <a:ln w="19050" cap="flat" cmpd="sng">
              <a:solidFill>
                <a:schemeClr val="dk2"/>
              </a:solidFill>
              <a:prstDash val="solid"/>
              <a:miter lim="400000"/>
              <a:headEnd type="none" w="sm" len="sm"/>
              <a:tailEnd type="none" w="sm" len="sm"/>
            </a:ln>
          </p:spPr>
        </p:cxnSp>
        <p:sp>
          <p:nvSpPr>
            <p:cNvPr id="958" name="Google Shape;958;p90"/>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sp>
        <p:nvSpPr>
          <p:cNvPr id="959" name="Google Shape;959;p90"/>
          <p:cNvSpPr/>
          <p:nvPr/>
        </p:nvSpPr>
        <p:spPr>
          <a:xfrm>
            <a:off x="7453112" y="2756751"/>
            <a:ext cx="726800" cy="7316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960" name="Google Shape;960;p90"/>
          <p:cNvSpPr/>
          <p:nvPr/>
        </p:nvSpPr>
        <p:spPr>
          <a:xfrm>
            <a:off x="10920675" y="2756751"/>
            <a:ext cx="726800" cy="731600"/>
          </a:xfrm>
          <a:prstGeom prst="ellipse">
            <a:avLst/>
          </a:prstGeom>
          <a:solidFill>
            <a:srgbClr val="090C0F"/>
          </a:solidFill>
          <a:ln w="19050" cap="flat" cmpd="sng">
            <a:solidFill>
              <a:schemeClr val="accent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961" name="Google Shape;961;p90"/>
          <p:cNvSpPr txBox="1">
            <a:spLocks noGrp="1"/>
          </p:cNvSpPr>
          <p:nvPr>
            <p:ph type="subTitle" idx="1"/>
          </p:nvPr>
        </p:nvSpPr>
        <p:spPr>
          <a:xfrm>
            <a:off x="1382333" y="1287001"/>
            <a:ext cx="3675600" cy="329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62" name="Google Shape;962;p90"/>
          <p:cNvSpPr txBox="1">
            <a:spLocks noGrp="1"/>
          </p:cNvSpPr>
          <p:nvPr>
            <p:ph type="subTitle" idx="2"/>
          </p:nvPr>
        </p:nvSpPr>
        <p:spPr>
          <a:xfrm>
            <a:off x="1382339" y="822767"/>
            <a:ext cx="36756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963" name="Google Shape;963;p90"/>
          <p:cNvSpPr txBox="1">
            <a:spLocks noGrp="1"/>
          </p:cNvSpPr>
          <p:nvPr>
            <p:ph type="subTitle" idx="3"/>
          </p:nvPr>
        </p:nvSpPr>
        <p:spPr>
          <a:xfrm>
            <a:off x="5972700" y="1287001"/>
            <a:ext cx="3675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64" name="Google Shape;964;p90"/>
          <p:cNvSpPr txBox="1">
            <a:spLocks noGrp="1"/>
          </p:cNvSpPr>
          <p:nvPr>
            <p:ph type="subTitle" idx="4"/>
          </p:nvPr>
        </p:nvSpPr>
        <p:spPr>
          <a:xfrm>
            <a:off x="5972705" y="822767"/>
            <a:ext cx="3675600" cy="5976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965" name="Google Shape;965;p90"/>
          <p:cNvSpPr txBox="1">
            <a:spLocks noGrp="1"/>
          </p:cNvSpPr>
          <p:nvPr>
            <p:ph type="subTitle" idx="5"/>
          </p:nvPr>
        </p:nvSpPr>
        <p:spPr>
          <a:xfrm>
            <a:off x="2536933" y="4991568"/>
            <a:ext cx="3675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66" name="Google Shape;966;p90"/>
          <p:cNvSpPr txBox="1">
            <a:spLocks noGrp="1"/>
          </p:cNvSpPr>
          <p:nvPr>
            <p:ph type="subTitle" idx="6"/>
          </p:nvPr>
        </p:nvSpPr>
        <p:spPr>
          <a:xfrm>
            <a:off x="2536939" y="4527334"/>
            <a:ext cx="3675600" cy="5976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967" name="Google Shape;967;p90"/>
          <p:cNvSpPr txBox="1">
            <a:spLocks noGrp="1"/>
          </p:cNvSpPr>
          <p:nvPr>
            <p:ph type="subTitle" idx="7"/>
          </p:nvPr>
        </p:nvSpPr>
        <p:spPr>
          <a:xfrm>
            <a:off x="7075433" y="4991568"/>
            <a:ext cx="3675600" cy="3292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68" name="Google Shape;968;p90"/>
          <p:cNvSpPr txBox="1">
            <a:spLocks noGrp="1"/>
          </p:cNvSpPr>
          <p:nvPr>
            <p:ph type="subTitle" idx="8"/>
          </p:nvPr>
        </p:nvSpPr>
        <p:spPr>
          <a:xfrm>
            <a:off x="7075439" y="4527334"/>
            <a:ext cx="36756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969" name="Google Shape;969;p90"/>
          <p:cNvSpPr>
            <a:spLocks noGrp="1"/>
          </p:cNvSpPr>
          <p:nvPr>
            <p:ph type="pic" idx="9"/>
          </p:nvPr>
        </p:nvSpPr>
        <p:spPr>
          <a:xfrm>
            <a:off x="719601" y="2903931"/>
            <a:ext cx="426720" cy="426720"/>
          </a:xfrm>
          <a:prstGeom prst="rect">
            <a:avLst/>
          </a:prstGeom>
          <a:noFill/>
          <a:ln>
            <a:noFill/>
          </a:ln>
        </p:spPr>
      </p:sp>
      <p:sp>
        <p:nvSpPr>
          <p:cNvPr id="970" name="Google Shape;970;p90"/>
          <p:cNvSpPr>
            <a:spLocks noGrp="1"/>
          </p:cNvSpPr>
          <p:nvPr>
            <p:ph type="pic" idx="13"/>
          </p:nvPr>
        </p:nvSpPr>
        <p:spPr>
          <a:xfrm>
            <a:off x="4142585" y="2903931"/>
            <a:ext cx="426720" cy="426720"/>
          </a:xfrm>
          <a:prstGeom prst="rect">
            <a:avLst/>
          </a:prstGeom>
          <a:noFill/>
          <a:ln>
            <a:noFill/>
          </a:ln>
        </p:spPr>
      </p:sp>
      <p:sp>
        <p:nvSpPr>
          <p:cNvPr id="971" name="Google Shape;971;p90"/>
          <p:cNvSpPr>
            <a:spLocks noGrp="1"/>
          </p:cNvSpPr>
          <p:nvPr>
            <p:ph type="pic" idx="14"/>
          </p:nvPr>
        </p:nvSpPr>
        <p:spPr>
          <a:xfrm>
            <a:off x="7599777" y="2916022"/>
            <a:ext cx="426720" cy="426720"/>
          </a:xfrm>
          <a:prstGeom prst="rect">
            <a:avLst/>
          </a:prstGeom>
          <a:noFill/>
          <a:ln>
            <a:noFill/>
          </a:ln>
        </p:spPr>
      </p:sp>
      <p:sp>
        <p:nvSpPr>
          <p:cNvPr id="972" name="Google Shape;972;p90"/>
          <p:cNvSpPr>
            <a:spLocks noGrp="1"/>
          </p:cNvSpPr>
          <p:nvPr>
            <p:ph type="pic" idx="15"/>
          </p:nvPr>
        </p:nvSpPr>
        <p:spPr>
          <a:xfrm>
            <a:off x="11070715" y="2917579"/>
            <a:ext cx="426720" cy="426720"/>
          </a:xfrm>
          <a:prstGeom prst="rect">
            <a:avLst/>
          </a:prstGeom>
          <a:noFill/>
          <a:ln>
            <a:noFill/>
          </a:ln>
        </p:spPr>
      </p:sp>
    </p:spTree>
    <p:extLst>
      <p:ext uri="{BB962C8B-B14F-4D97-AF65-F5344CB8AC3E}">
        <p14:creationId xmlns:p14="http://schemas.microsoft.com/office/powerpoint/2010/main" val="3067258431"/>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matchingName="86. Five dates horizontal timeline">
  <p:cSld name="86. Five dates horizontal timeline">
    <p:spTree>
      <p:nvGrpSpPr>
        <p:cNvPr id="1" name="Shape 973"/>
        <p:cNvGrpSpPr/>
        <p:nvPr/>
      </p:nvGrpSpPr>
      <p:grpSpPr>
        <a:xfrm>
          <a:off x="0" y="0"/>
          <a:ext cx="0" cy="0"/>
          <a:chOff x="0" y="0"/>
          <a:chExt cx="0" cy="0"/>
        </a:xfrm>
      </p:grpSpPr>
      <p:grpSp>
        <p:nvGrpSpPr>
          <p:cNvPr id="974" name="Google Shape;974;p91"/>
          <p:cNvGrpSpPr/>
          <p:nvPr/>
        </p:nvGrpSpPr>
        <p:grpSpPr>
          <a:xfrm>
            <a:off x="8597070" y="3082746"/>
            <a:ext cx="160049" cy="1210230"/>
            <a:chOff x="8582641" y="8598062"/>
            <a:chExt cx="320100" cy="2420458"/>
          </a:xfrm>
        </p:grpSpPr>
        <p:cxnSp>
          <p:nvCxnSpPr>
            <p:cNvPr id="975" name="Google Shape;975;p91"/>
            <p:cNvCxnSpPr/>
            <p:nvPr/>
          </p:nvCxnSpPr>
          <p:spPr>
            <a:xfrm rot="10800000">
              <a:off x="8742721" y="8598062"/>
              <a:ext cx="0" cy="2100900"/>
            </a:xfrm>
            <a:prstGeom prst="straightConnector1">
              <a:avLst/>
            </a:prstGeom>
            <a:noFill/>
            <a:ln w="19050" cap="flat" cmpd="sng">
              <a:solidFill>
                <a:schemeClr val="dk2"/>
              </a:solidFill>
              <a:prstDash val="solid"/>
              <a:miter lim="400000"/>
              <a:headEnd type="none" w="sm" len="sm"/>
              <a:tailEnd type="none" w="sm" len="sm"/>
            </a:ln>
          </p:spPr>
        </p:cxnSp>
        <p:sp>
          <p:nvSpPr>
            <p:cNvPr id="976" name="Google Shape;976;p91"/>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977" name="Google Shape;977;p91"/>
          <p:cNvGrpSpPr/>
          <p:nvPr/>
        </p:nvGrpSpPr>
        <p:grpSpPr>
          <a:xfrm rot="10800000" flipH="1">
            <a:off x="6039245" y="2604380"/>
            <a:ext cx="160049" cy="1202669"/>
            <a:chOff x="8582641" y="8613180"/>
            <a:chExt cx="320100" cy="2405340"/>
          </a:xfrm>
        </p:grpSpPr>
        <p:cxnSp>
          <p:nvCxnSpPr>
            <p:cNvPr id="978" name="Google Shape;978;p91"/>
            <p:cNvCxnSpPr/>
            <p:nvPr/>
          </p:nvCxnSpPr>
          <p:spPr>
            <a:xfrm rot="10800000">
              <a:off x="8742721" y="8613180"/>
              <a:ext cx="0" cy="2085300"/>
            </a:xfrm>
            <a:prstGeom prst="straightConnector1">
              <a:avLst/>
            </a:prstGeom>
            <a:noFill/>
            <a:ln w="19050" cap="flat" cmpd="sng">
              <a:solidFill>
                <a:schemeClr val="dk2"/>
              </a:solidFill>
              <a:prstDash val="solid"/>
              <a:miter lim="400000"/>
              <a:headEnd type="none" w="sm" len="sm"/>
              <a:tailEnd type="none" w="sm" len="sm"/>
            </a:ln>
          </p:spPr>
        </p:cxnSp>
        <p:sp>
          <p:nvSpPr>
            <p:cNvPr id="979" name="Google Shape;979;p91"/>
            <p:cNvSpPr/>
            <p:nvPr/>
          </p:nvSpPr>
          <p:spPr>
            <a:xfrm rot="10800000">
              <a:off x="8582641" y="10698420"/>
              <a:ext cx="320100" cy="32010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980" name="Google Shape;980;p91"/>
          <p:cNvGrpSpPr/>
          <p:nvPr/>
        </p:nvGrpSpPr>
        <p:grpSpPr>
          <a:xfrm>
            <a:off x="3454418" y="3082746"/>
            <a:ext cx="160020" cy="1210230"/>
            <a:chOff x="8582701" y="8598062"/>
            <a:chExt cx="320040" cy="2420458"/>
          </a:xfrm>
        </p:grpSpPr>
        <p:cxnSp>
          <p:nvCxnSpPr>
            <p:cNvPr id="981" name="Google Shape;981;p91"/>
            <p:cNvCxnSpPr/>
            <p:nvPr/>
          </p:nvCxnSpPr>
          <p:spPr>
            <a:xfrm rot="10800000">
              <a:off x="8742721" y="8598062"/>
              <a:ext cx="0" cy="2100900"/>
            </a:xfrm>
            <a:prstGeom prst="straightConnector1">
              <a:avLst/>
            </a:prstGeom>
            <a:noFill/>
            <a:ln w="19050" cap="flat" cmpd="sng">
              <a:solidFill>
                <a:schemeClr val="dk2"/>
              </a:solidFill>
              <a:prstDash val="solid"/>
              <a:miter lim="400000"/>
              <a:headEnd type="none" w="sm" len="sm"/>
              <a:tailEnd type="none" w="sm" len="sm"/>
            </a:ln>
          </p:spPr>
        </p:cxnSp>
        <p:sp>
          <p:nvSpPr>
            <p:cNvPr id="982" name="Google Shape;982;p91"/>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983" name="Google Shape;983;p91"/>
          <p:cNvGrpSpPr/>
          <p:nvPr/>
        </p:nvGrpSpPr>
        <p:grpSpPr>
          <a:xfrm>
            <a:off x="963086" y="1467724"/>
            <a:ext cx="342900" cy="1908811"/>
            <a:chOff x="1880937" y="2193885"/>
            <a:chExt cx="685800" cy="3817620"/>
          </a:xfrm>
        </p:grpSpPr>
        <p:cxnSp>
          <p:nvCxnSpPr>
            <p:cNvPr id="984" name="Google Shape;984;p91"/>
            <p:cNvCxnSpPr/>
            <p:nvPr/>
          </p:nvCxnSpPr>
          <p:spPr>
            <a:xfrm rot="5400000">
              <a:off x="76200" y="4182705"/>
              <a:ext cx="3657600" cy="0"/>
            </a:xfrm>
            <a:prstGeom prst="straightConnector1">
              <a:avLst/>
            </a:prstGeom>
            <a:noFill/>
            <a:ln w="19050" cap="flat" cmpd="sng">
              <a:solidFill>
                <a:schemeClr val="dk2"/>
              </a:solidFill>
              <a:prstDash val="solid"/>
              <a:miter lim="400000"/>
              <a:headEnd type="none" w="sm" len="sm"/>
              <a:tailEnd type="none" w="sm" len="sm"/>
            </a:ln>
          </p:spPr>
        </p:cxnSp>
        <p:sp>
          <p:nvSpPr>
            <p:cNvPr id="985" name="Google Shape;985;p91"/>
            <p:cNvSpPr/>
            <p:nvPr/>
          </p:nvSpPr>
          <p:spPr>
            <a:xfrm>
              <a:off x="2246697" y="2193885"/>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cxnSp>
          <p:nvCxnSpPr>
            <p:cNvPr id="986" name="Google Shape;986;p91"/>
            <p:cNvCxnSpPr/>
            <p:nvPr/>
          </p:nvCxnSpPr>
          <p:spPr>
            <a:xfrm rot="10800000">
              <a:off x="1880937" y="2355483"/>
              <a:ext cx="365760" cy="0"/>
            </a:xfrm>
            <a:prstGeom prst="straightConnector1">
              <a:avLst/>
            </a:prstGeom>
            <a:noFill/>
            <a:ln w="19050" cap="flat" cmpd="sng">
              <a:solidFill>
                <a:schemeClr val="dk2"/>
              </a:solidFill>
              <a:prstDash val="solid"/>
              <a:miter lim="400000"/>
              <a:headEnd type="none" w="sm" len="sm"/>
              <a:tailEnd type="none" w="sm" len="sm"/>
            </a:ln>
          </p:spPr>
        </p:cxnSp>
      </p:grpSp>
      <p:cxnSp>
        <p:nvCxnSpPr>
          <p:cNvPr id="987" name="Google Shape;987;p91"/>
          <p:cNvCxnSpPr/>
          <p:nvPr/>
        </p:nvCxnSpPr>
        <p:spPr>
          <a:xfrm>
            <a:off x="963084" y="3482795"/>
            <a:ext cx="10286800" cy="0"/>
          </a:xfrm>
          <a:prstGeom prst="straightConnector1">
            <a:avLst/>
          </a:prstGeom>
          <a:noFill/>
          <a:ln w="19050" cap="flat" cmpd="sng">
            <a:solidFill>
              <a:schemeClr val="dk2"/>
            </a:solidFill>
            <a:prstDash val="solid"/>
            <a:miter lim="400000"/>
            <a:headEnd type="none" w="sm" len="sm"/>
            <a:tailEnd type="none" w="sm" len="sm"/>
          </a:ln>
        </p:spPr>
      </p:cxnSp>
      <p:sp>
        <p:nvSpPr>
          <p:cNvPr id="988" name="Google Shape;988;p91"/>
          <p:cNvSpPr/>
          <p:nvPr/>
        </p:nvSpPr>
        <p:spPr>
          <a:xfrm>
            <a:off x="3171027" y="3082745"/>
            <a:ext cx="726800" cy="7316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989" name="Google Shape;989;p91"/>
          <p:cNvSpPr/>
          <p:nvPr/>
        </p:nvSpPr>
        <p:spPr>
          <a:xfrm>
            <a:off x="5742355" y="3082745"/>
            <a:ext cx="726800" cy="7316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990" name="Google Shape;990;p91"/>
          <p:cNvSpPr/>
          <p:nvPr/>
        </p:nvSpPr>
        <p:spPr>
          <a:xfrm>
            <a:off x="8313679" y="3082745"/>
            <a:ext cx="726800" cy="731600"/>
          </a:xfrm>
          <a:prstGeom prst="ellipse">
            <a:avLst/>
          </a:prstGeom>
          <a:solidFill>
            <a:srgbClr val="090C0F"/>
          </a:solidFill>
          <a:ln w="19050" cap="flat" cmpd="sng">
            <a:solidFill>
              <a:schemeClr val="accent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nvGrpSpPr>
          <p:cNvPr id="991" name="Google Shape;991;p91"/>
          <p:cNvGrpSpPr/>
          <p:nvPr/>
        </p:nvGrpSpPr>
        <p:grpSpPr>
          <a:xfrm flipH="1">
            <a:off x="10918614" y="1467724"/>
            <a:ext cx="342900" cy="1908811"/>
            <a:chOff x="1880937" y="2193885"/>
            <a:chExt cx="685800" cy="3817620"/>
          </a:xfrm>
        </p:grpSpPr>
        <p:cxnSp>
          <p:nvCxnSpPr>
            <p:cNvPr id="992" name="Google Shape;992;p91"/>
            <p:cNvCxnSpPr/>
            <p:nvPr/>
          </p:nvCxnSpPr>
          <p:spPr>
            <a:xfrm rot="5400000">
              <a:off x="76200" y="4182705"/>
              <a:ext cx="3657600" cy="0"/>
            </a:xfrm>
            <a:prstGeom prst="straightConnector1">
              <a:avLst/>
            </a:prstGeom>
            <a:noFill/>
            <a:ln w="19050" cap="flat" cmpd="sng">
              <a:solidFill>
                <a:schemeClr val="dk2"/>
              </a:solidFill>
              <a:prstDash val="solid"/>
              <a:miter lim="400000"/>
              <a:headEnd type="none" w="sm" len="sm"/>
              <a:tailEnd type="none" w="sm" len="sm"/>
            </a:ln>
          </p:spPr>
        </p:cxnSp>
        <p:sp>
          <p:nvSpPr>
            <p:cNvPr id="993" name="Google Shape;993;p91"/>
            <p:cNvSpPr/>
            <p:nvPr/>
          </p:nvSpPr>
          <p:spPr>
            <a:xfrm>
              <a:off x="2246697" y="2193885"/>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cxnSp>
          <p:nvCxnSpPr>
            <p:cNvPr id="994" name="Google Shape;994;p91"/>
            <p:cNvCxnSpPr/>
            <p:nvPr/>
          </p:nvCxnSpPr>
          <p:spPr>
            <a:xfrm rot="10800000">
              <a:off x="1880937" y="2355483"/>
              <a:ext cx="365760" cy="0"/>
            </a:xfrm>
            <a:prstGeom prst="straightConnector1">
              <a:avLst/>
            </a:prstGeom>
            <a:noFill/>
            <a:ln w="19050" cap="flat" cmpd="sng">
              <a:solidFill>
                <a:schemeClr val="dk2"/>
              </a:solidFill>
              <a:prstDash val="solid"/>
              <a:miter lim="400000"/>
              <a:headEnd type="none" w="sm" len="sm"/>
              <a:tailEnd type="none" w="sm" len="sm"/>
            </a:ln>
          </p:spPr>
        </p:cxnSp>
      </p:grpSp>
      <p:sp>
        <p:nvSpPr>
          <p:cNvPr id="995" name="Google Shape;995;p91"/>
          <p:cNvSpPr/>
          <p:nvPr/>
        </p:nvSpPr>
        <p:spPr>
          <a:xfrm>
            <a:off x="580179" y="3082745"/>
            <a:ext cx="7268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996" name="Google Shape;996;p91"/>
          <p:cNvSpPr/>
          <p:nvPr/>
        </p:nvSpPr>
        <p:spPr>
          <a:xfrm>
            <a:off x="10885024" y="3082745"/>
            <a:ext cx="726800" cy="731600"/>
          </a:xfrm>
          <a:prstGeom prst="ellipse">
            <a:avLst/>
          </a:prstGeom>
          <a:solidFill>
            <a:srgbClr val="090C0F"/>
          </a:solidFill>
          <a:ln w="19050" cap="flat" cmpd="sng">
            <a:solidFill>
              <a:schemeClr val="accent5"/>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997" name="Google Shape;997;p91"/>
          <p:cNvSpPr txBox="1">
            <a:spLocks noGrp="1"/>
          </p:cNvSpPr>
          <p:nvPr>
            <p:ph type="subTitle" idx="1"/>
          </p:nvPr>
        </p:nvSpPr>
        <p:spPr>
          <a:xfrm>
            <a:off x="1392917" y="1464401"/>
            <a:ext cx="2867600" cy="329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998" name="Google Shape;998;p91"/>
          <p:cNvSpPr txBox="1">
            <a:spLocks noGrp="1"/>
          </p:cNvSpPr>
          <p:nvPr>
            <p:ph type="subTitle" idx="2"/>
          </p:nvPr>
        </p:nvSpPr>
        <p:spPr>
          <a:xfrm>
            <a:off x="1392920" y="1065426"/>
            <a:ext cx="28676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999" name="Google Shape;999;p91"/>
          <p:cNvSpPr txBox="1">
            <a:spLocks noGrp="1"/>
          </p:cNvSpPr>
          <p:nvPr>
            <p:ph type="subTitle" idx="3"/>
          </p:nvPr>
        </p:nvSpPr>
        <p:spPr>
          <a:xfrm>
            <a:off x="4671951" y="1464401"/>
            <a:ext cx="2867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00" name="Google Shape;1000;p91"/>
          <p:cNvSpPr txBox="1">
            <a:spLocks noGrp="1"/>
          </p:cNvSpPr>
          <p:nvPr>
            <p:ph type="subTitle" idx="4"/>
          </p:nvPr>
        </p:nvSpPr>
        <p:spPr>
          <a:xfrm>
            <a:off x="4671953" y="1065426"/>
            <a:ext cx="2867600" cy="5976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01" name="Google Shape;1001;p91"/>
          <p:cNvSpPr txBox="1">
            <a:spLocks noGrp="1"/>
          </p:cNvSpPr>
          <p:nvPr>
            <p:ph type="subTitle" idx="5"/>
          </p:nvPr>
        </p:nvSpPr>
        <p:spPr>
          <a:xfrm>
            <a:off x="7950984" y="1464401"/>
            <a:ext cx="2867600" cy="3292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02" name="Google Shape;1002;p91"/>
          <p:cNvSpPr txBox="1">
            <a:spLocks noGrp="1"/>
          </p:cNvSpPr>
          <p:nvPr>
            <p:ph type="subTitle" idx="6"/>
          </p:nvPr>
        </p:nvSpPr>
        <p:spPr>
          <a:xfrm>
            <a:off x="7950987" y="1065426"/>
            <a:ext cx="28676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03" name="Google Shape;1003;p91"/>
          <p:cNvSpPr txBox="1">
            <a:spLocks noGrp="1"/>
          </p:cNvSpPr>
          <p:nvPr>
            <p:ph type="subTitle" idx="7"/>
          </p:nvPr>
        </p:nvSpPr>
        <p:spPr>
          <a:xfrm>
            <a:off x="2100633" y="4752167"/>
            <a:ext cx="2867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04" name="Google Shape;1004;p91"/>
          <p:cNvSpPr txBox="1">
            <a:spLocks noGrp="1"/>
          </p:cNvSpPr>
          <p:nvPr>
            <p:ph type="subTitle" idx="8"/>
          </p:nvPr>
        </p:nvSpPr>
        <p:spPr>
          <a:xfrm>
            <a:off x="2100637" y="4353192"/>
            <a:ext cx="2867600" cy="5976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05" name="Google Shape;1005;p91"/>
          <p:cNvSpPr txBox="1">
            <a:spLocks noGrp="1"/>
          </p:cNvSpPr>
          <p:nvPr>
            <p:ph type="subTitle" idx="9"/>
          </p:nvPr>
        </p:nvSpPr>
        <p:spPr>
          <a:xfrm>
            <a:off x="7243251" y="4752167"/>
            <a:ext cx="2867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06" name="Google Shape;1006;p91"/>
          <p:cNvSpPr txBox="1">
            <a:spLocks noGrp="1"/>
          </p:cNvSpPr>
          <p:nvPr>
            <p:ph type="subTitle" idx="13"/>
          </p:nvPr>
        </p:nvSpPr>
        <p:spPr>
          <a:xfrm>
            <a:off x="7243253" y="4353192"/>
            <a:ext cx="2867600" cy="5976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07" name="Google Shape;1007;p91"/>
          <p:cNvSpPr>
            <a:spLocks noGrp="1"/>
          </p:cNvSpPr>
          <p:nvPr>
            <p:ph type="pic" idx="14"/>
          </p:nvPr>
        </p:nvSpPr>
        <p:spPr>
          <a:xfrm>
            <a:off x="728756" y="3216305"/>
            <a:ext cx="426720" cy="426720"/>
          </a:xfrm>
          <a:prstGeom prst="rect">
            <a:avLst/>
          </a:prstGeom>
          <a:noFill/>
          <a:ln>
            <a:noFill/>
          </a:ln>
        </p:spPr>
      </p:sp>
      <p:sp>
        <p:nvSpPr>
          <p:cNvPr id="1008" name="Google Shape;1008;p91"/>
          <p:cNvSpPr>
            <a:spLocks noGrp="1"/>
          </p:cNvSpPr>
          <p:nvPr>
            <p:ph type="pic" idx="15"/>
          </p:nvPr>
        </p:nvSpPr>
        <p:spPr>
          <a:xfrm>
            <a:off x="3324575" y="3235185"/>
            <a:ext cx="426720" cy="426720"/>
          </a:xfrm>
          <a:prstGeom prst="rect">
            <a:avLst/>
          </a:prstGeom>
          <a:noFill/>
          <a:ln>
            <a:noFill/>
          </a:ln>
        </p:spPr>
      </p:sp>
      <p:sp>
        <p:nvSpPr>
          <p:cNvPr id="1009" name="Google Shape;1009;p91"/>
          <p:cNvSpPr>
            <a:spLocks noGrp="1"/>
          </p:cNvSpPr>
          <p:nvPr>
            <p:ph type="pic" idx="16"/>
          </p:nvPr>
        </p:nvSpPr>
        <p:spPr>
          <a:xfrm>
            <a:off x="5904439" y="3235185"/>
            <a:ext cx="426720" cy="426720"/>
          </a:xfrm>
          <a:prstGeom prst="rect">
            <a:avLst/>
          </a:prstGeom>
          <a:noFill/>
          <a:ln>
            <a:noFill/>
          </a:ln>
        </p:spPr>
      </p:sp>
      <p:sp>
        <p:nvSpPr>
          <p:cNvPr id="1010" name="Google Shape;1010;p91"/>
          <p:cNvSpPr>
            <a:spLocks noGrp="1"/>
          </p:cNvSpPr>
          <p:nvPr>
            <p:ph type="pic" idx="17"/>
          </p:nvPr>
        </p:nvSpPr>
        <p:spPr>
          <a:xfrm>
            <a:off x="8468741" y="3235185"/>
            <a:ext cx="426720" cy="426720"/>
          </a:xfrm>
          <a:prstGeom prst="rect">
            <a:avLst/>
          </a:prstGeom>
          <a:noFill/>
          <a:ln>
            <a:noFill/>
          </a:ln>
        </p:spPr>
      </p:sp>
      <p:sp>
        <p:nvSpPr>
          <p:cNvPr id="1011" name="Google Shape;1011;p91"/>
          <p:cNvSpPr>
            <a:spLocks noGrp="1"/>
          </p:cNvSpPr>
          <p:nvPr>
            <p:ph type="pic" idx="18"/>
          </p:nvPr>
        </p:nvSpPr>
        <p:spPr>
          <a:xfrm>
            <a:off x="11032065" y="3235185"/>
            <a:ext cx="426720" cy="426720"/>
          </a:xfrm>
          <a:prstGeom prst="rect">
            <a:avLst/>
          </a:prstGeom>
          <a:noFill/>
          <a:ln>
            <a:noFill/>
          </a:ln>
        </p:spPr>
      </p:sp>
    </p:spTree>
    <p:extLst>
      <p:ext uri="{BB962C8B-B14F-4D97-AF65-F5344CB8AC3E}">
        <p14:creationId xmlns:p14="http://schemas.microsoft.com/office/powerpoint/2010/main" val="2748053173"/>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matchingName="87. Six dates horizontal timeline">
  <p:cSld name="87. Six dates horizontal timeline">
    <p:spTree>
      <p:nvGrpSpPr>
        <p:cNvPr id="1" name="Shape 1012"/>
        <p:cNvGrpSpPr/>
        <p:nvPr/>
      </p:nvGrpSpPr>
      <p:grpSpPr>
        <a:xfrm>
          <a:off x="0" y="0"/>
          <a:ext cx="0" cy="0"/>
          <a:chOff x="0" y="0"/>
          <a:chExt cx="0" cy="0"/>
        </a:xfrm>
      </p:grpSpPr>
      <p:grpSp>
        <p:nvGrpSpPr>
          <p:cNvPr id="1013" name="Google Shape;1013;p92"/>
          <p:cNvGrpSpPr/>
          <p:nvPr/>
        </p:nvGrpSpPr>
        <p:grpSpPr>
          <a:xfrm>
            <a:off x="2904135" y="3146666"/>
            <a:ext cx="160020" cy="1202742"/>
            <a:chOff x="8582701" y="8613035"/>
            <a:chExt cx="320040" cy="2405485"/>
          </a:xfrm>
        </p:grpSpPr>
        <p:cxnSp>
          <p:nvCxnSpPr>
            <p:cNvPr id="1014" name="Google Shape;1014;p92"/>
            <p:cNvCxnSpPr/>
            <p:nvPr/>
          </p:nvCxnSpPr>
          <p:spPr>
            <a:xfrm rot="10800000">
              <a:off x="8742721" y="8613035"/>
              <a:ext cx="0" cy="2085445"/>
            </a:xfrm>
            <a:prstGeom prst="straightConnector1">
              <a:avLst/>
            </a:prstGeom>
            <a:noFill/>
            <a:ln w="19050" cap="flat" cmpd="sng">
              <a:solidFill>
                <a:schemeClr val="dk2"/>
              </a:solidFill>
              <a:prstDash val="solid"/>
              <a:miter lim="400000"/>
              <a:headEnd type="none" w="sm" len="sm"/>
              <a:tailEnd type="none" w="sm" len="sm"/>
            </a:ln>
          </p:spPr>
        </p:cxnSp>
        <p:sp>
          <p:nvSpPr>
            <p:cNvPr id="1015" name="Google Shape;1015;p92"/>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cxnSp>
        <p:nvCxnSpPr>
          <p:cNvPr id="1016" name="Google Shape;1016;p92"/>
          <p:cNvCxnSpPr/>
          <p:nvPr/>
        </p:nvCxnSpPr>
        <p:spPr>
          <a:xfrm>
            <a:off x="952500" y="3429187"/>
            <a:ext cx="10286800" cy="0"/>
          </a:xfrm>
          <a:prstGeom prst="straightConnector1">
            <a:avLst/>
          </a:prstGeom>
          <a:noFill/>
          <a:ln w="19050" cap="flat" cmpd="sng">
            <a:solidFill>
              <a:schemeClr val="dk2"/>
            </a:solidFill>
            <a:prstDash val="solid"/>
            <a:miter lim="400000"/>
            <a:headEnd type="none" w="sm" len="sm"/>
            <a:tailEnd type="none" w="sm" len="sm"/>
          </a:ln>
        </p:spPr>
      </p:cxnSp>
      <p:sp>
        <p:nvSpPr>
          <p:cNvPr id="1017" name="Google Shape;1017;p92"/>
          <p:cNvSpPr/>
          <p:nvPr/>
        </p:nvSpPr>
        <p:spPr>
          <a:xfrm>
            <a:off x="2624531" y="3063305"/>
            <a:ext cx="726800" cy="7316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nvGrpSpPr>
          <p:cNvPr id="1018" name="Google Shape;1018;p92"/>
          <p:cNvGrpSpPr/>
          <p:nvPr/>
        </p:nvGrpSpPr>
        <p:grpSpPr>
          <a:xfrm rot="10800000" flipH="1">
            <a:off x="9075791" y="2553979"/>
            <a:ext cx="160020" cy="1202742"/>
            <a:chOff x="8582701" y="8613035"/>
            <a:chExt cx="320040" cy="2405485"/>
          </a:xfrm>
        </p:grpSpPr>
        <p:cxnSp>
          <p:nvCxnSpPr>
            <p:cNvPr id="1019" name="Google Shape;1019;p92"/>
            <p:cNvCxnSpPr/>
            <p:nvPr/>
          </p:nvCxnSpPr>
          <p:spPr>
            <a:xfrm rot="10800000">
              <a:off x="8742721" y="8613035"/>
              <a:ext cx="0" cy="2085445"/>
            </a:xfrm>
            <a:prstGeom prst="straightConnector1">
              <a:avLst/>
            </a:prstGeom>
            <a:noFill/>
            <a:ln w="19050" cap="flat" cmpd="sng">
              <a:solidFill>
                <a:schemeClr val="dk2"/>
              </a:solidFill>
              <a:prstDash val="solid"/>
              <a:miter lim="400000"/>
              <a:headEnd type="none" w="sm" len="sm"/>
              <a:tailEnd type="none" w="sm" len="sm"/>
            </a:ln>
          </p:spPr>
        </p:cxnSp>
        <p:sp>
          <p:nvSpPr>
            <p:cNvPr id="1020" name="Google Shape;1020;p92"/>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sp>
        <p:nvSpPr>
          <p:cNvPr id="1021" name="Google Shape;1021;p92"/>
          <p:cNvSpPr/>
          <p:nvPr/>
        </p:nvSpPr>
        <p:spPr>
          <a:xfrm>
            <a:off x="8792339" y="3063305"/>
            <a:ext cx="726800" cy="731600"/>
          </a:xfrm>
          <a:prstGeom prst="ellipse">
            <a:avLst/>
          </a:prstGeom>
          <a:solidFill>
            <a:srgbClr val="090C0F"/>
          </a:solidFill>
          <a:ln w="19050" cap="flat" cmpd="sng">
            <a:solidFill>
              <a:schemeClr val="accent5"/>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nvGrpSpPr>
          <p:cNvPr id="1022" name="Google Shape;1022;p92"/>
          <p:cNvGrpSpPr/>
          <p:nvPr/>
        </p:nvGrpSpPr>
        <p:grpSpPr>
          <a:xfrm>
            <a:off x="7027617" y="3120452"/>
            <a:ext cx="160020" cy="1202742"/>
            <a:chOff x="8582701" y="8613035"/>
            <a:chExt cx="320040" cy="2405485"/>
          </a:xfrm>
        </p:grpSpPr>
        <p:cxnSp>
          <p:nvCxnSpPr>
            <p:cNvPr id="1023" name="Google Shape;1023;p92"/>
            <p:cNvCxnSpPr/>
            <p:nvPr/>
          </p:nvCxnSpPr>
          <p:spPr>
            <a:xfrm rot="10800000">
              <a:off x="8742721" y="8613035"/>
              <a:ext cx="0" cy="2085445"/>
            </a:xfrm>
            <a:prstGeom prst="straightConnector1">
              <a:avLst/>
            </a:prstGeom>
            <a:noFill/>
            <a:ln w="19050" cap="flat" cmpd="sng">
              <a:solidFill>
                <a:schemeClr val="dk2"/>
              </a:solidFill>
              <a:prstDash val="solid"/>
              <a:miter lim="400000"/>
              <a:headEnd type="none" w="sm" len="sm"/>
              <a:tailEnd type="none" w="sm" len="sm"/>
            </a:ln>
          </p:spPr>
        </p:cxnSp>
        <p:sp>
          <p:nvSpPr>
            <p:cNvPr id="1024" name="Google Shape;1024;p92"/>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sp>
        <p:nvSpPr>
          <p:cNvPr id="1025" name="Google Shape;1025;p92"/>
          <p:cNvSpPr/>
          <p:nvPr/>
        </p:nvSpPr>
        <p:spPr>
          <a:xfrm>
            <a:off x="6736403" y="3063305"/>
            <a:ext cx="726800" cy="731600"/>
          </a:xfrm>
          <a:prstGeom prst="ellipse">
            <a:avLst/>
          </a:prstGeom>
          <a:solidFill>
            <a:srgbClr val="090C0F"/>
          </a:solidFill>
          <a:ln w="19050" cap="flat" cmpd="sng">
            <a:solidFill>
              <a:schemeClr val="accent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nvGrpSpPr>
          <p:cNvPr id="1026" name="Google Shape;1026;p92"/>
          <p:cNvGrpSpPr/>
          <p:nvPr/>
        </p:nvGrpSpPr>
        <p:grpSpPr>
          <a:xfrm rot="10800000" flipH="1">
            <a:off x="4963833" y="2527765"/>
            <a:ext cx="160020" cy="1202742"/>
            <a:chOff x="8582701" y="8613035"/>
            <a:chExt cx="320040" cy="2405485"/>
          </a:xfrm>
        </p:grpSpPr>
        <p:cxnSp>
          <p:nvCxnSpPr>
            <p:cNvPr id="1027" name="Google Shape;1027;p92"/>
            <p:cNvCxnSpPr/>
            <p:nvPr/>
          </p:nvCxnSpPr>
          <p:spPr>
            <a:xfrm rot="10800000">
              <a:off x="8742721" y="8613035"/>
              <a:ext cx="0" cy="2085445"/>
            </a:xfrm>
            <a:prstGeom prst="straightConnector1">
              <a:avLst/>
            </a:prstGeom>
            <a:noFill/>
            <a:ln w="19050" cap="flat" cmpd="sng">
              <a:solidFill>
                <a:schemeClr val="dk2"/>
              </a:solidFill>
              <a:prstDash val="solid"/>
              <a:miter lim="400000"/>
              <a:headEnd type="none" w="sm" len="sm"/>
              <a:tailEnd type="none" w="sm" len="sm"/>
            </a:ln>
          </p:spPr>
        </p:cxnSp>
        <p:sp>
          <p:nvSpPr>
            <p:cNvPr id="1028" name="Google Shape;1028;p92"/>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sp>
        <p:nvSpPr>
          <p:cNvPr id="1029" name="Google Shape;1029;p92"/>
          <p:cNvSpPr/>
          <p:nvPr/>
        </p:nvSpPr>
        <p:spPr>
          <a:xfrm>
            <a:off x="4680467" y="3063305"/>
            <a:ext cx="726800" cy="7316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nvGrpSpPr>
          <p:cNvPr id="1030" name="Google Shape;1030;p92"/>
          <p:cNvGrpSpPr/>
          <p:nvPr/>
        </p:nvGrpSpPr>
        <p:grpSpPr>
          <a:xfrm>
            <a:off x="952502" y="1417324"/>
            <a:ext cx="342900" cy="1908811"/>
            <a:chOff x="1880937" y="2193885"/>
            <a:chExt cx="685800" cy="3817620"/>
          </a:xfrm>
        </p:grpSpPr>
        <p:cxnSp>
          <p:nvCxnSpPr>
            <p:cNvPr id="1031" name="Google Shape;1031;p92"/>
            <p:cNvCxnSpPr/>
            <p:nvPr/>
          </p:nvCxnSpPr>
          <p:spPr>
            <a:xfrm rot="5400000">
              <a:off x="76200" y="4182705"/>
              <a:ext cx="3657600" cy="0"/>
            </a:xfrm>
            <a:prstGeom prst="straightConnector1">
              <a:avLst/>
            </a:prstGeom>
            <a:noFill/>
            <a:ln w="19050" cap="flat" cmpd="sng">
              <a:solidFill>
                <a:schemeClr val="dk2"/>
              </a:solidFill>
              <a:prstDash val="solid"/>
              <a:miter lim="400000"/>
              <a:headEnd type="none" w="sm" len="sm"/>
              <a:tailEnd type="none" w="sm" len="sm"/>
            </a:ln>
          </p:spPr>
        </p:cxnSp>
        <p:sp>
          <p:nvSpPr>
            <p:cNvPr id="1032" name="Google Shape;1032;p92"/>
            <p:cNvSpPr/>
            <p:nvPr/>
          </p:nvSpPr>
          <p:spPr>
            <a:xfrm>
              <a:off x="2246697" y="2193885"/>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cxnSp>
          <p:nvCxnSpPr>
            <p:cNvPr id="1033" name="Google Shape;1033;p92"/>
            <p:cNvCxnSpPr/>
            <p:nvPr/>
          </p:nvCxnSpPr>
          <p:spPr>
            <a:xfrm rot="10800000">
              <a:off x="1880937" y="2355483"/>
              <a:ext cx="365760" cy="0"/>
            </a:xfrm>
            <a:prstGeom prst="straightConnector1">
              <a:avLst/>
            </a:prstGeom>
            <a:noFill/>
            <a:ln w="19050" cap="flat" cmpd="sng">
              <a:solidFill>
                <a:schemeClr val="dk2"/>
              </a:solidFill>
              <a:prstDash val="solid"/>
              <a:miter lim="400000"/>
              <a:headEnd type="none" w="sm" len="sm"/>
              <a:tailEnd type="none" w="sm" len="sm"/>
            </a:ln>
          </p:spPr>
        </p:cxnSp>
      </p:grpSp>
      <p:sp>
        <p:nvSpPr>
          <p:cNvPr id="1034" name="Google Shape;1034;p92"/>
          <p:cNvSpPr/>
          <p:nvPr/>
        </p:nvSpPr>
        <p:spPr>
          <a:xfrm>
            <a:off x="568595" y="3063305"/>
            <a:ext cx="7268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nvGrpSpPr>
          <p:cNvPr id="1035" name="Google Shape;1035;p92"/>
          <p:cNvGrpSpPr/>
          <p:nvPr/>
        </p:nvGrpSpPr>
        <p:grpSpPr>
          <a:xfrm rot="10800000">
            <a:off x="10920665" y="3445660"/>
            <a:ext cx="342900" cy="2010982"/>
            <a:chOff x="1880937" y="2193885"/>
            <a:chExt cx="685800" cy="4021962"/>
          </a:xfrm>
        </p:grpSpPr>
        <p:cxnSp>
          <p:nvCxnSpPr>
            <p:cNvPr id="1036" name="Google Shape;1036;p92"/>
            <p:cNvCxnSpPr/>
            <p:nvPr/>
          </p:nvCxnSpPr>
          <p:spPr>
            <a:xfrm>
              <a:off x="1905000" y="2353905"/>
              <a:ext cx="0" cy="3861942"/>
            </a:xfrm>
            <a:prstGeom prst="straightConnector1">
              <a:avLst/>
            </a:prstGeom>
            <a:noFill/>
            <a:ln w="19050" cap="flat" cmpd="sng">
              <a:solidFill>
                <a:schemeClr val="dk2"/>
              </a:solidFill>
              <a:prstDash val="solid"/>
              <a:miter lim="400000"/>
              <a:headEnd type="none" w="sm" len="sm"/>
              <a:tailEnd type="none" w="sm" len="sm"/>
            </a:ln>
          </p:spPr>
        </p:cxnSp>
        <p:sp>
          <p:nvSpPr>
            <p:cNvPr id="1037" name="Google Shape;1037;p92"/>
            <p:cNvSpPr/>
            <p:nvPr/>
          </p:nvSpPr>
          <p:spPr>
            <a:xfrm>
              <a:off x="2246697" y="2193885"/>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cxnSp>
          <p:nvCxnSpPr>
            <p:cNvPr id="1038" name="Google Shape;1038;p92"/>
            <p:cNvCxnSpPr/>
            <p:nvPr/>
          </p:nvCxnSpPr>
          <p:spPr>
            <a:xfrm rot="10800000">
              <a:off x="1880937" y="2355483"/>
              <a:ext cx="365760" cy="0"/>
            </a:xfrm>
            <a:prstGeom prst="straightConnector1">
              <a:avLst/>
            </a:prstGeom>
            <a:noFill/>
            <a:ln w="19050" cap="flat" cmpd="sng">
              <a:solidFill>
                <a:schemeClr val="dk2"/>
              </a:solidFill>
              <a:prstDash val="solid"/>
              <a:miter lim="400000"/>
              <a:headEnd type="none" w="sm" len="sm"/>
              <a:tailEnd type="none" w="sm" len="sm"/>
            </a:ln>
          </p:spPr>
        </p:cxnSp>
      </p:grpSp>
      <p:sp>
        <p:nvSpPr>
          <p:cNvPr id="1039" name="Google Shape;1039;p92"/>
          <p:cNvSpPr/>
          <p:nvPr/>
        </p:nvSpPr>
        <p:spPr>
          <a:xfrm>
            <a:off x="10848275" y="3063305"/>
            <a:ext cx="726800" cy="731600"/>
          </a:xfrm>
          <a:prstGeom prst="ellipse">
            <a:avLst/>
          </a:prstGeom>
          <a:solidFill>
            <a:srgbClr val="090C0F"/>
          </a:solidFill>
          <a:ln w="19050" cap="flat" cmpd="sng">
            <a:solidFill>
              <a:schemeClr val="accent6"/>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040" name="Google Shape;1040;p92"/>
          <p:cNvSpPr txBox="1">
            <a:spLocks noGrp="1"/>
          </p:cNvSpPr>
          <p:nvPr>
            <p:ph type="subTitle" idx="1"/>
          </p:nvPr>
        </p:nvSpPr>
        <p:spPr>
          <a:xfrm>
            <a:off x="1382333" y="1185402"/>
            <a:ext cx="2435600" cy="329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41" name="Google Shape;1041;p92"/>
          <p:cNvSpPr txBox="1">
            <a:spLocks noGrp="1"/>
          </p:cNvSpPr>
          <p:nvPr>
            <p:ph type="subTitle" idx="2"/>
          </p:nvPr>
        </p:nvSpPr>
        <p:spPr>
          <a:xfrm>
            <a:off x="1382337" y="786434"/>
            <a:ext cx="24356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42" name="Google Shape;1042;p92"/>
          <p:cNvSpPr txBox="1">
            <a:spLocks noGrp="1"/>
          </p:cNvSpPr>
          <p:nvPr>
            <p:ph type="subTitle" idx="3"/>
          </p:nvPr>
        </p:nvSpPr>
        <p:spPr>
          <a:xfrm>
            <a:off x="3826051" y="1185402"/>
            <a:ext cx="2435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43" name="Google Shape;1043;p92"/>
          <p:cNvSpPr txBox="1">
            <a:spLocks noGrp="1"/>
          </p:cNvSpPr>
          <p:nvPr>
            <p:ph type="subTitle" idx="4"/>
          </p:nvPr>
        </p:nvSpPr>
        <p:spPr>
          <a:xfrm>
            <a:off x="3826053" y="786434"/>
            <a:ext cx="2435600" cy="5976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44" name="Google Shape;1044;p92"/>
          <p:cNvSpPr txBox="1">
            <a:spLocks noGrp="1"/>
          </p:cNvSpPr>
          <p:nvPr>
            <p:ph type="subTitle" idx="5"/>
          </p:nvPr>
        </p:nvSpPr>
        <p:spPr>
          <a:xfrm>
            <a:off x="7937917" y="1185402"/>
            <a:ext cx="2435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45" name="Google Shape;1045;p92"/>
          <p:cNvSpPr txBox="1">
            <a:spLocks noGrp="1"/>
          </p:cNvSpPr>
          <p:nvPr>
            <p:ph type="subTitle" idx="6"/>
          </p:nvPr>
        </p:nvSpPr>
        <p:spPr>
          <a:xfrm>
            <a:off x="7937920" y="786434"/>
            <a:ext cx="2435600" cy="5976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46" name="Google Shape;1046;p92"/>
          <p:cNvSpPr txBox="1">
            <a:spLocks noGrp="1"/>
          </p:cNvSpPr>
          <p:nvPr>
            <p:ph type="subTitle" idx="7"/>
          </p:nvPr>
        </p:nvSpPr>
        <p:spPr>
          <a:xfrm>
            <a:off x="1766500" y="4844736"/>
            <a:ext cx="2435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47" name="Google Shape;1047;p92"/>
          <p:cNvSpPr txBox="1">
            <a:spLocks noGrp="1"/>
          </p:cNvSpPr>
          <p:nvPr>
            <p:ph type="subTitle" idx="8"/>
          </p:nvPr>
        </p:nvSpPr>
        <p:spPr>
          <a:xfrm>
            <a:off x="1766504" y="4445768"/>
            <a:ext cx="2435600" cy="5976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48" name="Google Shape;1048;p92"/>
          <p:cNvSpPr txBox="1">
            <a:spLocks noGrp="1"/>
          </p:cNvSpPr>
          <p:nvPr>
            <p:ph type="subTitle" idx="9"/>
          </p:nvPr>
        </p:nvSpPr>
        <p:spPr>
          <a:xfrm>
            <a:off x="5885633" y="4844736"/>
            <a:ext cx="2435600" cy="329200"/>
          </a:xfrm>
          <a:prstGeom prst="rect">
            <a:avLst/>
          </a:prstGeom>
          <a:noFill/>
          <a:ln>
            <a:noFill/>
          </a:ln>
        </p:spPr>
        <p:txBody>
          <a:bodyPr spcFirstLastPara="1" wrap="square" lIns="91425" tIns="91425" rIns="91425" bIns="91425" anchor="t" anchorCtr="0">
            <a:noAutofit/>
          </a:bodyPr>
          <a:lstStyle>
            <a:lvl1pPr lvl="0" algn="ct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600"/>
              <a:buFont typeface="Arial"/>
              <a:buNone/>
              <a:defRPr sz="2131">
                <a:solidFill>
                  <a:schemeClr val="dk1"/>
                </a:solidFill>
              </a:defRPr>
            </a:lvl2pPr>
            <a:lvl3pPr lvl="2" algn="ctr">
              <a:lnSpc>
                <a:spcPct val="90000"/>
              </a:lnSpc>
              <a:spcBef>
                <a:spcPts val="0"/>
              </a:spcBef>
              <a:spcAft>
                <a:spcPts val="0"/>
              </a:spcAft>
              <a:buClr>
                <a:schemeClr val="dk1"/>
              </a:buClr>
              <a:buSzPts val="1600"/>
              <a:buFont typeface="Arial"/>
              <a:buNone/>
              <a:defRPr sz="2131">
                <a:solidFill>
                  <a:schemeClr val="dk1"/>
                </a:solidFill>
              </a:defRPr>
            </a:lvl3pPr>
            <a:lvl4pPr lvl="3" algn="ctr">
              <a:lnSpc>
                <a:spcPct val="90000"/>
              </a:lnSpc>
              <a:spcBef>
                <a:spcPts val="0"/>
              </a:spcBef>
              <a:spcAft>
                <a:spcPts val="0"/>
              </a:spcAft>
              <a:buClr>
                <a:schemeClr val="dk1"/>
              </a:buClr>
              <a:buSzPts val="1600"/>
              <a:buFont typeface="Arial"/>
              <a:buNone/>
              <a:defRPr sz="2131">
                <a:solidFill>
                  <a:schemeClr val="dk1"/>
                </a:solidFill>
              </a:defRPr>
            </a:lvl4pPr>
            <a:lvl5pPr lvl="4" algn="ctr">
              <a:lnSpc>
                <a:spcPct val="90000"/>
              </a:lnSpc>
              <a:spcBef>
                <a:spcPts val="0"/>
              </a:spcBef>
              <a:spcAft>
                <a:spcPts val="0"/>
              </a:spcAft>
              <a:buClr>
                <a:schemeClr val="dk1"/>
              </a:buClr>
              <a:buSzPts val="1600"/>
              <a:buFont typeface="Arial"/>
              <a:buNone/>
              <a:defRPr sz="2131">
                <a:solidFill>
                  <a:schemeClr val="dk1"/>
                </a:solidFill>
              </a:defRPr>
            </a:lvl5pPr>
            <a:lvl6pPr lvl="5" algn="ctr">
              <a:lnSpc>
                <a:spcPct val="90000"/>
              </a:lnSpc>
              <a:spcBef>
                <a:spcPts val="0"/>
              </a:spcBef>
              <a:spcAft>
                <a:spcPts val="0"/>
              </a:spcAft>
              <a:buClr>
                <a:schemeClr val="dk1"/>
              </a:buClr>
              <a:buSzPts val="1600"/>
              <a:buNone/>
              <a:defRPr sz="2131">
                <a:solidFill>
                  <a:schemeClr val="dk1"/>
                </a:solidFill>
              </a:defRPr>
            </a:lvl6pPr>
            <a:lvl7pPr lvl="6" algn="ctr">
              <a:lnSpc>
                <a:spcPct val="90000"/>
              </a:lnSpc>
              <a:spcBef>
                <a:spcPts val="0"/>
              </a:spcBef>
              <a:spcAft>
                <a:spcPts val="0"/>
              </a:spcAft>
              <a:buClr>
                <a:schemeClr val="dk1"/>
              </a:buClr>
              <a:buSzPts val="1600"/>
              <a:buNone/>
              <a:defRPr sz="2131">
                <a:solidFill>
                  <a:schemeClr val="dk1"/>
                </a:solidFill>
              </a:defRPr>
            </a:lvl7pPr>
            <a:lvl8pPr lvl="7" algn="ctr">
              <a:lnSpc>
                <a:spcPct val="90000"/>
              </a:lnSpc>
              <a:spcBef>
                <a:spcPts val="0"/>
              </a:spcBef>
              <a:spcAft>
                <a:spcPts val="0"/>
              </a:spcAft>
              <a:buClr>
                <a:schemeClr val="dk1"/>
              </a:buClr>
              <a:buSzPts val="1600"/>
              <a:buNone/>
              <a:defRPr sz="2131">
                <a:solidFill>
                  <a:schemeClr val="dk1"/>
                </a:solidFill>
              </a:defRPr>
            </a:lvl8pPr>
            <a:lvl9pPr lvl="8" algn="ct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49" name="Google Shape;1049;p92"/>
          <p:cNvSpPr txBox="1">
            <a:spLocks noGrp="1"/>
          </p:cNvSpPr>
          <p:nvPr>
            <p:ph type="subTitle" idx="13"/>
          </p:nvPr>
        </p:nvSpPr>
        <p:spPr>
          <a:xfrm>
            <a:off x="5885637" y="4445768"/>
            <a:ext cx="2435600" cy="5976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ct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50" name="Google Shape;1050;p92"/>
          <p:cNvSpPr txBox="1">
            <a:spLocks noGrp="1"/>
          </p:cNvSpPr>
          <p:nvPr>
            <p:ph type="subTitle" idx="14"/>
          </p:nvPr>
        </p:nvSpPr>
        <p:spPr>
          <a:xfrm>
            <a:off x="8412651" y="4844736"/>
            <a:ext cx="2435600" cy="3292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51" name="Google Shape;1051;p92"/>
          <p:cNvSpPr txBox="1">
            <a:spLocks noGrp="1"/>
          </p:cNvSpPr>
          <p:nvPr>
            <p:ph type="subTitle" idx="15"/>
          </p:nvPr>
        </p:nvSpPr>
        <p:spPr>
          <a:xfrm>
            <a:off x="8412653" y="4445768"/>
            <a:ext cx="24356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52" name="Google Shape;1052;p92"/>
          <p:cNvSpPr>
            <a:spLocks noGrp="1"/>
          </p:cNvSpPr>
          <p:nvPr>
            <p:ph type="pic" idx="16"/>
          </p:nvPr>
        </p:nvSpPr>
        <p:spPr>
          <a:xfrm>
            <a:off x="728756" y="3216305"/>
            <a:ext cx="426720" cy="426720"/>
          </a:xfrm>
          <a:prstGeom prst="rect">
            <a:avLst/>
          </a:prstGeom>
          <a:noFill/>
          <a:ln>
            <a:noFill/>
          </a:ln>
        </p:spPr>
      </p:sp>
      <p:sp>
        <p:nvSpPr>
          <p:cNvPr id="1053" name="Google Shape;1053;p92"/>
          <p:cNvSpPr>
            <a:spLocks noGrp="1"/>
          </p:cNvSpPr>
          <p:nvPr>
            <p:ph type="pic" idx="17"/>
          </p:nvPr>
        </p:nvSpPr>
        <p:spPr>
          <a:xfrm>
            <a:off x="2767145" y="3223877"/>
            <a:ext cx="426720" cy="426720"/>
          </a:xfrm>
          <a:prstGeom prst="rect">
            <a:avLst/>
          </a:prstGeom>
          <a:noFill/>
          <a:ln>
            <a:noFill/>
          </a:ln>
        </p:spPr>
      </p:sp>
      <p:sp>
        <p:nvSpPr>
          <p:cNvPr id="1054" name="Google Shape;1054;p92"/>
          <p:cNvSpPr>
            <a:spLocks noGrp="1"/>
          </p:cNvSpPr>
          <p:nvPr>
            <p:ph type="pic" idx="18"/>
          </p:nvPr>
        </p:nvSpPr>
        <p:spPr>
          <a:xfrm>
            <a:off x="4822313" y="3223877"/>
            <a:ext cx="426720" cy="426720"/>
          </a:xfrm>
          <a:prstGeom prst="rect">
            <a:avLst/>
          </a:prstGeom>
          <a:noFill/>
          <a:ln>
            <a:noFill/>
          </a:ln>
        </p:spPr>
      </p:sp>
      <p:sp>
        <p:nvSpPr>
          <p:cNvPr id="1055" name="Google Shape;1055;p92"/>
          <p:cNvSpPr>
            <a:spLocks noGrp="1"/>
          </p:cNvSpPr>
          <p:nvPr>
            <p:ph type="pic" idx="19"/>
          </p:nvPr>
        </p:nvSpPr>
        <p:spPr>
          <a:xfrm>
            <a:off x="6879103" y="3209145"/>
            <a:ext cx="426720" cy="426720"/>
          </a:xfrm>
          <a:prstGeom prst="rect">
            <a:avLst/>
          </a:prstGeom>
          <a:noFill/>
          <a:ln>
            <a:noFill/>
          </a:ln>
        </p:spPr>
      </p:sp>
      <p:sp>
        <p:nvSpPr>
          <p:cNvPr id="1056" name="Google Shape;1056;p92"/>
          <p:cNvSpPr>
            <a:spLocks noGrp="1"/>
          </p:cNvSpPr>
          <p:nvPr>
            <p:ph type="pic" idx="20"/>
          </p:nvPr>
        </p:nvSpPr>
        <p:spPr>
          <a:xfrm>
            <a:off x="8937157" y="3209145"/>
            <a:ext cx="426720" cy="426720"/>
          </a:xfrm>
          <a:prstGeom prst="rect">
            <a:avLst/>
          </a:prstGeom>
          <a:noFill/>
          <a:ln>
            <a:noFill/>
          </a:ln>
        </p:spPr>
      </p:sp>
      <p:sp>
        <p:nvSpPr>
          <p:cNvPr id="1057" name="Google Shape;1057;p92"/>
          <p:cNvSpPr>
            <a:spLocks noGrp="1"/>
          </p:cNvSpPr>
          <p:nvPr>
            <p:ph type="pic" idx="21"/>
          </p:nvPr>
        </p:nvSpPr>
        <p:spPr>
          <a:xfrm>
            <a:off x="10991060" y="3223877"/>
            <a:ext cx="426720" cy="426720"/>
          </a:xfrm>
          <a:prstGeom prst="rect">
            <a:avLst/>
          </a:prstGeom>
          <a:noFill/>
          <a:ln>
            <a:noFill/>
          </a:ln>
        </p:spPr>
      </p:sp>
    </p:spTree>
    <p:extLst>
      <p:ext uri="{BB962C8B-B14F-4D97-AF65-F5344CB8AC3E}">
        <p14:creationId xmlns:p14="http://schemas.microsoft.com/office/powerpoint/2010/main" val="1361914634"/>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matchingName="88. Three dates vertical timeline">
  <p:cSld name="88. Three dates vertical timeline">
    <p:spTree>
      <p:nvGrpSpPr>
        <p:cNvPr id="1" name="Shape 1058"/>
        <p:cNvGrpSpPr/>
        <p:nvPr/>
      </p:nvGrpSpPr>
      <p:grpSpPr>
        <a:xfrm>
          <a:off x="0" y="0"/>
          <a:ext cx="0" cy="0"/>
          <a:chOff x="0" y="0"/>
          <a:chExt cx="0" cy="0"/>
        </a:xfrm>
      </p:grpSpPr>
      <p:grpSp>
        <p:nvGrpSpPr>
          <p:cNvPr id="1059" name="Google Shape;1059;p93"/>
          <p:cNvGrpSpPr/>
          <p:nvPr/>
        </p:nvGrpSpPr>
        <p:grpSpPr>
          <a:xfrm rot="-5400000">
            <a:off x="7021429" y="3898237"/>
            <a:ext cx="160020" cy="1993097"/>
            <a:chOff x="8582701" y="7032325"/>
            <a:chExt cx="320040" cy="3986195"/>
          </a:xfrm>
        </p:grpSpPr>
        <p:cxnSp>
          <p:nvCxnSpPr>
            <p:cNvPr id="1060" name="Google Shape;1060;p93"/>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061" name="Google Shape;1061;p93"/>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062" name="Google Shape;1062;p93"/>
          <p:cNvGrpSpPr/>
          <p:nvPr/>
        </p:nvGrpSpPr>
        <p:grpSpPr>
          <a:xfrm rot="5400000" flipH="1">
            <a:off x="5014362" y="1996844"/>
            <a:ext cx="160020" cy="1993097"/>
            <a:chOff x="8582701" y="7032325"/>
            <a:chExt cx="320040" cy="3986195"/>
          </a:xfrm>
        </p:grpSpPr>
        <p:cxnSp>
          <p:nvCxnSpPr>
            <p:cNvPr id="1063" name="Google Shape;1063;p93"/>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064" name="Google Shape;1064;p93"/>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cxnSp>
        <p:nvCxnSpPr>
          <p:cNvPr id="1065" name="Google Shape;1065;p93"/>
          <p:cNvCxnSpPr>
            <a:endCxn id="1066" idx="4"/>
          </p:cNvCxnSpPr>
          <p:nvPr/>
        </p:nvCxnSpPr>
        <p:spPr>
          <a:xfrm>
            <a:off x="6105541" y="67"/>
            <a:ext cx="0" cy="5224362"/>
          </a:xfrm>
          <a:prstGeom prst="straightConnector1">
            <a:avLst/>
          </a:prstGeom>
          <a:noFill/>
          <a:ln w="19050" cap="flat" cmpd="sng">
            <a:solidFill>
              <a:schemeClr val="dk2"/>
            </a:solidFill>
            <a:prstDash val="solid"/>
            <a:miter lim="400000"/>
            <a:headEnd type="none" w="sm" len="sm"/>
            <a:tailEnd type="none" w="sm" len="sm"/>
          </a:ln>
        </p:spPr>
      </p:cxnSp>
      <p:grpSp>
        <p:nvGrpSpPr>
          <p:cNvPr id="1067" name="Google Shape;1067;p93"/>
          <p:cNvGrpSpPr/>
          <p:nvPr/>
        </p:nvGrpSpPr>
        <p:grpSpPr>
          <a:xfrm rot="-5400000">
            <a:off x="7017619" y="95178"/>
            <a:ext cx="160020" cy="1993097"/>
            <a:chOff x="8582701" y="7032325"/>
            <a:chExt cx="320040" cy="3986195"/>
          </a:xfrm>
        </p:grpSpPr>
        <p:cxnSp>
          <p:nvCxnSpPr>
            <p:cNvPr id="1068" name="Google Shape;1068;p93"/>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069" name="Google Shape;1069;p93"/>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sp>
        <p:nvSpPr>
          <p:cNvPr id="1070" name="Google Shape;1070;p93"/>
          <p:cNvSpPr/>
          <p:nvPr/>
        </p:nvSpPr>
        <p:spPr>
          <a:xfrm>
            <a:off x="5739741" y="2591436"/>
            <a:ext cx="731600" cy="731600"/>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066" name="Google Shape;1066;p93"/>
          <p:cNvSpPr/>
          <p:nvPr/>
        </p:nvSpPr>
        <p:spPr>
          <a:xfrm>
            <a:off x="5739741" y="4492829"/>
            <a:ext cx="731600" cy="731600"/>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071" name="Google Shape;1071;p93"/>
          <p:cNvSpPr/>
          <p:nvPr/>
        </p:nvSpPr>
        <p:spPr>
          <a:xfrm>
            <a:off x="5739741" y="690037"/>
            <a:ext cx="7316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072" name="Google Shape;1072;p93"/>
          <p:cNvSpPr txBox="1">
            <a:spLocks noGrp="1"/>
          </p:cNvSpPr>
          <p:nvPr>
            <p:ph type="subTitle" idx="1"/>
          </p:nvPr>
        </p:nvSpPr>
        <p:spPr>
          <a:xfrm>
            <a:off x="8185467" y="819855"/>
            <a:ext cx="3438800" cy="582863"/>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73" name="Google Shape;1073;p93"/>
          <p:cNvSpPr txBox="1">
            <a:spLocks noGrp="1"/>
          </p:cNvSpPr>
          <p:nvPr>
            <p:ph type="subTitle" idx="2"/>
          </p:nvPr>
        </p:nvSpPr>
        <p:spPr>
          <a:xfrm>
            <a:off x="8185467" y="420867"/>
            <a:ext cx="34388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74" name="Google Shape;1074;p93"/>
          <p:cNvSpPr txBox="1">
            <a:spLocks noGrp="1"/>
          </p:cNvSpPr>
          <p:nvPr>
            <p:ph type="subTitle" idx="3"/>
          </p:nvPr>
        </p:nvSpPr>
        <p:spPr>
          <a:xfrm>
            <a:off x="8185467" y="1402719"/>
            <a:ext cx="3438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075" name="Google Shape;1075;p93"/>
          <p:cNvSpPr txBox="1">
            <a:spLocks noGrp="1"/>
          </p:cNvSpPr>
          <p:nvPr>
            <p:ph type="subTitle" idx="4"/>
          </p:nvPr>
        </p:nvSpPr>
        <p:spPr>
          <a:xfrm>
            <a:off x="8185467" y="4631405"/>
            <a:ext cx="3438800" cy="582864"/>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76" name="Google Shape;1076;p93"/>
          <p:cNvSpPr txBox="1">
            <a:spLocks noGrp="1"/>
          </p:cNvSpPr>
          <p:nvPr>
            <p:ph type="subTitle" idx="5"/>
          </p:nvPr>
        </p:nvSpPr>
        <p:spPr>
          <a:xfrm>
            <a:off x="8185467" y="4232419"/>
            <a:ext cx="34388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77" name="Google Shape;1077;p93"/>
          <p:cNvSpPr txBox="1">
            <a:spLocks noGrp="1"/>
          </p:cNvSpPr>
          <p:nvPr>
            <p:ph type="subTitle" idx="6"/>
          </p:nvPr>
        </p:nvSpPr>
        <p:spPr>
          <a:xfrm>
            <a:off x="8185467" y="5214269"/>
            <a:ext cx="3438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078" name="Google Shape;1078;p93"/>
          <p:cNvSpPr txBox="1">
            <a:spLocks noGrp="1"/>
          </p:cNvSpPr>
          <p:nvPr>
            <p:ph type="subTitle" idx="7"/>
          </p:nvPr>
        </p:nvSpPr>
        <p:spPr>
          <a:xfrm>
            <a:off x="534100" y="2619139"/>
            <a:ext cx="3438800" cy="582864"/>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079" name="Google Shape;1079;p93"/>
          <p:cNvSpPr txBox="1">
            <a:spLocks noGrp="1"/>
          </p:cNvSpPr>
          <p:nvPr>
            <p:ph type="subTitle" idx="8"/>
          </p:nvPr>
        </p:nvSpPr>
        <p:spPr>
          <a:xfrm>
            <a:off x="534100" y="2220151"/>
            <a:ext cx="34388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080" name="Google Shape;1080;p93"/>
          <p:cNvSpPr txBox="1">
            <a:spLocks noGrp="1"/>
          </p:cNvSpPr>
          <p:nvPr>
            <p:ph type="subTitle" idx="9"/>
          </p:nvPr>
        </p:nvSpPr>
        <p:spPr>
          <a:xfrm>
            <a:off x="534100" y="3202004"/>
            <a:ext cx="34388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081" name="Google Shape;1081;p93"/>
          <p:cNvSpPr>
            <a:spLocks noGrp="1"/>
          </p:cNvSpPr>
          <p:nvPr>
            <p:ph type="pic" idx="13"/>
          </p:nvPr>
        </p:nvSpPr>
        <p:spPr>
          <a:xfrm>
            <a:off x="5887720" y="842477"/>
            <a:ext cx="426720" cy="426720"/>
          </a:xfrm>
          <a:prstGeom prst="rect">
            <a:avLst/>
          </a:prstGeom>
          <a:noFill/>
          <a:ln>
            <a:noFill/>
          </a:ln>
        </p:spPr>
      </p:sp>
      <p:sp>
        <p:nvSpPr>
          <p:cNvPr id="1082" name="Google Shape;1082;p93"/>
          <p:cNvSpPr>
            <a:spLocks noGrp="1"/>
          </p:cNvSpPr>
          <p:nvPr>
            <p:ph type="pic" idx="14"/>
          </p:nvPr>
        </p:nvSpPr>
        <p:spPr>
          <a:xfrm>
            <a:off x="5887720" y="2756390"/>
            <a:ext cx="426720" cy="426720"/>
          </a:xfrm>
          <a:prstGeom prst="rect">
            <a:avLst/>
          </a:prstGeom>
          <a:noFill/>
          <a:ln>
            <a:noFill/>
          </a:ln>
        </p:spPr>
      </p:sp>
      <p:sp>
        <p:nvSpPr>
          <p:cNvPr id="1083" name="Google Shape;1083;p93"/>
          <p:cNvSpPr>
            <a:spLocks noGrp="1"/>
          </p:cNvSpPr>
          <p:nvPr>
            <p:ph type="pic" idx="15"/>
          </p:nvPr>
        </p:nvSpPr>
        <p:spPr>
          <a:xfrm>
            <a:off x="5891529" y="4673086"/>
            <a:ext cx="426720" cy="426720"/>
          </a:xfrm>
          <a:prstGeom prst="rect">
            <a:avLst/>
          </a:prstGeom>
          <a:noFill/>
          <a:ln>
            <a:noFill/>
          </a:ln>
        </p:spPr>
      </p:sp>
    </p:spTree>
    <p:extLst>
      <p:ext uri="{BB962C8B-B14F-4D97-AF65-F5344CB8AC3E}">
        <p14:creationId xmlns:p14="http://schemas.microsoft.com/office/powerpoint/2010/main" val="2313967210"/>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matchingName="89. Four dates vertical timeline">
  <p:cSld name="89. Four dates vertical timeline">
    <p:spTree>
      <p:nvGrpSpPr>
        <p:cNvPr id="1" name="Shape 1084"/>
        <p:cNvGrpSpPr/>
        <p:nvPr/>
      </p:nvGrpSpPr>
      <p:grpSpPr>
        <a:xfrm>
          <a:off x="0" y="0"/>
          <a:ext cx="0" cy="0"/>
          <a:chOff x="0" y="0"/>
          <a:chExt cx="0" cy="0"/>
        </a:xfrm>
      </p:grpSpPr>
      <p:grpSp>
        <p:nvGrpSpPr>
          <p:cNvPr id="1085" name="Google Shape;1085;p94"/>
          <p:cNvGrpSpPr/>
          <p:nvPr/>
        </p:nvGrpSpPr>
        <p:grpSpPr>
          <a:xfrm rot="5400000" flipH="1">
            <a:off x="5003439" y="4277200"/>
            <a:ext cx="160020" cy="1993097"/>
            <a:chOff x="8582701" y="7032325"/>
            <a:chExt cx="320040" cy="3986195"/>
          </a:xfrm>
        </p:grpSpPr>
        <p:cxnSp>
          <p:nvCxnSpPr>
            <p:cNvPr id="1086" name="Google Shape;1086;p94"/>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087" name="Google Shape;1087;p94"/>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088" name="Google Shape;1088;p94"/>
          <p:cNvGrpSpPr/>
          <p:nvPr/>
        </p:nvGrpSpPr>
        <p:grpSpPr>
          <a:xfrm rot="5400000" flipH="1">
            <a:off x="5014362" y="1220672"/>
            <a:ext cx="160020" cy="1993097"/>
            <a:chOff x="8582701" y="7032325"/>
            <a:chExt cx="320040" cy="3986195"/>
          </a:xfrm>
        </p:grpSpPr>
        <p:cxnSp>
          <p:nvCxnSpPr>
            <p:cNvPr id="1089" name="Google Shape;1089;p94"/>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090" name="Google Shape;1090;p94"/>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091" name="Google Shape;1091;p94"/>
          <p:cNvGrpSpPr/>
          <p:nvPr/>
        </p:nvGrpSpPr>
        <p:grpSpPr>
          <a:xfrm rot="-5400000">
            <a:off x="7017619" y="-307592"/>
            <a:ext cx="160020" cy="1993097"/>
            <a:chOff x="8582701" y="7032325"/>
            <a:chExt cx="320040" cy="3986195"/>
          </a:xfrm>
        </p:grpSpPr>
        <p:cxnSp>
          <p:nvCxnSpPr>
            <p:cNvPr id="1092" name="Google Shape;1092;p94"/>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093" name="Google Shape;1093;p94"/>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094" name="Google Shape;1094;p94"/>
          <p:cNvGrpSpPr/>
          <p:nvPr/>
        </p:nvGrpSpPr>
        <p:grpSpPr>
          <a:xfrm rot="-5400000">
            <a:off x="7017619" y="2748936"/>
            <a:ext cx="160020" cy="1993097"/>
            <a:chOff x="8582701" y="7032325"/>
            <a:chExt cx="320040" cy="3986195"/>
          </a:xfrm>
        </p:grpSpPr>
        <p:cxnSp>
          <p:nvCxnSpPr>
            <p:cNvPr id="1095" name="Google Shape;1095;p94"/>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096" name="Google Shape;1096;p94"/>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cxnSp>
        <p:nvCxnSpPr>
          <p:cNvPr id="1097" name="Google Shape;1097;p94"/>
          <p:cNvCxnSpPr/>
          <p:nvPr/>
        </p:nvCxnSpPr>
        <p:spPr>
          <a:xfrm>
            <a:off x="6098857" y="0"/>
            <a:ext cx="0" cy="5273601"/>
          </a:xfrm>
          <a:prstGeom prst="straightConnector1">
            <a:avLst/>
          </a:prstGeom>
          <a:noFill/>
          <a:ln w="19050" cap="flat" cmpd="sng">
            <a:solidFill>
              <a:schemeClr val="dk2"/>
            </a:solidFill>
            <a:prstDash val="solid"/>
            <a:miter lim="400000"/>
            <a:headEnd type="none" w="sm" len="sm"/>
            <a:tailEnd type="none" w="sm" len="sm"/>
          </a:ln>
        </p:spPr>
      </p:cxnSp>
      <p:sp>
        <p:nvSpPr>
          <p:cNvPr id="1098" name="Google Shape;1098;p94"/>
          <p:cNvSpPr/>
          <p:nvPr/>
        </p:nvSpPr>
        <p:spPr>
          <a:xfrm>
            <a:off x="5698808" y="4871791"/>
            <a:ext cx="800000" cy="800001"/>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099" name="Google Shape;1099;p94"/>
          <p:cNvSpPr/>
          <p:nvPr/>
        </p:nvSpPr>
        <p:spPr>
          <a:xfrm>
            <a:off x="5698808" y="286999"/>
            <a:ext cx="800000" cy="800001"/>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100" name="Google Shape;1100;p94"/>
          <p:cNvSpPr/>
          <p:nvPr/>
        </p:nvSpPr>
        <p:spPr>
          <a:xfrm>
            <a:off x="5698808" y="1815264"/>
            <a:ext cx="800000" cy="800001"/>
          </a:xfrm>
          <a:prstGeom prst="ellipse">
            <a:avLst/>
          </a:prstGeom>
          <a:solidFill>
            <a:srgbClr val="090C0F"/>
          </a:solid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101" name="Google Shape;1101;p94"/>
          <p:cNvSpPr/>
          <p:nvPr/>
        </p:nvSpPr>
        <p:spPr>
          <a:xfrm>
            <a:off x="5698808" y="3343528"/>
            <a:ext cx="800000" cy="800001"/>
          </a:xfrm>
          <a:prstGeom prst="ellipse">
            <a:avLst/>
          </a:prstGeom>
          <a:solidFill>
            <a:srgbClr val="090C0F"/>
          </a:solid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102" name="Google Shape;1102;p94"/>
          <p:cNvSpPr txBox="1">
            <a:spLocks noGrp="1"/>
          </p:cNvSpPr>
          <p:nvPr>
            <p:ph type="subTitle" idx="1"/>
          </p:nvPr>
        </p:nvSpPr>
        <p:spPr>
          <a:xfrm>
            <a:off x="8185467" y="413457"/>
            <a:ext cx="3438800" cy="329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03" name="Google Shape;1103;p94"/>
          <p:cNvSpPr txBox="1">
            <a:spLocks noGrp="1"/>
          </p:cNvSpPr>
          <p:nvPr>
            <p:ph type="subTitle" idx="2"/>
          </p:nvPr>
        </p:nvSpPr>
        <p:spPr>
          <a:xfrm>
            <a:off x="8185467" y="14467"/>
            <a:ext cx="34388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104" name="Google Shape;1104;p94"/>
          <p:cNvSpPr txBox="1">
            <a:spLocks noGrp="1"/>
          </p:cNvSpPr>
          <p:nvPr>
            <p:ph type="subTitle" idx="3"/>
          </p:nvPr>
        </p:nvSpPr>
        <p:spPr>
          <a:xfrm>
            <a:off x="8185467" y="1144101"/>
            <a:ext cx="3438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105" name="Google Shape;1105;p94"/>
          <p:cNvSpPr txBox="1">
            <a:spLocks noGrp="1"/>
          </p:cNvSpPr>
          <p:nvPr>
            <p:ph type="subTitle" idx="4"/>
          </p:nvPr>
        </p:nvSpPr>
        <p:spPr>
          <a:xfrm>
            <a:off x="8185467" y="3463006"/>
            <a:ext cx="3438800" cy="329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06" name="Google Shape;1106;p94"/>
          <p:cNvSpPr txBox="1">
            <a:spLocks noGrp="1"/>
          </p:cNvSpPr>
          <p:nvPr>
            <p:ph type="subTitle" idx="5"/>
          </p:nvPr>
        </p:nvSpPr>
        <p:spPr>
          <a:xfrm>
            <a:off x="8185467" y="3064018"/>
            <a:ext cx="34388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107" name="Google Shape;1107;p94"/>
          <p:cNvSpPr txBox="1">
            <a:spLocks noGrp="1"/>
          </p:cNvSpPr>
          <p:nvPr>
            <p:ph type="subTitle" idx="6"/>
          </p:nvPr>
        </p:nvSpPr>
        <p:spPr>
          <a:xfrm>
            <a:off x="8185467" y="4193652"/>
            <a:ext cx="3438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108" name="Google Shape;1108;p94"/>
          <p:cNvSpPr txBox="1">
            <a:spLocks noGrp="1"/>
          </p:cNvSpPr>
          <p:nvPr>
            <p:ph type="subTitle" idx="7"/>
          </p:nvPr>
        </p:nvSpPr>
        <p:spPr>
          <a:xfrm>
            <a:off x="540067" y="1854173"/>
            <a:ext cx="3438800" cy="3292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09" name="Google Shape;1109;p94"/>
          <p:cNvSpPr txBox="1">
            <a:spLocks noGrp="1"/>
          </p:cNvSpPr>
          <p:nvPr>
            <p:ph type="subTitle" idx="8"/>
          </p:nvPr>
        </p:nvSpPr>
        <p:spPr>
          <a:xfrm>
            <a:off x="540067" y="1455185"/>
            <a:ext cx="34388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110" name="Google Shape;1110;p94"/>
          <p:cNvSpPr txBox="1">
            <a:spLocks noGrp="1"/>
          </p:cNvSpPr>
          <p:nvPr>
            <p:ph type="subTitle" idx="9"/>
          </p:nvPr>
        </p:nvSpPr>
        <p:spPr>
          <a:xfrm>
            <a:off x="540067" y="2584818"/>
            <a:ext cx="34388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111" name="Google Shape;1111;p94"/>
          <p:cNvSpPr txBox="1">
            <a:spLocks noGrp="1"/>
          </p:cNvSpPr>
          <p:nvPr>
            <p:ph type="subTitle" idx="13"/>
          </p:nvPr>
        </p:nvSpPr>
        <p:spPr>
          <a:xfrm>
            <a:off x="540067" y="4908757"/>
            <a:ext cx="3438800" cy="3292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12" name="Google Shape;1112;p94"/>
          <p:cNvSpPr txBox="1">
            <a:spLocks noGrp="1"/>
          </p:cNvSpPr>
          <p:nvPr>
            <p:ph type="subTitle" idx="14"/>
          </p:nvPr>
        </p:nvSpPr>
        <p:spPr>
          <a:xfrm>
            <a:off x="540067" y="4509767"/>
            <a:ext cx="34388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113" name="Google Shape;1113;p94"/>
          <p:cNvSpPr txBox="1">
            <a:spLocks noGrp="1"/>
          </p:cNvSpPr>
          <p:nvPr>
            <p:ph type="subTitle" idx="15"/>
          </p:nvPr>
        </p:nvSpPr>
        <p:spPr>
          <a:xfrm>
            <a:off x="540067" y="5639401"/>
            <a:ext cx="34388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114" name="Google Shape;1114;p94"/>
          <p:cNvSpPr>
            <a:spLocks noGrp="1"/>
          </p:cNvSpPr>
          <p:nvPr>
            <p:ph type="pic" idx="16"/>
          </p:nvPr>
        </p:nvSpPr>
        <p:spPr>
          <a:xfrm>
            <a:off x="5877560" y="473640"/>
            <a:ext cx="426720" cy="426720"/>
          </a:xfrm>
          <a:prstGeom prst="rect">
            <a:avLst/>
          </a:prstGeom>
          <a:noFill/>
          <a:ln>
            <a:noFill/>
          </a:ln>
        </p:spPr>
      </p:sp>
      <p:sp>
        <p:nvSpPr>
          <p:cNvPr id="1115" name="Google Shape;1115;p94"/>
          <p:cNvSpPr>
            <a:spLocks noGrp="1"/>
          </p:cNvSpPr>
          <p:nvPr>
            <p:ph type="pic" idx="17"/>
          </p:nvPr>
        </p:nvSpPr>
        <p:spPr>
          <a:xfrm>
            <a:off x="5877560" y="2004641"/>
            <a:ext cx="426720" cy="426720"/>
          </a:xfrm>
          <a:prstGeom prst="rect">
            <a:avLst/>
          </a:prstGeom>
          <a:noFill/>
          <a:ln>
            <a:noFill/>
          </a:ln>
        </p:spPr>
      </p:sp>
      <p:sp>
        <p:nvSpPr>
          <p:cNvPr id="1116" name="Google Shape;1116;p94"/>
          <p:cNvSpPr>
            <a:spLocks noGrp="1"/>
          </p:cNvSpPr>
          <p:nvPr>
            <p:ph type="pic" idx="18"/>
          </p:nvPr>
        </p:nvSpPr>
        <p:spPr>
          <a:xfrm>
            <a:off x="5887720" y="3530167"/>
            <a:ext cx="426720" cy="426720"/>
          </a:xfrm>
          <a:prstGeom prst="rect">
            <a:avLst/>
          </a:prstGeom>
          <a:noFill/>
          <a:ln>
            <a:noFill/>
          </a:ln>
        </p:spPr>
      </p:sp>
      <p:sp>
        <p:nvSpPr>
          <p:cNvPr id="1117" name="Google Shape;1117;p94"/>
          <p:cNvSpPr>
            <a:spLocks noGrp="1"/>
          </p:cNvSpPr>
          <p:nvPr>
            <p:ph type="pic" idx="19"/>
          </p:nvPr>
        </p:nvSpPr>
        <p:spPr>
          <a:xfrm>
            <a:off x="5862683" y="5066822"/>
            <a:ext cx="426720" cy="426720"/>
          </a:xfrm>
          <a:prstGeom prst="rect">
            <a:avLst/>
          </a:prstGeom>
          <a:noFill/>
          <a:ln>
            <a:noFill/>
          </a:ln>
        </p:spPr>
      </p:sp>
    </p:spTree>
    <p:extLst>
      <p:ext uri="{BB962C8B-B14F-4D97-AF65-F5344CB8AC3E}">
        <p14:creationId xmlns:p14="http://schemas.microsoft.com/office/powerpoint/2010/main" val="3661095966"/>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matchingName="90. Five dates vertical timeline">
  <p:cSld name="90. Five dates vertical timeline">
    <p:spTree>
      <p:nvGrpSpPr>
        <p:cNvPr id="1" name="Shape 1118"/>
        <p:cNvGrpSpPr/>
        <p:nvPr/>
      </p:nvGrpSpPr>
      <p:grpSpPr>
        <a:xfrm>
          <a:off x="0" y="0"/>
          <a:ext cx="0" cy="0"/>
          <a:chOff x="0" y="0"/>
          <a:chExt cx="0" cy="0"/>
        </a:xfrm>
      </p:grpSpPr>
      <p:grpSp>
        <p:nvGrpSpPr>
          <p:cNvPr id="1119" name="Google Shape;1119;p95"/>
          <p:cNvGrpSpPr/>
          <p:nvPr/>
        </p:nvGrpSpPr>
        <p:grpSpPr>
          <a:xfrm rot="-5400000">
            <a:off x="7017619" y="969065"/>
            <a:ext cx="160020" cy="1993097"/>
            <a:chOff x="8582701" y="7032325"/>
            <a:chExt cx="320040" cy="3986195"/>
          </a:xfrm>
        </p:grpSpPr>
        <p:cxnSp>
          <p:nvCxnSpPr>
            <p:cNvPr id="1120" name="Google Shape;1120;p95"/>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121" name="Google Shape;1121;p95"/>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122" name="Google Shape;1122;p95"/>
          <p:cNvGrpSpPr/>
          <p:nvPr/>
        </p:nvGrpSpPr>
        <p:grpSpPr>
          <a:xfrm rot="-5400000">
            <a:off x="7017619" y="3272626"/>
            <a:ext cx="160020" cy="1993097"/>
            <a:chOff x="8582701" y="7032325"/>
            <a:chExt cx="320040" cy="3986195"/>
          </a:xfrm>
        </p:grpSpPr>
        <p:cxnSp>
          <p:nvCxnSpPr>
            <p:cNvPr id="1123" name="Google Shape;1123;p95"/>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124" name="Google Shape;1124;p95"/>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125" name="Google Shape;1125;p95"/>
          <p:cNvGrpSpPr/>
          <p:nvPr/>
        </p:nvGrpSpPr>
        <p:grpSpPr>
          <a:xfrm rot="5400000" flipH="1">
            <a:off x="5014362" y="2115528"/>
            <a:ext cx="160020" cy="1993097"/>
            <a:chOff x="8582701" y="7032325"/>
            <a:chExt cx="320040" cy="3986195"/>
          </a:xfrm>
        </p:grpSpPr>
        <p:cxnSp>
          <p:nvCxnSpPr>
            <p:cNvPr id="1126" name="Google Shape;1126;p95"/>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127" name="Google Shape;1127;p95"/>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128" name="Google Shape;1128;p95"/>
          <p:cNvGrpSpPr/>
          <p:nvPr/>
        </p:nvGrpSpPr>
        <p:grpSpPr>
          <a:xfrm rot="5400000" flipH="1">
            <a:off x="4990545" y="4358172"/>
            <a:ext cx="160020" cy="1993097"/>
            <a:chOff x="8582701" y="7032325"/>
            <a:chExt cx="320040" cy="3986195"/>
          </a:xfrm>
        </p:grpSpPr>
        <p:cxnSp>
          <p:nvCxnSpPr>
            <p:cNvPr id="1129" name="Google Shape;1129;p95"/>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130" name="Google Shape;1130;p95"/>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131" name="Google Shape;1131;p95"/>
          <p:cNvGrpSpPr/>
          <p:nvPr/>
        </p:nvGrpSpPr>
        <p:grpSpPr>
          <a:xfrm rot="5400000" flipH="1">
            <a:off x="5003439" y="-145503"/>
            <a:ext cx="160020" cy="1993097"/>
            <a:chOff x="8582701" y="7032325"/>
            <a:chExt cx="320040" cy="3986195"/>
          </a:xfrm>
        </p:grpSpPr>
        <p:cxnSp>
          <p:nvCxnSpPr>
            <p:cNvPr id="1132" name="Google Shape;1132;p95"/>
            <p:cNvCxnSpPr/>
            <p:nvPr/>
          </p:nvCxnSpPr>
          <p:spPr>
            <a:xfrm rot="-5400000">
              <a:off x="6909643" y="8865403"/>
              <a:ext cx="3666155" cy="0"/>
            </a:xfrm>
            <a:prstGeom prst="straightConnector1">
              <a:avLst/>
            </a:prstGeom>
            <a:noFill/>
            <a:ln w="19050" cap="flat" cmpd="sng">
              <a:solidFill>
                <a:schemeClr val="dk2"/>
              </a:solidFill>
              <a:prstDash val="solid"/>
              <a:miter lim="400000"/>
              <a:headEnd type="none" w="sm" len="sm"/>
              <a:tailEnd type="none" w="sm" len="sm"/>
            </a:ln>
          </p:spPr>
        </p:cxnSp>
        <p:sp>
          <p:nvSpPr>
            <p:cNvPr id="1133" name="Google Shape;1133;p95"/>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cxnSp>
        <p:nvCxnSpPr>
          <p:cNvPr id="1134" name="Google Shape;1134;p95"/>
          <p:cNvCxnSpPr/>
          <p:nvPr/>
        </p:nvCxnSpPr>
        <p:spPr>
          <a:xfrm>
            <a:off x="6079011" y="24466"/>
            <a:ext cx="0" cy="5391200"/>
          </a:xfrm>
          <a:prstGeom prst="straightConnector1">
            <a:avLst/>
          </a:prstGeom>
          <a:noFill/>
          <a:ln w="19050" cap="flat" cmpd="sng">
            <a:solidFill>
              <a:schemeClr val="dk2"/>
            </a:solidFill>
            <a:prstDash val="solid"/>
            <a:miter lim="400000"/>
            <a:headEnd type="none" w="sm" len="sm"/>
            <a:tailEnd type="none" w="sm" len="sm"/>
          </a:ln>
        </p:spPr>
      </p:cxnSp>
      <p:sp>
        <p:nvSpPr>
          <p:cNvPr id="1135" name="Google Shape;1135;p95"/>
          <p:cNvSpPr/>
          <p:nvPr/>
        </p:nvSpPr>
        <p:spPr>
          <a:xfrm>
            <a:off x="5713211" y="5009135"/>
            <a:ext cx="731600" cy="728001"/>
          </a:xfrm>
          <a:prstGeom prst="ellipse">
            <a:avLst/>
          </a:prstGeom>
          <a:solidFill>
            <a:srgbClr val="090C0F"/>
          </a:solidFill>
          <a:ln w="19050" cap="flat" cmpd="sng">
            <a:solidFill>
              <a:schemeClr val="accent5"/>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136" name="Google Shape;1136;p95"/>
          <p:cNvSpPr/>
          <p:nvPr/>
        </p:nvSpPr>
        <p:spPr>
          <a:xfrm>
            <a:off x="5713211" y="487039"/>
            <a:ext cx="731600" cy="728001"/>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137" name="Google Shape;1137;p95"/>
          <p:cNvSpPr/>
          <p:nvPr/>
        </p:nvSpPr>
        <p:spPr>
          <a:xfrm>
            <a:off x="5713211" y="2716228"/>
            <a:ext cx="731600" cy="728001"/>
          </a:xfrm>
          <a:prstGeom prst="ellipse">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138" name="Google Shape;1138;p95"/>
          <p:cNvSpPr/>
          <p:nvPr/>
        </p:nvSpPr>
        <p:spPr>
          <a:xfrm>
            <a:off x="5713211" y="3899880"/>
            <a:ext cx="731600" cy="728001"/>
          </a:xfrm>
          <a:prstGeom prst="ellipse">
            <a:avLst/>
          </a:prstGeom>
          <a:solidFill>
            <a:srgbClr val="090C0F"/>
          </a:solidFill>
          <a:ln w="19050" cap="flat" cmpd="sng">
            <a:solidFill>
              <a:schemeClr val="accent4"/>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139" name="Google Shape;1139;p95"/>
          <p:cNvSpPr/>
          <p:nvPr/>
        </p:nvSpPr>
        <p:spPr>
          <a:xfrm>
            <a:off x="5713211" y="1601626"/>
            <a:ext cx="731600" cy="728001"/>
          </a:xfrm>
          <a:prstGeom prst="ellipse">
            <a:avLst/>
          </a:prstGeom>
          <a:solidFill>
            <a:srgbClr val="090C0F"/>
          </a:solid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140" name="Google Shape;1140;p95"/>
          <p:cNvSpPr txBox="1">
            <a:spLocks noGrp="1"/>
          </p:cNvSpPr>
          <p:nvPr>
            <p:ph type="subTitle" idx="1"/>
          </p:nvPr>
        </p:nvSpPr>
        <p:spPr>
          <a:xfrm>
            <a:off x="628967" y="495273"/>
            <a:ext cx="3438800" cy="3292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41" name="Google Shape;1141;p95"/>
          <p:cNvSpPr txBox="1">
            <a:spLocks noGrp="1"/>
          </p:cNvSpPr>
          <p:nvPr>
            <p:ph type="subTitle" idx="2"/>
          </p:nvPr>
        </p:nvSpPr>
        <p:spPr>
          <a:xfrm>
            <a:off x="628967" y="96285"/>
            <a:ext cx="34388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142" name="Google Shape;1142;p95"/>
          <p:cNvSpPr txBox="1">
            <a:spLocks noGrp="1"/>
          </p:cNvSpPr>
          <p:nvPr>
            <p:ph type="subTitle" idx="3"/>
          </p:nvPr>
        </p:nvSpPr>
        <p:spPr>
          <a:xfrm>
            <a:off x="628967" y="1225917"/>
            <a:ext cx="34388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143" name="Google Shape;1143;p95"/>
          <p:cNvSpPr txBox="1">
            <a:spLocks noGrp="1"/>
          </p:cNvSpPr>
          <p:nvPr>
            <p:ph type="subTitle" idx="4"/>
          </p:nvPr>
        </p:nvSpPr>
        <p:spPr>
          <a:xfrm>
            <a:off x="628967" y="2805339"/>
            <a:ext cx="3438800" cy="3292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44" name="Google Shape;1144;p95"/>
          <p:cNvSpPr txBox="1">
            <a:spLocks noGrp="1"/>
          </p:cNvSpPr>
          <p:nvPr>
            <p:ph type="subTitle" idx="5"/>
          </p:nvPr>
        </p:nvSpPr>
        <p:spPr>
          <a:xfrm>
            <a:off x="628967" y="2406351"/>
            <a:ext cx="34388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145" name="Google Shape;1145;p95"/>
          <p:cNvSpPr txBox="1">
            <a:spLocks noGrp="1"/>
          </p:cNvSpPr>
          <p:nvPr>
            <p:ph type="subTitle" idx="6"/>
          </p:nvPr>
        </p:nvSpPr>
        <p:spPr>
          <a:xfrm>
            <a:off x="628967" y="3535985"/>
            <a:ext cx="34388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146" name="Google Shape;1146;p95"/>
          <p:cNvSpPr txBox="1">
            <a:spLocks noGrp="1"/>
          </p:cNvSpPr>
          <p:nvPr>
            <p:ph type="subTitle" idx="7"/>
          </p:nvPr>
        </p:nvSpPr>
        <p:spPr>
          <a:xfrm>
            <a:off x="628967" y="5115407"/>
            <a:ext cx="3438800" cy="3292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47" name="Google Shape;1147;p95"/>
          <p:cNvSpPr txBox="1">
            <a:spLocks noGrp="1"/>
          </p:cNvSpPr>
          <p:nvPr>
            <p:ph type="subTitle" idx="8"/>
          </p:nvPr>
        </p:nvSpPr>
        <p:spPr>
          <a:xfrm>
            <a:off x="628967" y="4716418"/>
            <a:ext cx="34388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148" name="Google Shape;1148;p95"/>
          <p:cNvSpPr txBox="1">
            <a:spLocks noGrp="1"/>
          </p:cNvSpPr>
          <p:nvPr>
            <p:ph type="subTitle" idx="9"/>
          </p:nvPr>
        </p:nvSpPr>
        <p:spPr>
          <a:xfrm>
            <a:off x="628967" y="5846051"/>
            <a:ext cx="34388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149" name="Google Shape;1149;p95"/>
          <p:cNvSpPr txBox="1">
            <a:spLocks noGrp="1"/>
          </p:cNvSpPr>
          <p:nvPr>
            <p:ph type="subTitle" idx="13"/>
          </p:nvPr>
        </p:nvSpPr>
        <p:spPr>
          <a:xfrm>
            <a:off x="8198167" y="1704189"/>
            <a:ext cx="3438800" cy="329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50" name="Google Shape;1150;p95"/>
          <p:cNvSpPr txBox="1">
            <a:spLocks noGrp="1"/>
          </p:cNvSpPr>
          <p:nvPr>
            <p:ph type="subTitle" idx="14"/>
          </p:nvPr>
        </p:nvSpPr>
        <p:spPr>
          <a:xfrm>
            <a:off x="8198167" y="1305201"/>
            <a:ext cx="34388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151" name="Google Shape;1151;p95"/>
          <p:cNvSpPr txBox="1">
            <a:spLocks noGrp="1"/>
          </p:cNvSpPr>
          <p:nvPr>
            <p:ph type="subTitle" idx="15"/>
          </p:nvPr>
        </p:nvSpPr>
        <p:spPr>
          <a:xfrm>
            <a:off x="8198167" y="2434834"/>
            <a:ext cx="3438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152" name="Google Shape;1152;p95"/>
          <p:cNvSpPr txBox="1">
            <a:spLocks noGrp="1"/>
          </p:cNvSpPr>
          <p:nvPr>
            <p:ph type="subTitle" idx="16"/>
          </p:nvPr>
        </p:nvSpPr>
        <p:spPr>
          <a:xfrm>
            <a:off x="8198167" y="3963457"/>
            <a:ext cx="3438800" cy="3292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53" name="Google Shape;1153;p95"/>
          <p:cNvSpPr txBox="1">
            <a:spLocks noGrp="1"/>
          </p:cNvSpPr>
          <p:nvPr>
            <p:ph type="subTitle" idx="17"/>
          </p:nvPr>
        </p:nvSpPr>
        <p:spPr>
          <a:xfrm>
            <a:off x="8198167" y="3564468"/>
            <a:ext cx="34388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154" name="Google Shape;1154;p95"/>
          <p:cNvSpPr txBox="1">
            <a:spLocks noGrp="1"/>
          </p:cNvSpPr>
          <p:nvPr>
            <p:ph type="subTitle" idx="18"/>
          </p:nvPr>
        </p:nvSpPr>
        <p:spPr>
          <a:xfrm>
            <a:off x="8198167" y="4694100"/>
            <a:ext cx="34388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155" name="Google Shape;1155;p95"/>
          <p:cNvSpPr>
            <a:spLocks noGrp="1"/>
          </p:cNvSpPr>
          <p:nvPr>
            <p:ph type="pic" idx="19"/>
          </p:nvPr>
        </p:nvSpPr>
        <p:spPr>
          <a:xfrm>
            <a:off x="5865651" y="640475"/>
            <a:ext cx="426720" cy="426720"/>
          </a:xfrm>
          <a:prstGeom prst="rect">
            <a:avLst/>
          </a:prstGeom>
          <a:noFill/>
          <a:ln>
            <a:noFill/>
          </a:ln>
        </p:spPr>
      </p:sp>
      <p:sp>
        <p:nvSpPr>
          <p:cNvPr id="1156" name="Google Shape;1156;p95"/>
          <p:cNvSpPr>
            <a:spLocks noGrp="1"/>
          </p:cNvSpPr>
          <p:nvPr>
            <p:ph type="pic" idx="20"/>
          </p:nvPr>
        </p:nvSpPr>
        <p:spPr>
          <a:xfrm>
            <a:off x="5865651" y="1752250"/>
            <a:ext cx="426720" cy="426720"/>
          </a:xfrm>
          <a:prstGeom prst="rect">
            <a:avLst/>
          </a:prstGeom>
          <a:noFill/>
          <a:ln>
            <a:noFill/>
          </a:ln>
        </p:spPr>
      </p:sp>
      <p:sp>
        <p:nvSpPr>
          <p:cNvPr id="1157" name="Google Shape;1157;p95"/>
          <p:cNvSpPr>
            <a:spLocks noGrp="1"/>
          </p:cNvSpPr>
          <p:nvPr>
            <p:ph type="pic" idx="21"/>
          </p:nvPr>
        </p:nvSpPr>
        <p:spPr>
          <a:xfrm>
            <a:off x="5877560" y="2869415"/>
            <a:ext cx="426720" cy="426720"/>
          </a:xfrm>
          <a:prstGeom prst="rect">
            <a:avLst/>
          </a:prstGeom>
          <a:noFill/>
          <a:ln>
            <a:noFill/>
          </a:ln>
        </p:spPr>
      </p:sp>
      <p:sp>
        <p:nvSpPr>
          <p:cNvPr id="1158" name="Google Shape;1158;p95"/>
          <p:cNvSpPr>
            <a:spLocks noGrp="1"/>
          </p:cNvSpPr>
          <p:nvPr>
            <p:ph type="pic" idx="22"/>
          </p:nvPr>
        </p:nvSpPr>
        <p:spPr>
          <a:xfrm>
            <a:off x="5876687" y="4059890"/>
            <a:ext cx="426720" cy="426720"/>
          </a:xfrm>
          <a:prstGeom prst="rect">
            <a:avLst/>
          </a:prstGeom>
          <a:noFill/>
          <a:ln>
            <a:noFill/>
          </a:ln>
        </p:spPr>
      </p:sp>
      <p:sp>
        <p:nvSpPr>
          <p:cNvPr id="1159" name="Google Shape;1159;p95"/>
          <p:cNvSpPr>
            <a:spLocks noGrp="1"/>
          </p:cNvSpPr>
          <p:nvPr>
            <p:ph type="pic" idx="23"/>
          </p:nvPr>
        </p:nvSpPr>
        <p:spPr>
          <a:xfrm>
            <a:off x="5865651" y="5159748"/>
            <a:ext cx="426720" cy="426720"/>
          </a:xfrm>
          <a:prstGeom prst="rect">
            <a:avLst/>
          </a:prstGeom>
          <a:noFill/>
          <a:ln>
            <a:noFill/>
          </a:ln>
        </p:spPr>
      </p:sp>
    </p:spTree>
    <p:extLst>
      <p:ext uri="{BB962C8B-B14F-4D97-AF65-F5344CB8AC3E}">
        <p14:creationId xmlns:p14="http://schemas.microsoft.com/office/powerpoint/2010/main" val="36044469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a:srcRect l="1447" r="31903"/>
          <a:stretch/>
        </p:blipFill>
        <p:spPr bwMode="ltGray">
          <a:xfrm>
            <a:off x="5334000" y="0"/>
            <a:ext cx="6858000" cy="6858000"/>
          </a:xfrm>
          <a:prstGeom prst="rect">
            <a:avLst/>
          </a:prstGeom>
        </p:spPr>
      </p:pic>
    </p:spTree>
    <p:extLst>
      <p:ext uri="{BB962C8B-B14F-4D97-AF65-F5344CB8AC3E}">
        <p14:creationId xmlns:p14="http://schemas.microsoft.com/office/powerpoint/2010/main" val="3708026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matchingName="91. Three point process">
  <p:cSld name="91. Three point process">
    <p:spTree>
      <p:nvGrpSpPr>
        <p:cNvPr id="1" name="Shape 1160"/>
        <p:cNvGrpSpPr/>
        <p:nvPr/>
      </p:nvGrpSpPr>
      <p:grpSpPr>
        <a:xfrm>
          <a:off x="0" y="0"/>
          <a:ext cx="0" cy="0"/>
          <a:chOff x="0" y="0"/>
          <a:chExt cx="0" cy="0"/>
        </a:xfrm>
      </p:grpSpPr>
      <p:cxnSp>
        <p:nvCxnSpPr>
          <p:cNvPr id="1161" name="Google Shape;1161;p96"/>
          <p:cNvCxnSpPr/>
          <p:nvPr/>
        </p:nvCxnSpPr>
        <p:spPr>
          <a:xfrm>
            <a:off x="3325365" y="3684313"/>
            <a:ext cx="0" cy="727237"/>
          </a:xfrm>
          <a:prstGeom prst="straightConnector1">
            <a:avLst/>
          </a:prstGeom>
          <a:noFill/>
          <a:ln w="19050" cap="rnd" cmpd="sng">
            <a:solidFill>
              <a:schemeClr val="accent5"/>
            </a:solidFill>
            <a:prstDash val="solid"/>
            <a:round/>
            <a:headEnd type="none" w="sm" len="sm"/>
            <a:tailEnd type="none" w="sm" len="sm"/>
          </a:ln>
        </p:spPr>
      </p:cxnSp>
      <p:cxnSp>
        <p:nvCxnSpPr>
          <p:cNvPr id="1162" name="Google Shape;1162;p96"/>
          <p:cNvCxnSpPr/>
          <p:nvPr/>
        </p:nvCxnSpPr>
        <p:spPr>
          <a:xfrm rot="10800000">
            <a:off x="3325368" y="4414425"/>
            <a:ext cx="719881" cy="0"/>
          </a:xfrm>
          <a:prstGeom prst="straightConnector1">
            <a:avLst/>
          </a:prstGeom>
          <a:noFill/>
          <a:ln w="19050" cap="rnd" cmpd="sng">
            <a:solidFill>
              <a:schemeClr val="accent2"/>
            </a:solidFill>
            <a:prstDash val="solid"/>
            <a:round/>
            <a:headEnd type="none" w="sm" len="sm"/>
            <a:tailEnd type="none" w="sm" len="sm"/>
          </a:ln>
        </p:spPr>
      </p:cxnSp>
      <p:sp>
        <p:nvSpPr>
          <p:cNvPr id="1163" name="Google Shape;1163;p96"/>
          <p:cNvSpPr/>
          <p:nvPr/>
        </p:nvSpPr>
        <p:spPr>
          <a:xfrm>
            <a:off x="1734927" y="1613105"/>
            <a:ext cx="6400800" cy="888351"/>
          </a:xfrm>
          <a:prstGeom prst="roundRect">
            <a:avLst>
              <a:gd name="adj" fmla="val 13808"/>
            </a:avLst>
          </a:prstGeom>
          <a:noFill/>
          <a:ln w="19050" cap="flat" cmpd="sng">
            <a:solidFill>
              <a:schemeClr val="accent1"/>
            </a:solidFill>
            <a:prstDash val="solid"/>
            <a:round/>
            <a:headEnd type="none" w="sm" len="sm"/>
            <a:tailEnd type="none" w="sm" len="sm"/>
          </a:ln>
        </p:spPr>
        <p:txBody>
          <a:bodyPr spcFirstLastPara="1" wrap="square" lIns="45658" tIns="45658" rIns="45658" bIns="45658"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0" i="0" u="none" strike="noStrike" cap="none">
              <a:solidFill>
                <a:srgbClr val="F0F6FC"/>
              </a:solidFill>
              <a:latin typeface="Arial"/>
              <a:ea typeface="Arial"/>
              <a:cs typeface="Arial"/>
              <a:sym typeface="Arial"/>
            </a:endParaRPr>
          </a:p>
        </p:txBody>
      </p:sp>
      <p:sp>
        <p:nvSpPr>
          <p:cNvPr id="1164" name="Google Shape;1164;p96"/>
          <p:cNvSpPr/>
          <p:nvPr/>
        </p:nvSpPr>
        <p:spPr>
          <a:xfrm>
            <a:off x="2895600" y="2787393"/>
            <a:ext cx="6400800" cy="888351"/>
          </a:xfrm>
          <a:prstGeom prst="roundRect">
            <a:avLst>
              <a:gd name="adj" fmla="val 15237"/>
            </a:avLst>
          </a:prstGeom>
          <a:noFill/>
          <a:ln w="19050" cap="flat" cmpd="sng">
            <a:solidFill>
              <a:schemeClr val="accent5"/>
            </a:solidFill>
            <a:prstDash val="solid"/>
            <a:round/>
            <a:headEnd type="none" w="sm" len="sm"/>
            <a:tailEnd type="none" w="sm" len="sm"/>
          </a:ln>
        </p:spPr>
        <p:txBody>
          <a:bodyPr spcFirstLastPara="1" wrap="square" lIns="45658" tIns="45658" rIns="45658" bIns="45658"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0" i="0" u="none" strike="noStrike" cap="none">
              <a:solidFill>
                <a:srgbClr val="F0F6FC"/>
              </a:solidFill>
              <a:latin typeface="Arial"/>
              <a:ea typeface="Arial"/>
              <a:cs typeface="Arial"/>
              <a:sym typeface="Arial"/>
            </a:endParaRPr>
          </a:p>
        </p:txBody>
      </p:sp>
      <p:sp>
        <p:nvSpPr>
          <p:cNvPr id="1165" name="Google Shape;1165;p96"/>
          <p:cNvSpPr/>
          <p:nvPr/>
        </p:nvSpPr>
        <p:spPr>
          <a:xfrm>
            <a:off x="4045247" y="3988016"/>
            <a:ext cx="6400800" cy="888351"/>
          </a:xfrm>
          <a:prstGeom prst="roundRect">
            <a:avLst>
              <a:gd name="adj" fmla="val 10949"/>
            </a:avLst>
          </a:prstGeom>
          <a:noFill/>
          <a:ln w="19050" cap="flat" cmpd="sng">
            <a:solidFill>
              <a:schemeClr val="accent2"/>
            </a:solidFill>
            <a:prstDash val="solid"/>
            <a:round/>
            <a:headEnd type="none" w="sm" len="sm"/>
            <a:tailEnd type="none" w="sm" len="sm"/>
          </a:ln>
        </p:spPr>
        <p:txBody>
          <a:bodyPr spcFirstLastPara="1" wrap="square" lIns="45658" tIns="45658" rIns="45658" bIns="45658"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0" i="0" u="none" strike="noStrike" cap="none">
              <a:solidFill>
                <a:srgbClr val="F0F6FC"/>
              </a:solidFill>
              <a:latin typeface="Arial"/>
              <a:ea typeface="Arial"/>
              <a:cs typeface="Arial"/>
              <a:sym typeface="Arial"/>
            </a:endParaRPr>
          </a:p>
        </p:txBody>
      </p:sp>
      <p:cxnSp>
        <p:nvCxnSpPr>
          <p:cNvPr id="1166" name="Google Shape;1166;p96"/>
          <p:cNvCxnSpPr/>
          <p:nvPr/>
        </p:nvCxnSpPr>
        <p:spPr>
          <a:xfrm>
            <a:off x="2175719" y="2501455"/>
            <a:ext cx="0" cy="727237"/>
          </a:xfrm>
          <a:prstGeom prst="straightConnector1">
            <a:avLst/>
          </a:prstGeom>
          <a:noFill/>
          <a:ln w="19050" cap="rnd" cmpd="sng">
            <a:solidFill>
              <a:schemeClr val="accent1"/>
            </a:solidFill>
            <a:prstDash val="solid"/>
            <a:round/>
            <a:headEnd type="none" w="sm" len="sm"/>
            <a:tailEnd type="none" w="sm" len="sm"/>
          </a:ln>
        </p:spPr>
      </p:cxnSp>
      <p:cxnSp>
        <p:nvCxnSpPr>
          <p:cNvPr id="1167" name="Google Shape;1167;p96"/>
          <p:cNvCxnSpPr>
            <a:stCxn id="1164" idx="1"/>
          </p:cNvCxnSpPr>
          <p:nvPr/>
        </p:nvCxnSpPr>
        <p:spPr>
          <a:xfrm rot="10800000">
            <a:off x="2175600" y="3231569"/>
            <a:ext cx="720000" cy="0"/>
          </a:xfrm>
          <a:prstGeom prst="straightConnector1">
            <a:avLst/>
          </a:prstGeom>
          <a:noFill/>
          <a:ln w="19050" cap="rnd" cmpd="sng">
            <a:solidFill>
              <a:schemeClr val="accent5"/>
            </a:solidFill>
            <a:prstDash val="solid"/>
            <a:round/>
            <a:headEnd type="none" w="sm" len="sm"/>
            <a:tailEnd type="none" w="sm" len="sm"/>
          </a:ln>
        </p:spPr>
      </p:cxnSp>
      <p:sp>
        <p:nvSpPr>
          <p:cNvPr id="1168" name="Google Shape;1168;p96"/>
          <p:cNvSpPr txBox="1">
            <a:spLocks noGrp="1"/>
          </p:cNvSpPr>
          <p:nvPr>
            <p:ph type="subTitle" idx="1"/>
          </p:nvPr>
        </p:nvSpPr>
        <p:spPr>
          <a:xfrm>
            <a:off x="1950720" y="1865376"/>
            <a:ext cx="60108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69" name="Google Shape;1169;p96"/>
          <p:cNvSpPr txBox="1">
            <a:spLocks noGrp="1"/>
          </p:cNvSpPr>
          <p:nvPr>
            <p:ph type="subTitle" idx="2"/>
          </p:nvPr>
        </p:nvSpPr>
        <p:spPr>
          <a:xfrm>
            <a:off x="3084576" y="3035808"/>
            <a:ext cx="60108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70" name="Google Shape;1170;p96"/>
          <p:cNvSpPr txBox="1">
            <a:spLocks noGrp="1"/>
          </p:cNvSpPr>
          <p:nvPr>
            <p:ph type="subTitle" idx="3"/>
          </p:nvPr>
        </p:nvSpPr>
        <p:spPr>
          <a:xfrm>
            <a:off x="4242816" y="4242817"/>
            <a:ext cx="5218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Tree>
    <p:extLst>
      <p:ext uri="{BB962C8B-B14F-4D97-AF65-F5344CB8AC3E}">
        <p14:creationId xmlns:p14="http://schemas.microsoft.com/office/powerpoint/2010/main" val="313269444"/>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matchingName="92. Four point process">
  <p:cSld name="92. Four point process">
    <p:spTree>
      <p:nvGrpSpPr>
        <p:cNvPr id="1" name="Shape 1171"/>
        <p:cNvGrpSpPr/>
        <p:nvPr/>
      </p:nvGrpSpPr>
      <p:grpSpPr>
        <a:xfrm>
          <a:off x="0" y="0"/>
          <a:ext cx="0" cy="0"/>
          <a:chOff x="0" y="0"/>
          <a:chExt cx="0" cy="0"/>
        </a:xfrm>
      </p:grpSpPr>
      <p:cxnSp>
        <p:nvCxnSpPr>
          <p:cNvPr id="1172" name="Google Shape;1172;p97"/>
          <p:cNvCxnSpPr/>
          <p:nvPr/>
        </p:nvCxnSpPr>
        <p:spPr>
          <a:xfrm>
            <a:off x="2595263" y="3120143"/>
            <a:ext cx="0" cy="727237"/>
          </a:xfrm>
          <a:prstGeom prst="straightConnector1">
            <a:avLst/>
          </a:prstGeom>
          <a:noFill/>
          <a:ln w="19050" cap="rnd" cmpd="sng">
            <a:solidFill>
              <a:schemeClr val="accent5"/>
            </a:solidFill>
            <a:prstDash val="solid"/>
            <a:round/>
            <a:headEnd type="none" w="sm" len="sm"/>
            <a:tailEnd type="none" w="sm" len="sm"/>
          </a:ln>
        </p:spPr>
      </p:cxnSp>
      <p:cxnSp>
        <p:nvCxnSpPr>
          <p:cNvPr id="1173" name="Google Shape;1173;p97"/>
          <p:cNvCxnSpPr/>
          <p:nvPr/>
        </p:nvCxnSpPr>
        <p:spPr>
          <a:xfrm rot="10800000">
            <a:off x="2595265" y="3850256"/>
            <a:ext cx="719881" cy="0"/>
          </a:xfrm>
          <a:prstGeom prst="straightConnector1">
            <a:avLst/>
          </a:prstGeom>
          <a:noFill/>
          <a:ln w="19050" cap="rnd" cmpd="sng">
            <a:solidFill>
              <a:schemeClr val="accent2"/>
            </a:solidFill>
            <a:prstDash val="solid"/>
            <a:round/>
            <a:headEnd type="none" w="sm" len="sm"/>
            <a:tailEnd type="none" w="sm" len="sm"/>
          </a:ln>
        </p:spPr>
      </p:cxnSp>
      <p:sp>
        <p:nvSpPr>
          <p:cNvPr id="1174" name="Google Shape;1174;p97"/>
          <p:cNvSpPr/>
          <p:nvPr/>
        </p:nvSpPr>
        <p:spPr>
          <a:xfrm>
            <a:off x="1004824" y="1048935"/>
            <a:ext cx="6400800" cy="888351"/>
          </a:xfrm>
          <a:prstGeom prst="roundRect">
            <a:avLst>
              <a:gd name="adj" fmla="val 13808"/>
            </a:avLst>
          </a:prstGeom>
          <a:noFill/>
          <a:ln w="19050" cap="flat" cmpd="sng">
            <a:solidFill>
              <a:schemeClr val="accent1"/>
            </a:solidFill>
            <a:prstDash val="solid"/>
            <a:round/>
            <a:headEnd type="none" w="sm" len="sm"/>
            <a:tailEnd type="none" w="sm" len="sm"/>
          </a:ln>
        </p:spPr>
        <p:txBody>
          <a:bodyPr spcFirstLastPara="1" wrap="square" lIns="45658" tIns="45658" rIns="45658" bIns="45658"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0" i="0" u="none" strike="noStrike" cap="none">
              <a:solidFill>
                <a:srgbClr val="F0F6FC"/>
              </a:solidFill>
              <a:latin typeface="Arial"/>
              <a:ea typeface="Arial"/>
              <a:cs typeface="Arial"/>
              <a:sym typeface="Arial"/>
            </a:endParaRPr>
          </a:p>
        </p:txBody>
      </p:sp>
      <p:sp>
        <p:nvSpPr>
          <p:cNvPr id="1175" name="Google Shape;1175;p97"/>
          <p:cNvSpPr/>
          <p:nvPr/>
        </p:nvSpPr>
        <p:spPr>
          <a:xfrm>
            <a:off x="2165497" y="2223224"/>
            <a:ext cx="6400800" cy="888351"/>
          </a:xfrm>
          <a:prstGeom prst="roundRect">
            <a:avLst>
              <a:gd name="adj" fmla="val 15237"/>
            </a:avLst>
          </a:prstGeom>
          <a:noFill/>
          <a:ln w="19050" cap="flat" cmpd="sng">
            <a:solidFill>
              <a:schemeClr val="accent5"/>
            </a:solidFill>
            <a:prstDash val="solid"/>
            <a:round/>
            <a:headEnd type="none" w="sm" len="sm"/>
            <a:tailEnd type="none" w="sm" len="sm"/>
          </a:ln>
        </p:spPr>
        <p:txBody>
          <a:bodyPr spcFirstLastPara="1" wrap="square" lIns="45658" tIns="45658" rIns="45658" bIns="45658"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0" i="0" u="none" strike="noStrike" cap="none">
              <a:solidFill>
                <a:srgbClr val="F0F6FC"/>
              </a:solidFill>
              <a:latin typeface="Arial"/>
              <a:ea typeface="Arial"/>
              <a:cs typeface="Arial"/>
              <a:sym typeface="Arial"/>
            </a:endParaRPr>
          </a:p>
        </p:txBody>
      </p:sp>
      <p:sp>
        <p:nvSpPr>
          <p:cNvPr id="1176" name="Google Shape;1176;p97"/>
          <p:cNvSpPr/>
          <p:nvPr/>
        </p:nvSpPr>
        <p:spPr>
          <a:xfrm>
            <a:off x="3315144" y="3423847"/>
            <a:ext cx="6400800" cy="888351"/>
          </a:xfrm>
          <a:prstGeom prst="roundRect">
            <a:avLst>
              <a:gd name="adj" fmla="val 10949"/>
            </a:avLst>
          </a:prstGeom>
          <a:noFill/>
          <a:ln w="19050" cap="flat" cmpd="sng">
            <a:solidFill>
              <a:schemeClr val="accent2"/>
            </a:solidFill>
            <a:prstDash val="solid"/>
            <a:round/>
            <a:headEnd type="none" w="sm" len="sm"/>
            <a:tailEnd type="none" w="sm" len="sm"/>
          </a:ln>
        </p:spPr>
        <p:txBody>
          <a:bodyPr spcFirstLastPara="1" wrap="square" lIns="45658" tIns="45658" rIns="45658" bIns="45658"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0" i="0" u="none" strike="noStrike" cap="none">
              <a:solidFill>
                <a:srgbClr val="F0F6FC"/>
              </a:solidFill>
              <a:latin typeface="Arial"/>
              <a:ea typeface="Arial"/>
              <a:cs typeface="Arial"/>
              <a:sym typeface="Arial"/>
            </a:endParaRPr>
          </a:p>
        </p:txBody>
      </p:sp>
      <p:cxnSp>
        <p:nvCxnSpPr>
          <p:cNvPr id="1177" name="Google Shape;1177;p97"/>
          <p:cNvCxnSpPr/>
          <p:nvPr/>
        </p:nvCxnSpPr>
        <p:spPr>
          <a:xfrm>
            <a:off x="1445616" y="1937285"/>
            <a:ext cx="0" cy="727237"/>
          </a:xfrm>
          <a:prstGeom prst="straightConnector1">
            <a:avLst/>
          </a:prstGeom>
          <a:noFill/>
          <a:ln w="19050" cap="rnd" cmpd="sng">
            <a:solidFill>
              <a:schemeClr val="accent1"/>
            </a:solidFill>
            <a:prstDash val="solid"/>
            <a:round/>
            <a:headEnd type="none" w="sm" len="sm"/>
            <a:tailEnd type="none" w="sm" len="sm"/>
          </a:ln>
        </p:spPr>
      </p:cxnSp>
      <p:cxnSp>
        <p:nvCxnSpPr>
          <p:cNvPr id="1178" name="Google Shape;1178;p97"/>
          <p:cNvCxnSpPr>
            <a:stCxn id="1175" idx="1"/>
          </p:cNvCxnSpPr>
          <p:nvPr/>
        </p:nvCxnSpPr>
        <p:spPr>
          <a:xfrm rot="10800000">
            <a:off x="1445497" y="2667399"/>
            <a:ext cx="720000" cy="0"/>
          </a:xfrm>
          <a:prstGeom prst="straightConnector1">
            <a:avLst/>
          </a:prstGeom>
          <a:noFill/>
          <a:ln w="19050" cap="rnd" cmpd="sng">
            <a:solidFill>
              <a:schemeClr val="accent5"/>
            </a:solidFill>
            <a:prstDash val="solid"/>
            <a:round/>
            <a:headEnd type="none" w="sm" len="sm"/>
            <a:tailEnd type="none" w="sm" len="sm"/>
          </a:ln>
        </p:spPr>
      </p:cxnSp>
      <p:cxnSp>
        <p:nvCxnSpPr>
          <p:cNvPr id="1179" name="Google Shape;1179;p97"/>
          <p:cNvCxnSpPr/>
          <p:nvPr/>
        </p:nvCxnSpPr>
        <p:spPr>
          <a:xfrm>
            <a:off x="3762476" y="4310756"/>
            <a:ext cx="0" cy="727237"/>
          </a:xfrm>
          <a:prstGeom prst="straightConnector1">
            <a:avLst/>
          </a:prstGeom>
          <a:noFill/>
          <a:ln w="19050" cap="rnd" cmpd="sng">
            <a:solidFill>
              <a:schemeClr val="accent2"/>
            </a:solidFill>
            <a:prstDash val="solid"/>
            <a:round/>
            <a:headEnd type="none" w="sm" len="sm"/>
            <a:tailEnd type="none" w="sm" len="sm"/>
          </a:ln>
        </p:spPr>
      </p:cxnSp>
      <p:cxnSp>
        <p:nvCxnSpPr>
          <p:cNvPr id="1180" name="Google Shape;1180;p97"/>
          <p:cNvCxnSpPr/>
          <p:nvPr/>
        </p:nvCxnSpPr>
        <p:spPr>
          <a:xfrm rot="10800000">
            <a:off x="3762478" y="5040868"/>
            <a:ext cx="719881" cy="0"/>
          </a:xfrm>
          <a:prstGeom prst="straightConnector1">
            <a:avLst/>
          </a:prstGeom>
          <a:noFill/>
          <a:ln w="19050" cap="rnd" cmpd="sng">
            <a:solidFill>
              <a:schemeClr val="accent6"/>
            </a:solidFill>
            <a:prstDash val="solid"/>
            <a:round/>
            <a:headEnd type="none" w="sm" len="sm"/>
            <a:tailEnd type="none" w="sm" len="sm"/>
          </a:ln>
        </p:spPr>
      </p:cxnSp>
      <p:sp>
        <p:nvSpPr>
          <p:cNvPr id="1181" name="Google Shape;1181;p97"/>
          <p:cNvSpPr/>
          <p:nvPr/>
        </p:nvSpPr>
        <p:spPr>
          <a:xfrm>
            <a:off x="4482356" y="4614459"/>
            <a:ext cx="6400800" cy="888351"/>
          </a:xfrm>
          <a:prstGeom prst="roundRect">
            <a:avLst>
              <a:gd name="adj" fmla="val 10949"/>
            </a:avLst>
          </a:prstGeom>
          <a:noFill/>
          <a:ln w="19050" cap="flat" cmpd="sng">
            <a:solidFill>
              <a:schemeClr val="accent6"/>
            </a:solidFill>
            <a:prstDash val="solid"/>
            <a:round/>
            <a:headEnd type="none" w="sm" len="sm"/>
            <a:tailEnd type="none" w="sm" len="sm"/>
          </a:ln>
        </p:spPr>
        <p:txBody>
          <a:bodyPr spcFirstLastPara="1" wrap="square" lIns="45658" tIns="45658" rIns="45658" bIns="45658" anchor="ctr" anchorCtr="0">
            <a:noAutofit/>
          </a:bodyPr>
          <a:lstStyle/>
          <a:p>
            <a:pPr marL="0" marR="0" lvl="0" indent="0" algn="l" rtl="0">
              <a:lnSpc>
                <a:spcPct val="100000"/>
              </a:lnSpc>
              <a:spcBef>
                <a:spcPts val="0"/>
              </a:spcBef>
              <a:spcAft>
                <a:spcPts val="0"/>
              </a:spcAft>
              <a:buClr>
                <a:srgbClr val="F0F6FC"/>
              </a:buClr>
              <a:buSzPts val="8300"/>
              <a:buFont typeface="Arial"/>
              <a:buNone/>
            </a:pPr>
            <a:endParaRPr sz="11056" b="0" i="0" u="none" strike="noStrike" cap="none">
              <a:solidFill>
                <a:srgbClr val="F0F6FC"/>
              </a:solidFill>
              <a:latin typeface="Arial"/>
              <a:ea typeface="Arial"/>
              <a:cs typeface="Arial"/>
              <a:sym typeface="Arial"/>
            </a:endParaRPr>
          </a:p>
        </p:txBody>
      </p:sp>
      <p:sp>
        <p:nvSpPr>
          <p:cNvPr id="1182" name="Google Shape;1182;p97"/>
          <p:cNvSpPr txBox="1">
            <a:spLocks noGrp="1"/>
          </p:cNvSpPr>
          <p:nvPr>
            <p:ph type="subTitle" idx="1"/>
          </p:nvPr>
        </p:nvSpPr>
        <p:spPr>
          <a:xfrm>
            <a:off x="1219200" y="1304545"/>
            <a:ext cx="60108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83" name="Google Shape;1183;p97"/>
          <p:cNvSpPr txBox="1">
            <a:spLocks noGrp="1"/>
          </p:cNvSpPr>
          <p:nvPr>
            <p:ph type="subTitle" idx="2"/>
          </p:nvPr>
        </p:nvSpPr>
        <p:spPr>
          <a:xfrm>
            <a:off x="2365248" y="2474977"/>
            <a:ext cx="60108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84" name="Google Shape;1184;p97"/>
          <p:cNvSpPr txBox="1">
            <a:spLocks noGrp="1"/>
          </p:cNvSpPr>
          <p:nvPr>
            <p:ph type="subTitle" idx="3"/>
          </p:nvPr>
        </p:nvSpPr>
        <p:spPr>
          <a:xfrm>
            <a:off x="3511296" y="3669793"/>
            <a:ext cx="60108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185" name="Google Shape;1185;p97"/>
          <p:cNvSpPr txBox="1">
            <a:spLocks noGrp="1"/>
          </p:cNvSpPr>
          <p:nvPr>
            <p:ph type="subTitle" idx="4"/>
          </p:nvPr>
        </p:nvSpPr>
        <p:spPr>
          <a:xfrm>
            <a:off x="4681728" y="4864608"/>
            <a:ext cx="5218000" cy="3900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Tree>
    <p:extLst>
      <p:ext uri="{BB962C8B-B14F-4D97-AF65-F5344CB8AC3E}">
        <p14:creationId xmlns:p14="http://schemas.microsoft.com/office/powerpoint/2010/main" val="246978715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matchingName="93. Title/funnel four">
  <p:cSld name="93. Title/funnel four">
    <p:spTree>
      <p:nvGrpSpPr>
        <p:cNvPr id="1" name="Shape 1186"/>
        <p:cNvGrpSpPr/>
        <p:nvPr/>
      </p:nvGrpSpPr>
      <p:grpSpPr>
        <a:xfrm>
          <a:off x="0" y="0"/>
          <a:ext cx="0" cy="0"/>
          <a:chOff x="0" y="0"/>
          <a:chExt cx="0" cy="0"/>
        </a:xfrm>
      </p:grpSpPr>
      <p:sp>
        <p:nvSpPr>
          <p:cNvPr id="1187" name="Google Shape;1187;p98"/>
          <p:cNvSpPr/>
          <p:nvPr/>
        </p:nvSpPr>
        <p:spPr>
          <a:xfrm>
            <a:off x="7348000" y="4248751"/>
            <a:ext cx="2627200" cy="603600"/>
          </a:xfrm>
          <a:prstGeom prst="roundRect">
            <a:avLst>
              <a:gd name="adj" fmla="val 17744"/>
            </a:avLst>
          </a:prstGeom>
          <a:noFill/>
          <a:ln w="19050" cap="flat" cmpd="sng">
            <a:solidFill>
              <a:srgbClr val="2A9D9A"/>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188" name="Google Shape;1188;p98"/>
          <p:cNvSpPr/>
          <p:nvPr/>
        </p:nvSpPr>
        <p:spPr>
          <a:xfrm>
            <a:off x="7055800" y="3501052"/>
            <a:ext cx="3211600" cy="603600"/>
          </a:xfrm>
          <a:prstGeom prst="roundRect">
            <a:avLst>
              <a:gd name="adj" fmla="val 13535"/>
            </a:avLst>
          </a:prstGeom>
          <a:no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189" name="Google Shape;1189;p98"/>
          <p:cNvSpPr/>
          <p:nvPr/>
        </p:nvSpPr>
        <p:spPr>
          <a:xfrm>
            <a:off x="6698600" y="2753351"/>
            <a:ext cx="3926000" cy="603600"/>
          </a:xfrm>
          <a:prstGeom prst="roundRect">
            <a:avLst>
              <a:gd name="adj" fmla="val 13535"/>
            </a:avLst>
          </a:prstGeom>
          <a:noFill/>
          <a:ln w="19050" cap="flat" cmpd="sng">
            <a:solidFill>
              <a:srgbClr val="797EF9"/>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190" name="Google Shape;1190;p98"/>
          <p:cNvSpPr/>
          <p:nvPr/>
        </p:nvSpPr>
        <p:spPr>
          <a:xfrm>
            <a:off x="6350000" y="2005685"/>
            <a:ext cx="4623200" cy="603600"/>
          </a:xfrm>
          <a:prstGeom prst="roundRect">
            <a:avLst>
              <a:gd name="adj" fmla="val 15640"/>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191" name="Google Shape;1191;p98"/>
          <p:cNvSpPr txBox="1">
            <a:spLocks noGrp="1"/>
          </p:cNvSpPr>
          <p:nvPr>
            <p:ph type="title"/>
          </p:nvPr>
        </p:nvSpPr>
        <p:spPr>
          <a:xfrm>
            <a:off x="608397" y="2266952"/>
            <a:ext cx="4777708" cy="23241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1192" name="Google Shape;1192;p98"/>
          <p:cNvSpPr txBox="1">
            <a:spLocks noGrp="1"/>
          </p:cNvSpPr>
          <p:nvPr>
            <p:ph type="subTitle" idx="1"/>
          </p:nvPr>
        </p:nvSpPr>
        <p:spPr>
          <a:xfrm>
            <a:off x="6698600" y="2095051"/>
            <a:ext cx="39260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193" name="Google Shape;1193;p98"/>
          <p:cNvSpPr txBox="1">
            <a:spLocks noGrp="1"/>
          </p:cNvSpPr>
          <p:nvPr>
            <p:ph type="subTitle" idx="2"/>
          </p:nvPr>
        </p:nvSpPr>
        <p:spPr>
          <a:xfrm>
            <a:off x="6885800" y="2844651"/>
            <a:ext cx="35516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194" name="Google Shape;1194;p98"/>
          <p:cNvSpPr txBox="1">
            <a:spLocks noGrp="1"/>
          </p:cNvSpPr>
          <p:nvPr>
            <p:ph type="subTitle" idx="3"/>
          </p:nvPr>
        </p:nvSpPr>
        <p:spPr>
          <a:xfrm>
            <a:off x="7316200" y="3588351"/>
            <a:ext cx="26908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195" name="Google Shape;1195;p98"/>
          <p:cNvSpPr txBox="1">
            <a:spLocks noGrp="1"/>
          </p:cNvSpPr>
          <p:nvPr>
            <p:ph type="subTitle" idx="4"/>
          </p:nvPr>
        </p:nvSpPr>
        <p:spPr>
          <a:xfrm>
            <a:off x="7594800" y="4332085"/>
            <a:ext cx="21336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Tree>
    <p:extLst>
      <p:ext uri="{BB962C8B-B14F-4D97-AF65-F5344CB8AC3E}">
        <p14:creationId xmlns:p14="http://schemas.microsoft.com/office/powerpoint/2010/main" val="1160951217"/>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matchingName="94. Title/funnel five">
  <p:cSld name="94. Title/funnel five">
    <p:spTree>
      <p:nvGrpSpPr>
        <p:cNvPr id="1" name="Shape 1196"/>
        <p:cNvGrpSpPr/>
        <p:nvPr/>
      </p:nvGrpSpPr>
      <p:grpSpPr>
        <a:xfrm>
          <a:off x="0" y="0"/>
          <a:ext cx="0" cy="0"/>
          <a:chOff x="0" y="0"/>
          <a:chExt cx="0" cy="0"/>
        </a:xfrm>
      </p:grpSpPr>
      <p:sp>
        <p:nvSpPr>
          <p:cNvPr id="1197" name="Google Shape;1197;p99"/>
          <p:cNvSpPr txBox="1">
            <a:spLocks noGrp="1"/>
          </p:cNvSpPr>
          <p:nvPr>
            <p:ph type="title"/>
          </p:nvPr>
        </p:nvSpPr>
        <p:spPr>
          <a:xfrm>
            <a:off x="608395" y="2266950"/>
            <a:ext cx="4777600" cy="2324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1198" name="Google Shape;1198;p99"/>
          <p:cNvSpPr/>
          <p:nvPr/>
        </p:nvSpPr>
        <p:spPr>
          <a:xfrm>
            <a:off x="7348000" y="3874834"/>
            <a:ext cx="2627200" cy="603600"/>
          </a:xfrm>
          <a:prstGeom prst="roundRect">
            <a:avLst>
              <a:gd name="adj" fmla="val 17744"/>
            </a:avLst>
          </a:prstGeom>
          <a:noFill/>
          <a:ln w="19050" cap="flat" cmpd="sng">
            <a:solidFill>
              <a:srgbClr val="2A9D9A"/>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199" name="Google Shape;1199;p99"/>
          <p:cNvSpPr/>
          <p:nvPr/>
        </p:nvSpPr>
        <p:spPr>
          <a:xfrm>
            <a:off x="7055800" y="3127134"/>
            <a:ext cx="3211600" cy="603600"/>
          </a:xfrm>
          <a:prstGeom prst="roundRect">
            <a:avLst>
              <a:gd name="adj" fmla="val 13535"/>
            </a:avLst>
          </a:prstGeom>
          <a:no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00" name="Google Shape;1200;p99"/>
          <p:cNvSpPr/>
          <p:nvPr/>
        </p:nvSpPr>
        <p:spPr>
          <a:xfrm>
            <a:off x="6698600" y="2379434"/>
            <a:ext cx="3926000" cy="603600"/>
          </a:xfrm>
          <a:prstGeom prst="roundRect">
            <a:avLst>
              <a:gd name="adj" fmla="val 13535"/>
            </a:avLst>
          </a:prstGeom>
          <a:noFill/>
          <a:ln w="19050" cap="flat" cmpd="sng">
            <a:solidFill>
              <a:srgbClr val="797EF9"/>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01" name="Google Shape;1201;p99"/>
          <p:cNvSpPr/>
          <p:nvPr/>
        </p:nvSpPr>
        <p:spPr>
          <a:xfrm>
            <a:off x="6350000" y="1631767"/>
            <a:ext cx="4623200" cy="603600"/>
          </a:xfrm>
          <a:prstGeom prst="roundRect">
            <a:avLst>
              <a:gd name="adj" fmla="val 15640"/>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02" name="Google Shape;1202;p99"/>
          <p:cNvSpPr txBox="1">
            <a:spLocks noGrp="1"/>
          </p:cNvSpPr>
          <p:nvPr>
            <p:ph type="subTitle" idx="1"/>
          </p:nvPr>
        </p:nvSpPr>
        <p:spPr>
          <a:xfrm>
            <a:off x="6698600" y="1721134"/>
            <a:ext cx="39260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203" name="Google Shape;1203;p99"/>
          <p:cNvSpPr txBox="1">
            <a:spLocks noGrp="1"/>
          </p:cNvSpPr>
          <p:nvPr>
            <p:ph type="subTitle" idx="2"/>
          </p:nvPr>
        </p:nvSpPr>
        <p:spPr>
          <a:xfrm>
            <a:off x="6885800" y="2470734"/>
            <a:ext cx="35516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204" name="Google Shape;1204;p99"/>
          <p:cNvSpPr txBox="1">
            <a:spLocks noGrp="1"/>
          </p:cNvSpPr>
          <p:nvPr>
            <p:ph type="subTitle" idx="3"/>
          </p:nvPr>
        </p:nvSpPr>
        <p:spPr>
          <a:xfrm>
            <a:off x="7316200" y="3214434"/>
            <a:ext cx="26908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205" name="Google Shape;1205;p99"/>
          <p:cNvSpPr txBox="1">
            <a:spLocks noGrp="1"/>
          </p:cNvSpPr>
          <p:nvPr>
            <p:ph type="subTitle" idx="4"/>
          </p:nvPr>
        </p:nvSpPr>
        <p:spPr>
          <a:xfrm>
            <a:off x="7594800" y="3958167"/>
            <a:ext cx="21336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206" name="Google Shape;1206;p99"/>
          <p:cNvSpPr/>
          <p:nvPr/>
        </p:nvSpPr>
        <p:spPr>
          <a:xfrm>
            <a:off x="7594800" y="4622552"/>
            <a:ext cx="2133600" cy="603600"/>
          </a:xfrm>
          <a:prstGeom prst="roundRect">
            <a:avLst>
              <a:gd name="adj" fmla="val 17744"/>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07" name="Google Shape;1207;p99"/>
          <p:cNvSpPr txBox="1">
            <a:spLocks noGrp="1"/>
          </p:cNvSpPr>
          <p:nvPr>
            <p:ph type="subTitle" idx="5"/>
          </p:nvPr>
        </p:nvSpPr>
        <p:spPr>
          <a:xfrm>
            <a:off x="7795215" y="4705885"/>
            <a:ext cx="17324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Tree>
    <p:extLst>
      <p:ext uri="{BB962C8B-B14F-4D97-AF65-F5344CB8AC3E}">
        <p14:creationId xmlns:p14="http://schemas.microsoft.com/office/powerpoint/2010/main" val="68742571"/>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matchingName="95. Funnel four w supporting">
  <p:cSld name="95. Funnel four w supporting">
    <p:spTree>
      <p:nvGrpSpPr>
        <p:cNvPr id="1" name="Shape 1208"/>
        <p:cNvGrpSpPr/>
        <p:nvPr/>
      </p:nvGrpSpPr>
      <p:grpSpPr>
        <a:xfrm>
          <a:off x="0" y="0"/>
          <a:ext cx="0" cy="0"/>
          <a:chOff x="0" y="0"/>
          <a:chExt cx="0" cy="0"/>
        </a:xfrm>
      </p:grpSpPr>
      <p:cxnSp>
        <p:nvCxnSpPr>
          <p:cNvPr id="1209" name="Google Shape;1209;p100"/>
          <p:cNvCxnSpPr/>
          <p:nvPr/>
        </p:nvCxnSpPr>
        <p:spPr>
          <a:xfrm flipH="1">
            <a:off x="2166601" y="2004067"/>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1210" name="Google Shape;1210;p100"/>
          <p:cNvCxnSpPr/>
          <p:nvPr/>
        </p:nvCxnSpPr>
        <p:spPr>
          <a:xfrm flipH="1">
            <a:off x="2156303" y="2868044"/>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1211" name="Google Shape;1211;p100"/>
          <p:cNvCxnSpPr/>
          <p:nvPr/>
        </p:nvCxnSpPr>
        <p:spPr>
          <a:xfrm flipH="1">
            <a:off x="2156303" y="3739574"/>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1212" name="Google Shape;1212;p100"/>
          <p:cNvCxnSpPr/>
          <p:nvPr/>
        </p:nvCxnSpPr>
        <p:spPr>
          <a:xfrm flipH="1">
            <a:off x="2166601" y="4618651"/>
            <a:ext cx="5296000" cy="6000"/>
          </a:xfrm>
          <a:prstGeom prst="straightConnector1">
            <a:avLst/>
          </a:prstGeom>
          <a:noFill/>
          <a:ln w="19050" cap="flat" cmpd="sng">
            <a:solidFill>
              <a:schemeClr val="dk2"/>
            </a:solidFill>
            <a:prstDash val="solid"/>
            <a:round/>
            <a:headEnd type="none" w="sm" len="sm"/>
            <a:tailEnd type="none" w="sm" len="sm"/>
          </a:ln>
        </p:spPr>
      </p:cxnSp>
      <p:sp>
        <p:nvSpPr>
          <p:cNvPr id="1213" name="Google Shape;1213;p100"/>
          <p:cNvSpPr/>
          <p:nvPr/>
        </p:nvSpPr>
        <p:spPr>
          <a:xfrm>
            <a:off x="1516387" y="1641307"/>
            <a:ext cx="729701" cy="73152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i="0" u="none" strike="noStrike" cap="none">
                <a:solidFill>
                  <a:schemeClr val="lt1"/>
                </a:solidFill>
                <a:latin typeface="Arial"/>
                <a:ea typeface="Arial"/>
                <a:cs typeface="Arial"/>
                <a:sym typeface="Arial"/>
              </a:rPr>
              <a:t>1</a:t>
            </a:r>
            <a:endParaRPr sz="1865" i="0" u="none" strike="noStrike" cap="none">
              <a:solidFill>
                <a:schemeClr val="lt1"/>
              </a:solidFill>
              <a:latin typeface="Arial"/>
              <a:ea typeface="Arial"/>
              <a:cs typeface="Arial"/>
              <a:sym typeface="Arial"/>
            </a:endParaRPr>
          </a:p>
        </p:txBody>
      </p:sp>
      <p:sp>
        <p:nvSpPr>
          <p:cNvPr id="1214" name="Google Shape;1214;p100"/>
          <p:cNvSpPr/>
          <p:nvPr/>
        </p:nvSpPr>
        <p:spPr>
          <a:xfrm>
            <a:off x="1514568" y="2505284"/>
            <a:ext cx="731520" cy="731520"/>
          </a:xfrm>
          <a:prstGeom prst="ellipse">
            <a:avLst/>
          </a:prstGeom>
          <a:solidFill>
            <a:srgbClr val="090C0F"/>
          </a:solidFill>
          <a:ln w="19050" cap="flat" cmpd="sng">
            <a:solidFill>
              <a:srgbClr val="797EF9"/>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i="0" u="none" strike="noStrike" cap="none">
                <a:solidFill>
                  <a:schemeClr val="lt1"/>
                </a:solidFill>
                <a:latin typeface="Arial"/>
                <a:ea typeface="Arial"/>
                <a:cs typeface="Arial"/>
                <a:sym typeface="Arial"/>
              </a:rPr>
              <a:t>2</a:t>
            </a:r>
            <a:endParaRPr sz="1865" i="0" u="none" strike="noStrike" cap="none">
              <a:solidFill>
                <a:schemeClr val="lt1"/>
              </a:solidFill>
              <a:latin typeface="Arial"/>
              <a:ea typeface="Arial"/>
              <a:cs typeface="Arial"/>
              <a:sym typeface="Arial"/>
            </a:endParaRPr>
          </a:p>
        </p:txBody>
      </p:sp>
      <p:sp>
        <p:nvSpPr>
          <p:cNvPr id="1215" name="Google Shape;1215;p100"/>
          <p:cNvSpPr/>
          <p:nvPr/>
        </p:nvSpPr>
        <p:spPr>
          <a:xfrm>
            <a:off x="1514568" y="3376814"/>
            <a:ext cx="731520" cy="731520"/>
          </a:xfrm>
          <a:prstGeom prst="ellipse">
            <a:avLst/>
          </a:prstGeom>
          <a:solidFill>
            <a:srgbClr val="090C0F"/>
          </a:solidFill>
          <a:ln w="19050" cap="flat" cmpd="sng">
            <a:solidFill>
              <a:srgbClr val="388BFD"/>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i="0" u="none" strike="noStrike" cap="none">
                <a:solidFill>
                  <a:schemeClr val="lt1"/>
                </a:solidFill>
                <a:latin typeface="Arial"/>
                <a:ea typeface="Arial"/>
                <a:cs typeface="Arial"/>
                <a:sym typeface="Arial"/>
              </a:rPr>
              <a:t>3</a:t>
            </a:r>
            <a:endParaRPr sz="1865" i="0" u="none" strike="noStrike" cap="none">
              <a:solidFill>
                <a:schemeClr val="lt1"/>
              </a:solidFill>
              <a:latin typeface="Arial"/>
              <a:ea typeface="Arial"/>
              <a:cs typeface="Arial"/>
              <a:sym typeface="Arial"/>
            </a:endParaRPr>
          </a:p>
        </p:txBody>
      </p:sp>
      <p:sp>
        <p:nvSpPr>
          <p:cNvPr id="1216" name="Google Shape;1216;p100"/>
          <p:cNvSpPr/>
          <p:nvPr/>
        </p:nvSpPr>
        <p:spPr>
          <a:xfrm>
            <a:off x="1515719" y="4255891"/>
            <a:ext cx="731520" cy="731520"/>
          </a:xfrm>
          <a:prstGeom prst="ellipse">
            <a:avLst/>
          </a:prstGeom>
          <a:solidFill>
            <a:srgbClr val="090C0F"/>
          </a:solidFill>
          <a:ln w="19050" cap="flat" cmpd="sng">
            <a:solidFill>
              <a:srgbClr val="2A9D9A"/>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i="0" u="none" strike="noStrike" cap="none">
                <a:solidFill>
                  <a:schemeClr val="lt1"/>
                </a:solidFill>
                <a:latin typeface="Arial"/>
                <a:ea typeface="Arial"/>
                <a:cs typeface="Arial"/>
                <a:sym typeface="Arial"/>
              </a:rPr>
              <a:t>4</a:t>
            </a:r>
            <a:endParaRPr sz="1865" i="0" u="none" strike="noStrike" cap="none">
              <a:solidFill>
                <a:schemeClr val="lt1"/>
              </a:solidFill>
              <a:latin typeface="Arial"/>
              <a:ea typeface="Arial"/>
              <a:cs typeface="Arial"/>
              <a:sym typeface="Arial"/>
            </a:endParaRPr>
          </a:p>
        </p:txBody>
      </p:sp>
      <p:sp>
        <p:nvSpPr>
          <p:cNvPr id="1217" name="Google Shape;1217;p100"/>
          <p:cNvSpPr txBox="1">
            <a:spLocks noGrp="1"/>
          </p:cNvSpPr>
          <p:nvPr>
            <p:ph type="subTitle" idx="1"/>
          </p:nvPr>
        </p:nvSpPr>
        <p:spPr>
          <a:xfrm>
            <a:off x="7586033" y="1708267"/>
            <a:ext cx="3334800" cy="5976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218" name="Google Shape;1218;p100"/>
          <p:cNvSpPr txBox="1">
            <a:spLocks noGrp="1"/>
          </p:cNvSpPr>
          <p:nvPr>
            <p:ph type="subTitle" idx="2"/>
          </p:nvPr>
        </p:nvSpPr>
        <p:spPr>
          <a:xfrm>
            <a:off x="7586033" y="2572244"/>
            <a:ext cx="3334800" cy="5976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219" name="Google Shape;1219;p100"/>
          <p:cNvSpPr txBox="1">
            <a:spLocks noGrp="1"/>
          </p:cNvSpPr>
          <p:nvPr>
            <p:ph type="subTitle" idx="3"/>
          </p:nvPr>
        </p:nvSpPr>
        <p:spPr>
          <a:xfrm>
            <a:off x="7586033" y="3443776"/>
            <a:ext cx="3334800" cy="5976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220" name="Google Shape;1220;p100"/>
          <p:cNvSpPr txBox="1">
            <a:spLocks noGrp="1"/>
          </p:cNvSpPr>
          <p:nvPr>
            <p:ph type="subTitle" idx="4"/>
          </p:nvPr>
        </p:nvSpPr>
        <p:spPr>
          <a:xfrm>
            <a:off x="7586033" y="4322851"/>
            <a:ext cx="3334800" cy="5976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221" name="Google Shape;1221;p100"/>
          <p:cNvSpPr/>
          <p:nvPr/>
        </p:nvSpPr>
        <p:spPr>
          <a:xfrm>
            <a:off x="3571097" y="4319851"/>
            <a:ext cx="2627200" cy="603600"/>
          </a:xfrm>
          <a:prstGeom prst="roundRect">
            <a:avLst>
              <a:gd name="adj" fmla="val 17744"/>
            </a:avLst>
          </a:prstGeom>
          <a:solidFill>
            <a:srgbClr val="090C0F"/>
          </a:solidFill>
          <a:ln w="19050" cap="flat" cmpd="sng">
            <a:solidFill>
              <a:srgbClr val="2A9D9A"/>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22" name="Google Shape;1222;p100"/>
          <p:cNvSpPr/>
          <p:nvPr/>
        </p:nvSpPr>
        <p:spPr>
          <a:xfrm>
            <a:off x="3278897" y="3440776"/>
            <a:ext cx="3211600" cy="603600"/>
          </a:xfrm>
          <a:prstGeom prst="roundRect">
            <a:avLst>
              <a:gd name="adj" fmla="val 13535"/>
            </a:avLst>
          </a:prstGeom>
          <a:solidFill>
            <a:srgbClr val="090C0F"/>
          </a:solid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23" name="Google Shape;1223;p100"/>
          <p:cNvSpPr/>
          <p:nvPr/>
        </p:nvSpPr>
        <p:spPr>
          <a:xfrm>
            <a:off x="2921697" y="2569244"/>
            <a:ext cx="3926000" cy="603600"/>
          </a:xfrm>
          <a:prstGeom prst="roundRect">
            <a:avLst>
              <a:gd name="adj" fmla="val 13535"/>
            </a:avLst>
          </a:prstGeom>
          <a:solidFill>
            <a:srgbClr val="090C0F"/>
          </a:solidFill>
          <a:ln w="19050" cap="flat" cmpd="sng">
            <a:solidFill>
              <a:srgbClr val="797EF9"/>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24" name="Google Shape;1224;p100"/>
          <p:cNvSpPr/>
          <p:nvPr/>
        </p:nvSpPr>
        <p:spPr>
          <a:xfrm>
            <a:off x="2573097" y="1750148"/>
            <a:ext cx="4623200" cy="603600"/>
          </a:xfrm>
          <a:prstGeom prst="roundRect">
            <a:avLst>
              <a:gd name="adj" fmla="val 15640"/>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25" name="Google Shape;1225;p100"/>
          <p:cNvSpPr txBox="1">
            <a:spLocks noGrp="1"/>
          </p:cNvSpPr>
          <p:nvPr>
            <p:ph type="subTitle" idx="5"/>
          </p:nvPr>
        </p:nvSpPr>
        <p:spPr>
          <a:xfrm>
            <a:off x="2921697" y="1793667"/>
            <a:ext cx="39260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226" name="Google Shape;1226;p100"/>
          <p:cNvSpPr txBox="1">
            <a:spLocks noGrp="1"/>
          </p:cNvSpPr>
          <p:nvPr>
            <p:ph type="subTitle" idx="6"/>
          </p:nvPr>
        </p:nvSpPr>
        <p:spPr>
          <a:xfrm>
            <a:off x="3108897" y="2657645"/>
            <a:ext cx="35516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227" name="Google Shape;1227;p100"/>
          <p:cNvSpPr txBox="1">
            <a:spLocks noGrp="1"/>
          </p:cNvSpPr>
          <p:nvPr>
            <p:ph type="subTitle" idx="7"/>
          </p:nvPr>
        </p:nvSpPr>
        <p:spPr>
          <a:xfrm>
            <a:off x="3539297" y="3529175"/>
            <a:ext cx="26908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228" name="Google Shape;1228;p100"/>
          <p:cNvSpPr txBox="1">
            <a:spLocks noGrp="1"/>
          </p:cNvSpPr>
          <p:nvPr>
            <p:ph type="subTitle" idx="8"/>
          </p:nvPr>
        </p:nvSpPr>
        <p:spPr>
          <a:xfrm>
            <a:off x="3817897" y="4408251"/>
            <a:ext cx="21336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229" name="Google Shape;1229;p100"/>
          <p:cNvSpPr>
            <a:spLocks noGrp="1"/>
          </p:cNvSpPr>
          <p:nvPr>
            <p:ph type="pic" idx="9"/>
          </p:nvPr>
        </p:nvSpPr>
        <p:spPr>
          <a:xfrm>
            <a:off x="1666968" y="1801661"/>
            <a:ext cx="426720" cy="426720"/>
          </a:xfrm>
          <a:prstGeom prst="rect">
            <a:avLst/>
          </a:prstGeom>
          <a:noFill/>
          <a:ln>
            <a:noFill/>
          </a:ln>
        </p:spPr>
      </p:sp>
      <p:sp>
        <p:nvSpPr>
          <p:cNvPr id="1230" name="Google Shape;1230;p100"/>
          <p:cNvSpPr>
            <a:spLocks noGrp="1"/>
          </p:cNvSpPr>
          <p:nvPr>
            <p:ph type="pic" idx="13"/>
          </p:nvPr>
        </p:nvSpPr>
        <p:spPr>
          <a:xfrm>
            <a:off x="1666968" y="2657724"/>
            <a:ext cx="426720" cy="426720"/>
          </a:xfrm>
          <a:prstGeom prst="rect">
            <a:avLst/>
          </a:prstGeom>
          <a:noFill/>
          <a:ln>
            <a:noFill/>
          </a:ln>
        </p:spPr>
      </p:sp>
      <p:sp>
        <p:nvSpPr>
          <p:cNvPr id="1231" name="Google Shape;1231;p100"/>
          <p:cNvSpPr>
            <a:spLocks noGrp="1"/>
          </p:cNvSpPr>
          <p:nvPr>
            <p:ph type="pic" idx="14"/>
          </p:nvPr>
        </p:nvSpPr>
        <p:spPr>
          <a:xfrm>
            <a:off x="1662717" y="3542033"/>
            <a:ext cx="426720" cy="426720"/>
          </a:xfrm>
          <a:prstGeom prst="rect">
            <a:avLst/>
          </a:prstGeom>
          <a:noFill/>
          <a:ln>
            <a:noFill/>
          </a:ln>
        </p:spPr>
      </p:sp>
      <p:sp>
        <p:nvSpPr>
          <p:cNvPr id="1232" name="Google Shape;1232;p100"/>
          <p:cNvSpPr>
            <a:spLocks noGrp="1"/>
          </p:cNvSpPr>
          <p:nvPr>
            <p:ph type="pic" idx="15"/>
          </p:nvPr>
        </p:nvSpPr>
        <p:spPr>
          <a:xfrm>
            <a:off x="1662717" y="4408331"/>
            <a:ext cx="426720" cy="426720"/>
          </a:xfrm>
          <a:prstGeom prst="rect">
            <a:avLst/>
          </a:prstGeom>
          <a:noFill/>
          <a:ln>
            <a:noFill/>
          </a:ln>
        </p:spPr>
      </p:sp>
    </p:spTree>
    <p:extLst>
      <p:ext uri="{BB962C8B-B14F-4D97-AF65-F5344CB8AC3E}">
        <p14:creationId xmlns:p14="http://schemas.microsoft.com/office/powerpoint/2010/main" val="734072425"/>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95. Funnel four w supporting">
  <p:cSld name="1_95. Funnel four w supporting">
    <p:spTree>
      <p:nvGrpSpPr>
        <p:cNvPr id="1" name="Shape 1233"/>
        <p:cNvGrpSpPr/>
        <p:nvPr/>
      </p:nvGrpSpPr>
      <p:grpSpPr>
        <a:xfrm>
          <a:off x="0" y="0"/>
          <a:ext cx="0" cy="0"/>
          <a:chOff x="0" y="0"/>
          <a:chExt cx="0" cy="0"/>
        </a:xfrm>
      </p:grpSpPr>
      <p:cxnSp>
        <p:nvCxnSpPr>
          <p:cNvPr id="1234" name="Google Shape;1234;p101"/>
          <p:cNvCxnSpPr/>
          <p:nvPr/>
        </p:nvCxnSpPr>
        <p:spPr>
          <a:xfrm flipH="1">
            <a:off x="2166601" y="1585353"/>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1235" name="Google Shape;1235;p101"/>
          <p:cNvCxnSpPr/>
          <p:nvPr/>
        </p:nvCxnSpPr>
        <p:spPr>
          <a:xfrm flipH="1">
            <a:off x="2156303" y="2449330"/>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1236" name="Google Shape;1236;p101"/>
          <p:cNvCxnSpPr/>
          <p:nvPr/>
        </p:nvCxnSpPr>
        <p:spPr>
          <a:xfrm flipH="1">
            <a:off x="2156303" y="3320861"/>
            <a:ext cx="5296000" cy="6000"/>
          </a:xfrm>
          <a:prstGeom prst="straightConnector1">
            <a:avLst/>
          </a:prstGeom>
          <a:noFill/>
          <a:ln w="19050" cap="flat" cmpd="sng">
            <a:solidFill>
              <a:schemeClr val="dk2"/>
            </a:solidFill>
            <a:prstDash val="solid"/>
            <a:round/>
            <a:headEnd type="none" w="sm" len="sm"/>
            <a:tailEnd type="none" w="sm" len="sm"/>
          </a:ln>
        </p:spPr>
      </p:cxnSp>
      <p:cxnSp>
        <p:nvCxnSpPr>
          <p:cNvPr id="1237" name="Google Shape;1237;p101"/>
          <p:cNvCxnSpPr/>
          <p:nvPr/>
        </p:nvCxnSpPr>
        <p:spPr>
          <a:xfrm flipH="1">
            <a:off x="2166601" y="4199937"/>
            <a:ext cx="5296000" cy="6000"/>
          </a:xfrm>
          <a:prstGeom prst="straightConnector1">
            <a:avLst/>
          </a:prstGeom>
          <a:noFill/>
          <a:ln w="19050" cap="flat" cmpd="sng">
            <a:solidFill>
              <a:schemeClr val="dk2"/>
            </a:solidFill>
            <a:prstDash val="solid"/>
            <a:round/>
            <a:headEnd type="none" w="sm" len="sm"/>
            <a:tailEnd type="none" w="sm" len="sm"/>
          </a:ln>
        </p:spPr>
      </p:cxnSp>
      <p:sp>
        <p:nvSpPr>
          <p:cNvPr id="1238" name="Google Shape;1238;p101"/>
          <p:cNvSpPr/>
          <p:nvPr/>
        </p:nvSpPr>
        <p:spPr>
          <a:xfrm>
            <a:off x="1516387" y="1222593"/>
            <a:ext cx="729701" cy="731520"/>
          </a:xfrm>
          <a:prstGeom prst="ellipse">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i="0" u="none" strike="noStrike" cap="none">
                <a:solidFill>
                  <a:schemeClr val="lt1"/>
                </a:solidFill>
                <a:latin typeface="Arial"/>
                <a:ea typeface="Arial"/>
                <a:cs typeface="Arial"/>
                <a:sym typeface="Arial"/>
              </a:rPr>
              <a:t>1</a:t>
            </a:r>
            <a:endParaRPr sz="1865" i="0" u="none" strike="noStrike" cap="none">
              <a:solidFill>
                <a:schemeClr val="lt1"/>
              </a:solidFill>
              <a:latin typeface="Arial"/>
              <a:ea typeface="Arial"/>
              <a:cs typeface="Arial"/>
              <a:sym typeface="Arial"/>
            </a:endParaRPr>
          </a:p>
        </p:txBody>
      </p:sp>
      <p:sp>
        <p:nvSpPr>
          <p:cNvPr id="1239" name="Google Shape;1239;p101"/>
          <p:cNvSpPr/>
          <p:nvPr/>
        </p:nvSpPr>
        <p:spPr>
          <a:xfrm>
            <a:off x="1514568" y="2086570"/>
            <a:ext cx="731520" cy="731520"/>
          </a:xfrm>
          <a:prstGeom prst="ellipse">
            <a:avLst/>
          </a:prstGeom>
          <a:solidFill>
            <a:srgbClr val="090C0F"/>
          </a:solidFill>
          <a:ln w="19050" cap="flat" cmpd="sng">
            <a:solidFill>
              <a:srgbClr val="797EF9"/>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i="0" u="none" strike="noStrike" cap="none">
                <a:solidFill>
                  <a:schemeClr val="lt1"/>
                </a:solidFill>
                <a:latin typeface="Arial"/>
                <a:ea typeface="Arial"/>
                <a:cs typeface="Arial"/>
                <a:sym typeface="Arial"/>
              </a:rPr>
              <a:t>2</a:t>
            </a:r>
            <a:endParaRPr sz="1865" i="0" u="none" strike="noStrike" cap="none">
              <a:solidFill>
                <a:schemeClr val="lt1"/>
              </a:solidFill>
              <a:latin typeface="Arial"/>
              <a:ea typeface="Arial"/>
              <a:cs typeface="Arial"/>
              <a:sym typeface="Arial"/>
            </a:endParaRPr>
          </a:p>
        </p:txBody>
      </p:sp>
      <p:sp>
        <p:nvSpPr>
          <p:cNvPr id="1240" name="Google Shape;1240;p101"/>
          <p:cNvSpPr/>
          <p:nvPr/>
        </p:nvSpPr>
        <p:spPr>
          <a:xfrm>
            <a:off x="1514568" y="2958101"/>
            <a:ext cx="731520" cy="731520"/>
          </a:xfrm>
          <a:prstGeom prst="ellipse">
            <a:avLst/>
          </a:prstGeom>
          <a:solidFill>
            <a:srgbClr val="090C0F"/>
          </a:solidFill>
          <a:ln w="19050" cap="flat" cmpd="sng">
            <a:solidFill>
              <a:srgbClr val="388BFD"/>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i="0" u="none" strike="noStrike" cap="none">
                <a:solidFill>
                  <a:schemeClr val="lt1"/>
                </a:solidFill>
                <a:latin typeface="Arial"/>
                <a:ea typeface="Arial"/>
                <a:cs typeface="Arial"/>
                <a:sym typeface="Arial"/>
              </a:rPr>
              <a:t>3</a:t>
            </a:r>
            <a:endParaRPr sz="1865" i="0" u="none" strike="noStrike" cap="none">
              <a:solidFill>
                <a:schemeClr val="lt1"/>
              </a:solidFill>
              <a:latin typeface="Arial"/>
              <a:ea typeface="Arial"/>
              <a:cs typeface="Arial"/>
              <a:sym typeface="Arial"/>
            </a:endParaRPr>
          </a:p>
        </p:txBody>
      </p:sp>
      <p:sp>
        <p:nvSpPr>
          <p:cNvPr id="1241" name="Google Shape;1241;p101"/>
          <p:cNvSpPr/>
          <p:nvPr/>
        </p:nvSpPr>
        <p:spPr>
          <a:xfrm>
            <a:off x="1515719" y="3837177"/>
            <a:ext cx="731520" cy="731520"/>
          </a:xfrm>
          <a:prstGeom prst="ellipse">
            <a:avLst/>
          </a:prstGeom>
          <a:solidFill>
            <a:srgbClr val="090C0F"/>
          </a:solidFill>
          <a:ln w="19050" cap="flat" cmpd="sng">
            <a:solidFill>
              <a:srgbClr val="2A9D9A"/>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865" i="0" u="none" strike="noStrike" cap="none">
                <a:solidFill>
                  <a:schemeClr val="lt1"/>
                </a:solidFill>
                <a:latin typeface="Arial"/>
                <a:ea typeface="Arial"/>
                <a:cs typeface="Arial"/>
                <a:sym typeface="Arial"/>
              </a:rPr>
              <a:t>4</a:t>
            </a:r>
            <a:endParaRPr sz="1865" i="0" u="none" strike="noStrike" cap="none">
              <a:solidFill>
                <a:schemeClr val="lt1"/>
              </a:solidFill>
              <a:latin typeface="Arial"/>
              <a:ea typeface="Arial"/>
              <a:cs typeface="Arial"/>
              <a:sym typeface="Arial"/>
            </a:endParaRPr>
          </a:p>
        </p:txBody>
      </p:sp>
      <p:sp>
        <p:nvSpPr>
          <p:cNvPr id="1242" name="Google Shape;1242;p101"/>
          <p:cNvSpPr txBox="1">
            <a:spLocks noGrp="1"/>
          </p:cNvSpPr>
          <p:nvPr>
            <p:ph type="subTitle" idx="1"/>
          </p:nvPr>
        </p:nvSpPr>
        <p:spPr>
          <a:xfrm>
            <a:off x="7586033" y="1289554"/>
            <a:ext cx="3334800" cy="5976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243" name="Google Shape;1243;p101"/>
          <p:cNvSpPr txBox="1">
            <a:spLocks noGrp="1"/>
          </p:cNvSpPr>
          <p:nvPr>
            <p:ph type="subTitle" idx="2"/>
          </p:nvPr>
        </p:nvSpPr>
        <p:spPr>
          <a:xfrm>
            <a:off x="7586033" y="2153532"/>
            <a:ext cx="3334800" cy="5976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244" name="Google Shape;1244;p101"/>
          <p:cNvSpPr txBox="1">
            <a:spLocks noGrp="1"/>
          </p:cNvSpPr>
          <p:nvPr>
            <p:ph type="subTitle" idx="3"/>
          </p:nvPr>
        </p:nvSpPr>
        <p:spPr>
          <a:xfrm>
            <a:off x="7586033" y="3025062"/>
            <a:ext cx="3334800" cy="5976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245" name="Google Shape;1245;p101"/>
          <p:cNvSpPr txBox="1">
            <a:spLocks noGrp="1"/>
          </p:cNvSpPr>
          <p:nvPr>
            <p:ph type="subTitle" idx="4"/>
          </p:nvPr>
        </p:nvSpPr>
        <p:spPr>
          <a:xfrm>
            <a:off x="7586033" y="3904139"/>
            <a:ext cx="3334800" cy="597600"/>
          </a:xfrm>
          <a:prstGeom prst="rect">
            <a:avLst/>
          </a:prstGeom>
          <a:noFill/>
          <a:ln>
            <a:noFill/>
          </a:ln>
        </p:spPr>
        <p:txBody>
          <a:bodyPr spcFirstLastPara="1" wrap="square" lIns="91425" tIns="91425" rIns="91425" bIns="91425" anchor="ctr"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246" name="Google Shape;1246;p101"/>
          <p:cNvSpPr/>
          <p:nvPr/>
        </p:nvSpPr>
        <p:spPr>
          <a:xfrm>
            <a:off x="3571097" y="3901139"/>
            <a:ext cx="2627200" cy="603600"/>
          </a:xfrm>
          <a:prstGeom prst="roundRect">
            <a:avLst>
              <a:gd name="adj" fmla="val 17744"/>
            </a:avLst>
          </a:prstGeom>
          <a:solidFill>
            <a:srgbClr val="090C0F"/>
          </a:solidFill>
          <a:ln w="19050" cap="flat" cmpd="sng">
            <a:solidFill>
              <a:srgbClr val="2A9D9A"/>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47" name="Google Shape;1247;p101"/>
          <p:cNvSpPr/>
          <p:nvPr/>
        </p:nvSpPr>
        <p:spPr>
          <a:xfrm>
            <a:off x="3278897" y="3022062"/>
            <a:ext cx="3211600" cy="603600"/>
          </a:xfrm>
          <a:prstGeom prst="roundRect">
            <a:avLst>
              <a:gd name="adj" fmla="val 13535"/>
            </a:avLst>
          </a:prstGeom>
          <a:solidFill>
            <a:srgbClr val="090C0F"/>
          </a:solidFill>
          <a:ln w="19050" cap="flat" cmpd="sng">
            <a:solidFill>
              <a:srgbClr val="388BFD"/>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48" name="Google Shape;1248;p101"/>
          <p:cNvSpPr/>
          <p:nvPr/>
        </p:nvSpPr>
        <p:spPr>
          <a:xfrm>
            <a:off x="2921697" y="2150532"/>
            <a:ext cx="3926000" cy="603600"/>
          </a:xfrm>
          <a:prstGeom prst="roundRect">
            <a:avLst>
              <a:gd name="adj" fmla="val 13535"/>
            </a:avLst>
          </a:prstGeom>
          <a:solidFill>
            <a:srgbClr val="090C0F"/>
          </a:solidFill>
          <a:ln w="19050" cap="flat" cmpd="sng">
            <a:solidFill>
              <a:srgbClr val="797EF9"/>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49" name="Google Shape;1249;p101"/>
          <p:cNvSpPr/>
          <p:nvPr/>
        </p:nvSpPr>
        <p:spPr>
          <a:xfrm>
            <a:off x="2573097" y="1331434"/>
            <a:ext cx="4623200" cy="603600"/>
          </a:xfrm>
          <a:prstGeom prst="roundRect">
            <a:avLst>
              <a:gd name="adj" fmla="val 15640"/>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50" name="Google Shape;1250;p101"/>
          <p:cNvSpPr txBox="1">
            <a:spLocks noGrp="1"/>
          </p:cNvSpPr>
          <p:nvPr>
            <p:ph type="subTitle" idx="5"/>
          </p:nvPr>
        </p:nvSpPr>
        <p:spPr>
          <a:xfrm>
            <a:off x="2921697" y="1374954"/>
            <a:ext cx="39260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251" name="Google Shape;1251;p101"/>
          <p:cNvSpPr txBox="1">
            <a:spLocks noGrp="1"/>
          </p:cNvSpPr>
          <p:nvPr>
            <p:ph type="subTitle" idx="6"/>
          </p:nvPr>
        </p:nvSpPr>
        <p:spPr>
          <a:xfrm>
            <a:off x="3108897" y="2238931"/>
            <a:ext cx="35516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252" name="Google Shape;1252;p101"/>
          <p:cNvSpPr txBox="1">
            <a:spLocks noGrp="1"/>
          </p:cNvSpPr>
          <p:nvPr>
            <p:ph type="subTitle" idx="7"/>
          </p:nvPr>
        </p:nvSpPr>
        <p:spPr>
          <a:xfrm>
            <a:off x="3539297" y="3110461"/>
            <a:ext cx="26908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sp>
        <p:nvSpPr>
          <p:cNvPr id="1253" name="Google Shape;1253;p101"/>
          <p:cNvSpPr txBox="1">
            <a:spLocks noGrp="1"/>
          </p:cNvSpPr>
          <p:nvPr>
            <p:ph type="subTitle" idx="8"/>
          </p:nvPr>
        </p:nvSpPr>
        <p:spPr>
          <a:xfrm>
            <a:off x="3817897" y="3989538"/>
            <a:ext cx="2133600" cy="426799"/>
          </a:xfrm>
          <a:prstGeom prst="rect">
            <a:avLst/>
          </a:prstGeom>
          <a:noFill/>
          <a:ln>
            <a:noFill/>
          </a:ln>
        </p:spPr>
        <p:txBody>
          <a:bodyPr spcFirstLastPara="1" wrap="square" lIns="91425" tIns="91425" rIns="91425" bIns="91425" anchor="ctr" anchorCtr="0">
            <a:noAutofit/>
          </a:bodyPr>
          <a:lstStyle>
            <a:lvl1pPr lvl="0" algn="ctr">
              <a:lnSpc>
                <a:spcPct val="90000"/>
              </a:lnSpc>
              <a:spcBef>
                <a:spcPts val="0"/>
              </a:spcBef>
              <a:spcAft>
                <a:spcPts val="0"/>
              </a:spcAft>
              <a:buClr>
                <a:schemeClr val="dk1"/>
              </a:buClr>
              <a:buSzPts val="1400"/>
              <a:buFont typeface="Arial"/>
              <a:buNone/>
              <a:defRPr>
                <a:solidFill>
                  <a:schemeClr val="dk1"/>
                </a:solidFill>
                <a:latin typeface="Arial"/>
                <a:ea typeface="Arial"/>
                <a:cs typeface="Arial"/>
                <a:sym typeface="Arial"/>
              </a:defRPr>
            </a:lvl1pPr>
            <a:lvl2pPr lvl="1" algn="ctr">
              <a:lnSpc>
                <a:spcPct val="90000"/>
              </a:lnSpc>
              <a:spcBef>
                <a:spcPts val="0"/>
              </a:spcBef>
              <a:spcAft>
                <a:spcPts val="0"/>
              </a:spcAft>
              <a:buClr>
                <a:schemeClr val="dk1"/>
              </a:buClr>
              <a:buSzPts val="1400"/>
              <a:buFont typeface="Arial"/>
              <a:buNone/>
              <a:defRPr>
                <a:solidFill>
                  <a:schemeClr val="dk1"/>
                </a:solidFill>
              </a:defRPr>
            </a:lvl2pPr>
            <a:lvl3pPr lvl="2" algn="ctr">
              <a:lnSpc>
                <a:spcPct val="90000"/>
              </a:lnSpc>
              <a:spcBef>
                <a:spcPts val="0"/>
              </a:spcBef>
              <a:spcAft>
                <a:spcPts val="0"/>
              </a:spcAft>
              <a:buClr>
                <a:schemeClr val="dk1"/>
              </a:buClr>
              <a:buSzPts val="1400"/>
              <a:buFont typeface="Arial"/>
              <a:buNone/>
              <a:defRPr>
                <a:solidFill>
                  <a:schemeClr val="dk1"/>
                </a:solidFill>
              </a:defRPr>
            </a:lvl3pPr>
            <a:lvl4pPr lvl="3" algn="ctr">
              <a:lnSpc>
                <a:spcPct val="90000"/>
              </a:lnSpc>
              <a:spcBef>
                <a:spcPts val="0"/>
              </a:spcBef>
              <a:spcAft>
                <a:spcPts val="0"/>
              </a:spcAft>
              <a:buClr>
                <a:schemeClr val="dk1"/>
              </a:buClr>
              <a:buSzPts val="1400"/>
              <a:buFont typeface="Arial"/>
              <a:buNone/>
              <a:defRPr>
                <a:solidFill>
                  <a:schemeClr val="dk1"/>
                </a:solidFill>
              </a:defRPr>
            </a:lvl4pPr>
            <a:lvl5pPr lvl="4" algn="ctr">
              <a:lnSpc>
                <a:spcPct val="90000"/>
              </a:lnSpc>
              <a:spcBef>
                <a:spcPts val="0"/>
              </a:spcBef>
              <a:spcAft>
                <a:spcPts val="0"/>
              </a:spcAft>
              <a:buClr>
                <a:schemeClr val="dk1"/>
              </a:buClr>
              <a:buSzPts val="1400"/>
              <a:buFont typeface="Arial"/>
              <a:buNone/>
              <a:defRPr>
                <a:solidFill>
                  <a:schemeClr val="dk1"/>
                </a:solidFill>
              </a:defRPr>
            </a:lvl5pPr>
            <a:lvl6pPr lvl="5" algn="ctr">
              <a:lnSpc>
                <a:spcPct val="90000"/>
              </a:lnSpc>
              <a:spcBef>
                <a:spcPts val="0"/>
              </a:spcBef>
              <a:spcAft>
                <a:spcPts val="0"/>
              </a:spcAft>
              <a:buClr>
                <a:schemeClr val="dk1"/>
              </a:buClr>
              <a:buSzPts val="1400"/>
              <a:buNone/>
              <a:defRPr>
                <a:solidFill>
                  <a:schemeClr val="dk1"/>
                </a:solidFill>
              </a:defRPr>
            </a:lvl6pPr>
            <a:lvl7pPr lvl="6" algn="ctr">
              <a:lnSpc>
                <a:spcPct val="90000"/>
              </a:lnSpc>
              <a:spcBef>
                <a:spcPts val="0"/>
              </a:spcBef>
              <a:spcAft>
                <a:spcPts val="0"/>
              </a:spcAft>
              <a:buClr>
                <a:schemeClr val="dk1"/>
              </a:buClr>
              <a:buSzPts val="1400"/>
              <a:buNone/>
              <a:defRPr>
                <a:solidFill>
                  <a:schemeClr val="dk1"/>
                </a:solidFill>
              </a:defRPr>
            </a:lvl7pPr>
            <a:lvl8pPr lvl="7" algn="ctr">
              <a:lnSpc>
                <a:spcPct val="90000"/>
              </a:lnSpc>
              <a:spcBef>
                <a:spcPts val="0"/>
              </a:spcBef>
              <a:spcAft>
                <a:spcPts val="0"/>
              </a:spcAft>
              <a:buClr>
                <a:schemeClr val="dk1"/>
              </a:buClr>
              <a:buSzPts val="1400"/>
              <a:buNone/>
              <a:defRPr>
                <a:solidFill>
                  <a:schemeClr val="dk1"/>
                </a:solidFill>
              </a:defRPr>
            </a:lvl8pPr>
            <a:lvl9pPr lvl="8" algn="ctr">
              <a:lnSpc>
                <a:spcPct val="90000"/>
              </a:lnSpc>
              <a:spcBef>
                <a:spcPts val="0"/>
              </a:spcBef>
              <a:spcAft>
                <a:spcPts val="0"/>
              </a:spcAft>
              <a:buClr>
                <a:schemeClr val="dk1"/>
              </a:buClr>
              <a:buSzPts val="1400"/>
              <a:buNone/>
              <a:defRPr>
                <a:solidFill>
                  <a:schemeClr val="dk1"/>
                </a:solidFill>
              </a:defRPr>
            </a:lvl9pPr>
          </a:lstStyle>
          <a:p>
            <a:endParaRPr/>
          </a:p>
        </p:txBody>
      </p:sp>
      <p:cxnSp>
        <p:nvCxnSpPr>
          <p:cNvPr id="1254" name="Google Shape;1254;p101"/>
          <p:cNvCxnSpPr/>
          <p:nvPr/>
        </p:nvCxnSpPr>
        <p:spPr>
          <a:xfrm flipH="1">
            <a:off x="2202809" y="5098860"/>
            <a:ext cx="5296000" cy="6000"/>
          </a:xfrm>
          <a:prstGeom prst="straightConnector1">
            <a:avLst/>
          </a:prstGeom>
          <a:noFill/>
          <a:ln w="19050" cap="flat" cmpd="sng">
            <a:solidFill>
              <a:schemeClr val="dk2"/>
            </a:solidFill>
            <a:prstDash val="solid"/>
            <a:round/>
            <a:headEnd type="none" w="sm" len="sm"/>
            <a:tailEnd type="none" w="sm" len="sm"/>
          </a:ln>
        </p:spPr>
      </p:cxnSp>
      <p:sp>
        <p:nvSpPr>
          <p:cNvPr id="1255" name="Google Shape;1255;p101"/>
          <p:cNvSpPr/>
          <p:nvPr/>
        </p:nvSpPr>
        <p:spPr>
          <a:xfrm>
            <a:off x="1516311" y="4705732"/>
            <a:ext cx="731520" cy="731520"/>
          </a:xfrm>
          <a:prstGeom prst="ellipse">
            <a:avLst/>
          </a:prstGeom>
          <a:solidFill>
            <a:srgbClr val="090C0F"/>
          </a:solidFill>
          <a:ln w="19050" cap="flat" cmpd="sng">
            <a:solidFill>
              <a:schemeClr val="accent3"/>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2398">
                <a:solidFill>
                  <a:schemeClr val="lt1"/>
                </a:solidFill>
                <a:latin typeface="Arial"/>
                <a:ea typeface="Arial"/>
                <a:cs typeface="Arial"/>
                <a:sym typeface="Arial"/>
              </a:rPr>
              <a:t>5</a:t>
            </a:r>
            <a:endParaRPr sz="1865" i="0" u="none" strike="noStrike" cap="none">
              <a:solidFill>
                <a:schemeClr val="lt1"/>
              </a:solidFill>
              <a:latin typeface="Arial"/>
              <a:ea typeface="Arial"/>
              <a:cs typeface="Arial"/>
              <a:sym typeface="Arial"/>
            </a:endParaRPr>
          </a:p>
        </p:txBody>
      </p:sp>
      <p:sp>
        <p:nvSpPr>
          <p:cNvPr id="1256" name="Google Shape;1256;p101"/>
          <p:cNvSpPr/>
          <p:nvPr/>
        </p:nvSpPr>
        <p:spPr>
          <a:xfrm>
            <a:off x="3854105" y="4802864"/>
            <a:ext cx="2133600" cy="603600"/>
          </a:xfrm>
          <a:prstGeom prst="roundRect">
            <a:avLst>
              <a:gd name="adj" fmla="val 17744"/>
            </a:avLst>
          </a:prstGeom>
          <a:solidFill>
            <a:srgbClr val="090C0F"/>
          </a:solid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1700"/>
              <a:buFont typeface="Arial"/>
              <a:buNone/>
            </a:pPr>
            <a:endParaRPr sz="2265" b="0" i="0" u="none" strike="noStrike" cap="none">
              <a:solidFill>
                <a:schemeClr val="dk1"/>
              </a:solidFill>
              <a:latin typeface="Arial"/>
              <a:ea typeface="Arial"/>
              <a:cs typeface="Arial"/>
              <a:sym typeface="Arial"/>
            </a:endParaRPr>
          </a:p>
        </p:txBody>
      </p:sp>
      <p:sp>
        <p:nvSpPr>
          <p:cNvPr id="1257" name="Google Shape;1257;p101"/>
          <p:cNvSpPr txBox="1">
            <a:spLocks noGrp="1"/>
          </p:cNvSpPr>
          <p:nvPr>
            <p:ph type="body" idx="9"/>
          </p:nvPr>
        </p:nvSpPr>
        <p:spPr>
          <a:xfrm>
            <a:off x="3890821" y="4889068"/>
            <a:ext cx="2096887" cy="428655"/>
          </a:xfrm>
          <a:prstGeom prst="rect">
            <a:avLst/>
          </a:prstGeom>
          <a:noFill/>
          <a:ln>
            <a:noFill/>
          </a:ln>
        </p:spPr>
        <p:txBody>
          <a:bodyPr spcFirstLastPara="1" wrap="square" lIns="91425" tIns="45700" rIns="91425" bIns="45700" anchor="ctr" anchorCtr="0">
            <a:normAutofit/>
          </a:bodyPr>
          <a:lstStyle>
            <a:lvl1pPr marL="609036" lvl="0" indent="-304518" algn="ctr">
              <a:lnSpc>
                <a:spcPct val="90000"/>
              </a:lnSpc>
              <a:spcBef>
                <a:spcPts val="999"/>
              </a:spcBef>
              <a:spcAft>
                <a:spcPts val="0"/>
              </a:spcAft>
              <a:buClr>
                <a:schemeClr val="dk1"/>
              </a:buClr>
              <a:buSzPts val="1600"/>
              <a:buFont typeface="Arial"/>
              <a:buNone/>
              <a:defRPr>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1"/>
              </a:buClr>
              <a:buSzPts val="1400"/>
              <a:buFont typeface="Arial"/>
              <a:buNone/>
              <a:defRPr>
                <a:solidFill>
                  <a:schemeClr val="dk1"/>
                </a:solidFill>
                <a:latin typeface="Arial"/>
                <a:ea typeface="Arial"/>
                <a:cs typeface="Arial"/>
                <a:sym typeface="Arial"/>
              </a:defRPr>
            </a:lvl2pPr>
            <a:lvl3pPr marL="1827108" lvl="2" indent="-304518" algn="l">
              <a:lnSpc>
                <a:spcPct val="90000"/>
              </a:lnSpc>
              <a:spcBef>
                <a:spcPts val="500"/>
              </a:spcBef>
              <a:spcAft>
                <a:spcPts val="0"/>
              </a:spcAft>
              <a:buClr>
                <a:schemeClr val="dk1"/>
              </a:buClr>
              <a:buSzPts val="1200"/>
              <a:buFont typeface="Arial"/>
              <a:buNone/>
              <a:defRPr>
                <a:solidFill>
                  <a:schemeClr val="dk1"/>
                </a:solidFill>
                <a:latin typeface="Arial"/>
                <a:ea typeface="Arial"/>
                <a:cs typeface="Arial"/>
                <a:sym typeface="Arial"/>
              </a:defRPr>
            </a:lvl3pPr>
            <a:lvl4pPr marL="2436144" lvl="3" indent="-304518" algn="l">
              <a:lnSpc>
                <a:spcPct val="90000"/>
              </a:lnSpc>
              <a:spcBef>
                <a:spcPts val="500"/>
              </a:spcBef>
              <a:spcAft>
                <a:spcPts val="0"/>
              </a:spcAft>
              <a:buClr>
                <a:schemeClr val="dk1"/>
              </a:buClr>
              <a:buSzPts val="1000"/>
              <a:buFont typeface="Arial"/>
              <a:buNone/>
              <a:defRPr>
                <a:solidFill>
                  <a:schemeClr val="dk1"/>
                </a:solidFill>
                <a:latin typeface="Arial"/>
                <a:ea typeface="Arial"/>
                <a:cs typeface="Arial"/>
                <a:sym typeface="Arial"/>
              </a:defRPr>
            </a:lvl4pPr>
            <a:lvl5pPr marL="3045181" lvl="4" indent="-304518" algn="l">
              <a:lnSpc>
                <a:spcPct val="90000"/>
              </a:lnSpc>
              <a:spcBef>
                <a:spcPts val="500"/>
              </a:spcBef>
              <a:spcAft>
                <a:spcPts val="0"/>
              </a:spcAft>
              <a:buClr>
                <a:schemeClr val="dk1"/>
              </a:buClr>
              <a:buSzPts val="1000"/>
              <a:buFont typeface="Arial"/>
              <a:buNone/>
              <a:defRPr>
                <a:solidFill>
                  <a:schemeClr val="dk1"/>
                </a:solidFill>
                <a:latin typeface="Arial"/>
                <a:ea typeface="Arial"/>
                <a:cs typeface="Arial"/>
                <a:sym typeface="Arial"/>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258" name="Google Shape;1258;p101"/>
          <p:cNvSpPr txBox="1">
            <a:spLocks noGrp="1"/>
          </p:cNvSpPr>
          <p:nvPr>
            <p:ph type="body" idx="13"/>
          </p:nvPr>
        </p:nvSpPr>
        <p:spPr>
          <a:xfrm>
            <a:off x="7586035" y="4808864"/>
            <a:ext cx="3334799" cy="597600"/>
          </a:xfrm>
          <a:prstGeom prst="rect">
            <a:avLst/>
          </a:prstGeom>
          <a:noFill/>
          <a:ln>
            <a:noFill/>
          </a:ln>
        </p:spPr>
        <p:txBody>
          <a:bodyPr spcFirstLastPara="1" wrap="square" lIns="91425" tIns="45700" rIns="91425" bIns="45700" anchor="ctr" anchorCtr="0">
            <a:normAutofit/>
          </a:bodyPr>
          <a:lstStyle>
            <a:lvl1pPr marL="609036" lvl="0" indent="-304518" algn="l">
              <a:lnSpc>
                <a:spcPct val="90000"/>
              </a:lnSpc>
              <a:spcBef>
                <a:spcPts val="999"/>
              </a:spcBef>
              <a:spcAft>
                <a:spcPts val="0"/>
              </a:spcAft>
              <a:buClr>
                <a:schemeClr val="dk2"/>
              </a:buClr>
              <a:buSzPts val="1200"/>
              <a:buFont typeface="Arial"/>
              <a:buNone/>
              <a:defRPr sz="1599">
                <a:solidFill>
                  <a:schemeClr val="dk2"/>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259" name="Google Shape;1259;p101"/>
          <p:cNvSpPr>
            <a:spLocks noGrp="1"/>
          </p:cNvSpPr>
          <p:nvPr>
            <p:ph type="pic" idx="14"/>
          </p:nvPr>
        </p:nvSpPr>
        <p:spPr>
          <a:xfrm>
            <a:off x="1666968" y="1382550"/>
            <a:ext cx="426720" cy="426720"/>
          </a:xfrm>
          <a:prstGeom prst="rect">
            <a:avLst/>
          </a:prstGeom>
          <a:noFill/>
          <a:ln>
            <a:noFill/>
          </a:ln>
        </p:spPr>
      </p:sp>
      <p:sp>
        <p:nvSpPr>
          <p:cNvPr id="1260" name="Google Shape;1260;p101"/>
          <p:cNvSpPr>
            <a:spLocks noGrp="1"/>
          </p:cNvSpPr>
          <p:nvPr>
            <p:ph type="pic" idx="15"/>
          </p:nvPr>
        </p:nvSpPr>
        <p:spPr>
          <a:xfrm>
            <a:off x="1662717" y="2239010"/>
            <a:ext cx="426720" cy="426720"/>
          </a:xfrm>
          <a:prstGeom prst="rect">
            <a:avLst/>
          </a:prstGeom>
          <a:noFill/>
          <a:ln>
            <a:noFill/>
          </a:ln>
        </p:spPr>
      </p:sp>
      <p:sp>
        <p:nvSpPr>
          <p:cNvPr id="1261" name="Google Shape;1261;p101"/>
          <p:cNvSpPr>
            <a:spLocks noGrp="1"/>
          </p:cNvSpPr>
          <p:nvPr>
            <p:ph type="pic" idx="16"/>
          </p:nvPr>
        </p:nvSpPr>
        <p:spPr>
          <a:xfrm>
            <a:off x="1664381" y="3113502"/>
            <a:ext cx="426720" cy="426720"/>
          </a:xfrm>
          <a:prstGeom prst="rect">
            <a:avLst/>
          </a:prstGeom>
          <a:noFill/>
          <a:ln>
            <a:noFill/>
          </a:ln>
        </p:spPr>
      </p:sp>
      <p:sp>
        <p:nvSpPr>
          <p:cNvPr id="1262" name="Google Shape;1262;p101"/>
          <p:cNvSpPr>
            <a:spLocks noGrp="1"/>
          </p:cNvSpPr>
          <p:nvPr>
            <p:ph type="pic" idx="17"/>
          </p:nvPr>
        </p:nvSpPr>
        <p:spPr>
          <a:xfrm>
            <a:off x="1678165" y="3989617"/>
            <a:ext cx="426720" cy="426720"/>
          </a:xfrm>
          <a:prstGeom prst="rect">
            <a:avLst/>
          </a:prstGeom>
          <a:noFill/>
          <a:ln>
            <a:noFill/>
          </a:ln>
        </p:spPr>
      </p:sp>
      <p:sp>
        <p:nvSpPr>
          <p:cNvPr id="1263" name="Google Shape;1263;p101"/>
          <p:cNvSpPr>
            <a:spLocks noGrp="1"/>
          </p:cNvSpPr>
          <p:nvPr>
            <p:ph type="pic" idx="18"/>
          </p:nvPr>
        </p:nvSpPr>
        <p:spPr>
          <a:xfrm>
            <a:off x="1676696" y="4865653"/>
            <a:ext cx="426720" cy="426720"/>
          </a:xfrm>
          <a:prstGeom prst="rect">
            <a:avLst/>
          </a:prstGeom>
          <a:noFill/>
          <a:ln>
            <a:noFill/>
          </a:ln>
        </p:spPr>
      </p:sp>
    </p:spTree>
    <p:extLst>
      <p:ext uri="{BB962C8B-B14F-4D97-AF65-F5344CB8AC3E}">
        <p14:creationId xmlns:p14="http://schemas.microsoft.com/office/powerpoint/2010/main" val="5309016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matchingName="97. Venn three">
  <p:cSld name="97. Venn three">
    <p:spTree>
      <p:nvGrpSpPr>
        <p:cNvPr id="1" name="Shape 1264"/>
        <p:cNvGrpSpPr/>
        <p:nvPr/>
      </p:nvGrpSpPr>
      <p:grpSpPr>
        <a:xfrm>
          <a:off x="0" y="0"/>
          <a:ext cx="0" cy="0"/>
          <a:chOff x="0" y="0"/>
          <a:chExt cx="0" cy="0"/>
        </a:xfrm>
      </p:grpSpPr>
      <p:sp>
        <p:nvSpPr>
          <p:cNvPr id="1265" name="Google Shape;1265;p102"/>
          <p:cNvSpPr/>
          <p:nvPr/>
        </p:nvSpPr>
        <p:spPr>
          <a:xfrm>
            <a:off x="4902496" y="1953731"/>
            <a:ext cx="2286000" cy="22860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266" name="Google Shape;1266;p102"/>
          <p:cNvSpPr/>
          <p:nvPr/>
        </p:nvSpPr>
        <p:spPr>
          <a:xfrm>
            <a:off x="5676900" y="3256218"/>
            <a:ext cx="2286000" cy="22860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267" name="Google Shape;1267;p102"/>
          <p:cNvSpPr/>
          <p:nvPr/>
        </p:nvSpPr>
        <p:spPr>
          <a:xfrm>
            <a:off x="4165305" y="3256218"/>
            <a:ext cx="2286000" cy="2286000"/>
          </a:xfrm>
          <a:prstGeom prst="ellipse">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grpSp>
        <p:nvGrpSpPr>
          <p:cNvPr id="1268" name="Google Shape;1268;p102"/>
          <p:cNvGrpSpPr/>
          <p:nvPr/>
        </p:nvGrpSpPr>
        <p:grpSpPr>
          <a:xfrm rot="5400000" flipH="1">
            <a:off x="3838089" y="4212268"/>
            <a:ext cx="160020" cy="493528"/>
            <a:chOff x="8582701" y="10031465"/>
            <a:chExt cx="320040" cy="987055"/>
          </a:xfrm>
        </p:grpSpPr>
        <p:cxnSp>
          <p:nvCxnSpPr>
            <p:cNvPr id="1269" name="Google Shape;1269;p102"/>
            <p:cNvCxnSpPr/>
            <p:nvPr/>
          </p:nvCxnSpPr>
          <p:spPr>
            <a:xfrm rot="-5400000">
              <a:off x="8409214" y="10364973"/>
              <a:ext cx="667016" cy="0"/>
            </a:xfrm>
            <a:prstGeom prst="straightConnector1">
              <a:avLst/>
            </a:prstGeom>
            <a:noFill/>
            <a:ln w="19050" cap="flat" cmpd="sng">
              <a:solidFill>
                <a:schemeClr val="dk2"/>
              </a:solidFill>
              <a:prstDash val="solid"/>
              <a:miter lim="400000"/>
              <a:headEnd type="none" w="sm" len="sm"/>
              <a:tailEnd type="none" w="sm" len="sm"/>
            </a:ln>
          </p:spPr>
        </p:cxnSp>
        <p:sp>
          <p:nvSpPr>
            <p:cNvPr id="1270" name="Google Shape;1270;p102"/>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271" name="Google Shape;1271;p102"/>
          <p:cNvGrpSpPr/>
          <p:nvPr/>
        </p:nvGrpSpPr>
        <p:grpSpPr>
          <a:xfrm rot="-5400000" flipH="1">
            <a:off x="8129655" y="4156962"/>
            <a:ext cx="160020" cy="493528"/>
            <a:chOff x="8582701" y="10031465"/>
            <a:chExt cx="320040" cy="987055"/>
          </a:xfrm>
        </p:grpSpPr>
        <p:cxnSp>
          <p:nvCxnSpPr>
            <p:cNvPr id="1272" name="Google Shape;1272;p102"/>
            <p:cNvCxnSpPr/>
            <p:nvPr/>
          </p:nvCxnSpPr>
          <p:spPr>
            <a:xfrm rot="-5400000">
              <a:off x="8409214" y="10364973"/>
              <a:ext cx="667016" cy="0"/>
            </a:xfrm>
            <a:prstGeom prst="straightConnector1">
              <a:avLst/>
            </a:prstGeom>
            <a:noFill/>
            <a:ln w="19050" cap="flat" cmpd="sng">
              <a:solidFill>
                <a:schemeClr val="dk2"/>
              </a:solidFill>
              <a:prstDash val="solid"/>
              <a:miter lim="400000"/>
              <a:headEnd type="none" w="sm" len="sm"/>
              <a:tailEnd type="none" w="sm" len="sm"/>
            </a:ln>
          </p:spPr>
        </p:cxnSp>
        <p:sp>
          <p:nvSpPr>
            <p:cNvPr id="1273" name="Google Shape;1273;p102"/>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274" name="Google Shape;1274;p102"/>
          <p:cNvGrpSpPr/>
          <p:nvPr/>
        </p:nvGrpSpPr>
        <p:grpSpPr>
          <a:xfrm rot="-5400000" flipH="1">
            <a:off x="7469550" y="1227973"/>
            <a:ext cx="160020" cy="1813737"/>
            <a:chOff x="8582701" y="7391044"/>
            <a:chExt cx="320040" cy="3627476"/>
          </a:xfrm>
        </p:grpSpPr>
        <p:cxnSp>
          <p:nvCxnSpPr>
            <p:cNvPr id="1275" name="Google Shape;1275;p102"/>
            <p:cNvCxnSpPr/>
            <p:nvPr/>
          </p:nvCxnSpPr>
          <p:spPr>
            <a:xfrm rot="-5400000">
              <a:off x="7089004" y="9044763"/>
              <a:ext cx="3307438" cy="0"/>
            </a:xfrm>
            <a:prstGeom prst="straightConnector1">
              <a:avLst/>
            </a:prstGeom>
            <a:noFill/>
            <a:ln w="19050" cap="flat" cmpd="sng">
              <a:solidFill>
                <a:schemeClr val="dk2"/>
              </a:solidFill>
              <a:prstDash val="solid"/>
              <a:miter lim="400000"/>
              <a:headEnd type="none" w="sm" len="sm"/>
              <a:tailEnd type="none" w="sm" len="sm"/>
            </a:ln>
          </p:spPr>
        </p:cxnSp>
        <p:sp>
          <p:nvSpPr>
            <p:cNvPr id="1276" name="Google Shape;1276;p102"/>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sp>
        <p:nvSpPr>
          <p:cNvPr id="1277" name="Google Shape;1277;p102"/>
          <p:cNvSpPr txBox="1">
            <a:spLocks noGrp="1"/>
          </p:cNvSpPr>
          <p:nvPr>
            <p:ph type="title"/>
          </p:nvPr>
        </p:nvSpPr>
        <p:spPr>
          <a:xfrm>
            <a:off x="451104" y="512064"/>
            <a:ext cx="11424000" cy="890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1278" name="Google Shape;1278;p102"/>
          <p:cNvSpPr txBox="1">
            <a:spLocks noGrp="1"/>
          </p:cNvSpPr>
          <p:nvPr>
            <p:ph type="subTitle" idx="1"/>
          </p:nvPr>
        </p:nvSpPr>
        <p:spPr>
          <a:xfrm>
            <a:off x="8564540" y="1805789"/>
            <a:ext cx="2982000" cy="730643"/>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279" name="Google Shape;1279;p102"/>
          <p:cNvSpPr txBox="1">
            <a:spLocks noGrp="1"/>
          </p:cNvSpPr>
          <p:nvPr>
            <p:ph type="subTitle" idx="2"/>
          </p:nvPr>
        </p:nvSpPr>
        <p:spPr>
          <a:xfrm>
            <a:off x="8564540" y="1406801"/>
            <a:ext cx="29820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280" name="Google Shape;1280;p102"/>
          <p:cNvSpPr txBox="1">
            <a:spLocks noGrp="1"/>
          </p:cNvSpPr>
          <p:nvPr>
            <p:ph type="subTitle" idx="3"/>
          </p:nvPr>
        </p:nvSpPr>
        <p:spPr>
          <a:xfrm>
            <a:off x="8564540" y="2216240"/>
            <a:ext cx="29820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281" name="Google Shape;1281;p102"/>
          <p:cNvSpPr txBox="1">
            <a:spLocks noGrp="1"/>
          </p:cNvSpPr>
          <p:nvPr>
            <p:ph type="subTitle" idx="4"/>
          </p:nvPr>
        </p:nvSpPr>
        <p:spPr>
          <a:xfrm>
            <a:off x="8564540" y="4142590"/>
            <a:ext cx="2982000" cy="730642"/>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282" name="Google Shape;1282;p102"/>
          <p:cNvSpPr txBox="1">
            <a:spLocks noGrp="1"/>
          </p:cNvSpPr>
          <p:nvPr>
            <p:ph type="subTitle" idx="5"/>
          </p:nvPr>
        </p:nvSpPr>
        <p:spPr>
          <a:xfrm>
            <a:off x="8564540" y="3743601"/>
            <a:ext cx="29820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283" name="Google Shape;1283;p102"/>
          <p:cNvSpPr txBox="1">
            <a:spLocks noGrp="1"/>
          </p:cNvSpPr>
          <p:nvPr>
            <p:ph type="subTitle" idx="6"/>
          </p:nvPr>
        </p:nvSpPr>
        <p:spPr>
          <a:xfrm>
            <a:off x="8564540" y="4553040"/>
            <a:ext cx="29820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284" name="Google Shape;1284;p102"/>
          <p:cNvSpPr txBox="1">
            <a:spLocks noGrp="1"/>
          </p:cNvSpPr>
          <p:nvPr>
            <p:ph type="subTitle" idx="7"/>
          </p:nvPr>
        </p:nvSpPr>
        <p:spPr>
          <a:xfrm>
            <a:off x="578167" y="4142589"/>
            <a:ext cx="2982000" cy="730643"/>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285" name="Google Shape;1285;p102"/>
          <p:cNvSpPr txBox="1">
            <a:spLocks noGrp="1"/>
          </p:cNvSpPr>
          <p:nvPr>
            <p:ph type="subTitle" idx="8"/>
          </p:nvPr>
        </p:nvSpPr>
        <p:spPr>
          <a:xfrm>
            <a:off x="578167" y="3743601"/>
            <a:ext cx="29820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286" name="Google Shape;1286;p102"/>
          <p:cNvSpPr txBox="1">
            <a:spLocks noGrp="1"/>
          </p:cNvSpPr>
          <p:nvPr>
            <p:ph type="subTitle" idx="9"/>
          </p:nvPr>
        </p:nvSpPr>
        <p:spPr>
          <a:xfrm>
            <a:off x="578167" y="4589988"/>
            <a:ext cx="29820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Tree>
    <p:extLst>
      <p:ext uri="{BB962C8B-B14F-4D97-AF65-F5344CB8AC3E}">
        <p14:creationId xmlns:p14="http://schemas.microsoft.com/office/powerpoint/2010/main" val="3702265884"/>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matchingName="98. Venn four">
  <p:cSld name="98. Venn four">
    <p:spTree>
      <p:nvGrpSpPr>
        <p:cNvPr id="1" name="Shape 1287"/>
        <p:cNvGrpSpPr/>
        <p:nvPr/>
      </p:nvGrpSpPr>
      <p:grpSpPr>
        <a:xfrm>
          <a:off x="0" y="0"/>
          <a:ext cx="0" cy="0"/>
          <a:chOff x="0" y="0"/>
          <a:chExt cx="0" cy="0"/>
        </a:xfrm>
      </p:grpSpPr>
      <p:grpSp>
        <p:nvGrpSpPr>
          <p:cNvPr id="1288" name="Google Shape;1288;p103"/>
          <p:cNvGrpSpPr/>
          <p:nvPr/>
        </p:nvGrpSpPr>
        <p:grpSpPr>
          <a:xfrm rot="5400000" flipH="1">
            <a:off x="4515471" y="4416426"/>
            <a:ext cx="160020" cy="1813737"/>
            <a:chOff x="8582701" y="7391044"/>
            <a:chExt cx="320040" cy="3627476"/>
          </a:xfrm>
        </p:grpSpPr>
        <p:cxnSp>
          <p:nvCxnSpPr>
            <p:cNvPr id="1289" name="Google Shape;1289;p103"/>
            <p:cNvCxnSpPr/>
            <p:nvPr/>
          </p:nvCxnSpPr>
          <p:spPr>
            <a:xfrm rot="-5400000">
              <a:off x="7089004" y="9044763"/>
              <a:ext cx="3307438" cy="0"/>
            </a:xfrm>
            <a:prstGeom prst="straightConnector1">
              <a:avLst/>
            </a:prstGeom>
            <a:noFill/>
            <a:ln w="19050" cap="flat" cmpd="sng">
              <a:solidFill>
                <a:schemeClr val="dk2"/>
              </a:solidFill>
              <a:prstDash val="solid"/>
              <a:miter lim="400000"/>
              <a:headEnd type="none" w="sm" len="sm"/>
              <a:tailEnd type="none" w="sm" len="sm"/>
            </a:ln>
          </p:spPr>
        </p:cxnSp>
        <p:sp>
          <p:nvSpPr>
            <p:cNvPr id="1290" name="Google Shape;1290;p103"/>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291" name="Google Shape;1291;p103"/>
          <p:cNvGrpSpPr/>
          <p:nvPr/>
        </p:nvGrpSpPr>
        <p:grpSpPr>
          <a:xfrm rot="-5400000" flipH="1">
            <a:off x="8150921" y="3372743"/>
            <a:ext cx="160020" cy="493528"/>
            <a:chOff x="8582701" y="10031465"/>
            <a:chExt cx="320040" cy="987055"/>
          </a:xfrm>
        </p:grpSpPr>
        <p:cxnSp>
          <p:nvCxnSpPr>
            <p:cNvPr id="1292" name="Google Shape;1292;p103"/>
            <p:cNvCxnSpPr/>
            <p:nvPr/>
          </p:nvCxnSpPr>
          <p:spPr>
            <a:xfrm rot="-5400000">
              <a:off x="8409214" y="10364973"/>
              <a:ext cx="667016" cy="0"/>
            </a:xfrm>
            <a:prstGeom prst="straightConnector1">
              <a:avLst/>
            </a:prstGeom>
            <a:noFill/>
            <a:ln w="19050" cap="flat" cmpd="sng">
              <a:solidFill>
                <a:schemeClr val="dk2"/>
              </a:solidFill>
              <a:prstDash val="solid"/>
              <a:miter lim="400000"/>
              <a:headEnd type="none" w="sm" len="sm"/>
              <a:tailEnd type="none" w="sm" len="sm"/>
            </a:ln>
          </p:spPr>
        </p:cxnSp>
        <p:sp>
          <p:nvSpPr>
            <p:cNvPr id="1293" name="Google Shape;1293;p103"/>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sp>
        <p:nvSpPr>
          <p:cNvPr id="1294" name="Google Shape;1294;p103"/>
          <p:cNvSpPr/>
          <p:nvPr/>
        </p:nvSpPr>
        <p:spPr>
          <a:xfrm>
            <a:off x="4934393" y="1695013"/>
            <a:ext cx="2286000" cy="22860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295" name="Google Shape;1295;p103"/>
          <p:cNvSpPr/>
          <p:nvPr/>
        </p:nvSpPr>
        <p:spPr>
          <a:xfrm>
            <a:off x="5698165" y="2476507"/>
            <a:ext cx="2286000" cy="22860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296" name="Google Shape;1296;p103"/>
          <p:cNvSpPr/>
          <p:nvPr/>
        </p:nvSpPr>
        <p:spPr>
          <a:xfrm>
            <a:off x="4186569" y="2476507"/>
            <a:ext cx="2286000" cy="2286000"/>
          </a:xfrm>
          <a:prstGeom prst="ellipse">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297" name="Google Shape;1297;p103"/>
          <p:cNvSpPr/>
          <p:nvPr/>
        </p:nvSpPr>
        <p:spPr>
          <a:xfrm>
            <a:off x="4953000" y="3208149"/>
            <a:ext cx="2286000" cy="2286000"/>
          </a:xfrm>
          <a:prstGeom prst="ellipse">
            <a:avLst/>
          </a:prstGeom>
          <a:noFill/>
          <a:ln w="19050" cap="flat" cmpd="sng">
            <a:solidFill>
              <a:schemeClr val="accent6"/>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grpSp>
        <p:nvGrpSpPr>
          <p:cNvPr id="1298" name="Google Shape;1298;p103"/>
          <p:cNvGrpSpPr/>
          <p:nvPr/>
        </p:nvGrpSpPr>
        <p:grpSpPr>
          <a:xfrm rot="-5400000" flipH="1">
            <a:off x="7472209" y="950041"/>
            <a:ext cx="160020" cy="1813737"/>
            <a:chOff x="8582701" y="7391044"/>
            <a:chExt cx="320040" cy="3627476"/>
          </a:xfrm>
        </p:grpSpPr>
        <p:cxnSp>
          <p:nvCxnSpPr>
            <p:cNvPr id="1299" name="Google Shape;1299;p103"/>
            <p:cNvCxnSpPr/>
            <p:nvPr/>
          </p:nvCxnSpPr>
          <p:spPr>
            <a:xfrm rot="-5400000">
              <a:off x="7089004" y="9044763"/>
              <a:ext cx="3307438" cy="0"/>
            </a:xfrm>
            <a:prstGeom prst="straightConnector1">
              <a:avLst/>
            </a:prstGeom>
            <a:noFill/>
            <a:ln w="19050" cap="flat" cmpd="sng">
              <a:solidFill>
                <a:schemeClr val="dk2"/>
              </a:solidFill>
              <a:prstDash val="solid"/>
              <a:miter lim="400000"/>
              <a:headEnd type="none" w="sm" len="sm"/>
              <a:tailEnd type="none" w="sm" len="sm"/>
            </a:ln>
          </p:spPr>
        </p:cxnSp>
        <p:sp>
          <p:nvSpPr>
            <p:cNvPr id="1300" name="Google Shape;1300;p103"/>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grpSp>
        <p:nvGrpSpPr>
          <p:cNvPr id="1301" name="Google Shape;1301;p103"/>
          <p:cNvGrpSpPr/>
          <p:nvPr/>
        </p:nvGrpSpPr>
        <p:grpSpPr>
          <a:xfrm rot="5400000" flipH="1">
            <a:off x="3855367" y="3372743"/>
            <a:ext cx="160020" cy="493528"/>
            <a:chOff x="8582701" y="10031465"/>
            <a:chExt cx="320040" cy="987055"/>
          </a:xfrm>
        </p:grpSpPr>
        <p:cxnSp>
          <p:nvCxnSpPr>
            <p:cNvPr id="1302" name="Google Shape;1302;p103"/>
            <p:cNvCxnSpPr/>
            <p:nvPr/>
          </p:nvCxnSpPr>
          <p:spPr>
            <a:xfrm rot="-5400000">
              <a:off x="8409214" y="10364973"/>
              <a:ext cx="667016" cy="0"/>
            </a:xfrm>
            <a:prstGeom prst="straightConnector1">
              <a:avLst/>
            </a:prstGeom>
            <a:noFill/>
            <a:ln w="19050" cap="flat" cmpd="sng">
              <a:solidFill>
                <a:schemeClr val="dk2"/>
              </a:solidFill>
              <a:prstDash val="solid"/>
              <a:miter lim="400000"/>
              <a:headEnd type="none" w="sm" len="sm"/>
              <a:tailEnd type="none" w="sm" len="sm"/>
            </a:ln>
          </p:spPr>
        </p:cxnSp>
        <p:sp>
          <p:nvSpPr>
            <p:cNvPr id="1303" name="Google Shape;1303;p103"/>
            <p:cNvSpPr/>
            <p:nvPr/>
          </p:nvSpPr>
          <p:spPr>
            <a:xfrm rot="10800000">
              <a:off x="8582701" y="10698480"/>
              <a:ext cx="320040" cy="320040"/>
            </a:xfrm>
            <a:prstGeom prst="ellipse">
              <a:avLst/>
            </a:prstGeom>
            <a:noFill/>
            <a:ln w="19050" cap="rnd" cmpd="sng">
              <a:solidFill>
                <a:schemeClr val="dk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grpSp>
      <p:sp>
        <p:nvSpPr>
          <p:cNvPr id="1304" name="Google Shape;1304;p103"/>
          <p:cNvSpPr txBox="1">
            <a:spLocks noGrp="1"/>
          </p:cNvSpPr>
          <p:nvPr>
            <p:ph type="title"/>
          </p:nvPr>
        </p:nvSpPr>
        <p:spPr>
          <a:xfrm>
            <a:off x="451104" y="512064"/>
            <a:ext cx="11424000" cy="890000"/>
          </a:xfrm>
          <a:prstGeom prst="rect">
            <a:avLst/>
          </a:prstGeom>
          <a:noFill/>
          <a:ln>
            <a:noFill/>
          </a:ln>
        </p:spPr>
        <p:txBody>
          <a:bodyPr spcFirstLastPara="1" wrap="square" lIns="34275" tIns="17150" rIns="34275" bIns="17150" anchor="ctr" anchorCtr="0">
            <a:noAutofit/>
          </a:bodyPr>
          <a:lstStyle>
            <a:lvl1pPr marR="0" lvl="0" algn="l">
              <a:lnSpc>
                <a:spcPct val="100000"/>
              </a:lnSpc>
              <a:spcBef>
                <a:spcPts val="0"/>
              </a:spcBef>
              <a:spcAft>
                <a:spcPts val="0"/>
              </a:spcAft>
              <a:buClr>
                <a:schemeClr val="dk1"/>
              </a:buClr>
              <a:buSzPts val="3600"/>
              <a:buFont typeface="Arial"/>
              <a:buNone/>
              <a:defRPr sz="4796" b="1"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2pPr>
            <a:lvl3pPr marR="0" lvl="2"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3pPr>
            <a:lvl4pPr marR="0" lvl="3"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4pPr>
            <a:lvl5pPr marR="0" lvl="4"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5pPr>
            <a:lvl6pPr marR="0" lvl="5"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6pPr>
            <a:lvl7pPr marR="0" lvl="6"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7pPr>
            <a:lvl8pPr marR="0" lvl="7"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8pPr>
            <a:lvl9pPr marR="0" lvl="8" algn="l">
              <a:lnSpc>
                <a:spcPct val="100000"/>
              </a:lnSpc>
              <a:spcBef>
                <a:spcPts val="0"/>
              </a:spcBef>
              <a:spcAft>
                <a:spcPts val="0"/>
              </a:spcAft>
              <a:buClr>
                <a:srgbClr val="F0F6FC"/>
              </a:buClr>
              <a:buSzPts val="3600"/>
              <a:buFont typeface="Arial"/>
              <a:buNone/>
              <a:defRPr sz="4796" b="1" i="0" u="none" strike="noStrike" cap="none">
                <a:solidFill>
                  <a:srgbClr val="F0F6FC"/>
                </a:solidFill>
                <a:latin typeface="Arial"/>
                <a:ea typeface="Arial"/>
                <a:cs typeface="Arial"/>
                <a:sym typeface="Arial"/>
              </a:defRPr>
            </a:lvl9pPr>
          </a:lstStyle>
          <a:p>
            <a:endParaRPr/>
          </a:p>
        </p:txBody>
      </p:sp>
      <p:sp>
        <p:nvSpPr>
          <p:cNvPr id="1305" name="Google Shape;1305;p103"/>
          <p:cNvSpPr txBox="1">
            <a:spLocks noGrp="1"/>
          </p:cNvSpPr>
          <p:nvPr>
            <p:ph type="subTitle" idx="1"/>
          </p:nvPr>
        </p:nvSpPr>
        <p:spPr>
          <a:xfrm>
            <a:off x="8604567" y="3329789"/>
            <a:ext cx="2982000" cy="730643"/>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l">
              <a:lnSpc>
                <a:spcPct val="90000"/>
              </a:lnSpc>
              <a:spcBef>
                <a:spcPts val="0"/>
              </a:spcBef>
              <a:spcAft>
                <a:spcPts val="0"/>
              </a:spcAft>
              <a:buClr>
                <a:schemeClr val="dk1"/>
              </a:buClr>
              <a:buSzPts val="1600"/>
              <a:buFont typeface="Arial"/>
              <a:buNone/>
              <a:defRPr sz="2131">
                <a:solidFill>
                  <a:schemeClr val="dk1"/>
                </a:solidFill>
              </a:defRPr>
            </a:lvl2pPr>
            <a:lvl3pPr lvl="2" algn="l">
              <a:lnSpc>
                <a:spcPct val="90000"/>
              </a:lnSpc>
              <a:spcBef>
                <a:spcPts val="0"/>
              </a:spcBef>
              <a:spcAft>
                <a:spcPts val="0"/>
              </a:spcAft>
              <a:buClr>
                <a:schemeClr val="dk1"/>
              </a:buClr>
              <a:buSzPts val="1600"/>
              <a:buFont typeface="Arial"/>
              <a:buNone/>
              <a:defRPr sz="2131">
                <a:solidFill>
                  <a:schemeClr val="dk1"/>
                </a:solidFill>
              </a:defRPr>
            </a:lvl3pPr>
            <a:lvl4pPr lvl="3" algn="l">
              <a:lnSpc>
                <a:spcPct val="90000"/>
              </a:lnSpc>
              <a:spcBef>
                <a:spcPts val="0"/>
              </a:spcBef>
              <a:spcAft>
                <a:spcPts val="0"/>
              </a:spcAft>
              <a:buClr>
                <a:schemeClr val="dk1"/>
              </a:buClr>
              <a:buSzPts val="1600"/>
              <a:buFont typeface="Arial"/>
              <a:buNone/>
              <a:defRPr sz="2131">
                <a:solidFill>
                  <a:schemeClr val="dk1"/>
                </a:solidFill>
              </a:defRPr>
            </a:lvl4pPr>
            <a:lvl5pPr lvl="4" algn="l">
              <a:lnSpc>
                <a:spcPct val="90000"/>
              </a:lnSpc>
              <a:spcBef>
                <a:spcPts val="0"/>
              </a:spcBef>
              <a:spcAft>
                <a:spcPts val="0"/>
              </a:spcAft>
              <a:buClr>
                <a:schemeClr val="dk1"/>
              </a:buClr>
              <a:buSzPts val="1600"/>
              <a:buFont typeface="Arial"/>
              <a:buNone/>
              <a:defRPr sz="2131">
                <a:solidFill>
                  <a:schemeClr val="dk1"/>
                </a:solidFill>
              </a:defRPr>
            </a:lvl5pPr>
            <a:lvl6pPr lvl="5" algn="l">
              <a:lnSpc>
                <a:spcPct val="90000"/>
              </a:lnSpc>
              <a:spcBef>
                <a:spcPts val="0"/>
              </a:spcBef>
              <a:spcAft>
                <a:spcPts val="0"/>
              </a:spcAft>
              <a:buClr>
                <a:schemeClr val="dk1"/>
              </a:buClr>
              <a:buSzPts val="1600"/>
              <a:buNone/>
              <a:defRPr sz="2131">
                <a:solidFill>
                  <a:schemeClr val="dk1"/>
                </a:solidFill>
              </a:defRPr>
            </a:lvl6pPr>
            <a:lvl7pPr lvl="6" algn="l">
              <a:lnSpc>
                <a:spcPct val="90000"/>
              </a:lnSpc>
              <a:spcBef>
                <a:spcPts val="0"/>
              </a:spcBef>
              <a:spcAft>
                <a:spcPts val="0"/>
              </a:spcAft>
              <a:buClr>
                <a:schemeClr val="dk1"/>
              </a:buClr>
              <a:buSzPts val="1600"/>
              <a:buNone/>
              <a:defRPr sz="2131">
                <a:solidFill>
                  <a:schemeClr val="dk1"/>
                </a:solidFill>
              </a:defRPr>
            </a:lvl7pPr>
            <a:lvl8pPr lvl="7" algn="l">
              <a:lnSpc>
                <a:spcPct val="90000"/>
              </a:lnSpc>
              <a:spcBef>
                <a:spcPts val="0"/>
              </a:spcBef>
              <a:spcAft>
                <a:spcPts val="0"/>
              </a:spcAft>
              <a:buClr>
                <a:schemeClr val="dk1"/>
              </a:buClr>
              <a:buSzPts val="1600"/>
              <a:buNone/>
              <a:defRPr sz="2131">
                <a:solidFill>
                  <a:schemeClr val="dk1"/>
                </a:solidFill>
              </a:defRPr>
            </a:lvl8pPr>
            <a:lvl9pPr lvl="8" algn="l">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306" name="Google Shape;1306;p103"/>
          <p:cNvSpPr txBox="1">
            <a:spLocks noGrp="1"/>
          </p:cNvSpPr>
          <p:nvPr>
            <p:ph type="subTitle" idx="2"/>
          </p:nvPr>
        </p:nvSpPr>
        <p:spPr>
          <a:xfrm>
            <a:off x="8604567" y="2930801"/>
            <a:ext cx="2982000" cy="5976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l">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307" name="Google Shape;1307;p103"/>
          <p:cNvSpPr txBox="1">
            <a:spLocks noGrp="1"/>
          </p:cNvSpPr>
          <p:nvPr>
            <p:ph type="subTitle" idx="3"/>
          </p:nvPr>
        </p:nvSpPr>
        <p:spPr>
          <a:xfrm>
            <a:off x="8604567" y="3777188"/>
            <a:ext cx="2982000" cy="597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l">
              <a:lnSpc>
                <a:spcPct val="90000"/>
              </a:lnSpc>
              <a:spcBef>
                <a:spcPts val="0"/>
              </a:spcBef>
              <a:spcAft>
                <a:spcPts val="0"/>
              </a:spcAft>
              <a:buClr>
                <a:schemeClr val="dk2"/>
              </a:buClr>
              <a:buSzPts val="1200"/>
              <a:buFont typeface="Arial"/>
              <a:buNone/>
              <a:defRPr sz="1599">
                <a:solidFill>
                  <a:schemeClr val="dk2"/>
                </a:solidFill>
              </a:defRPr>
            </a:lvl2pPr>
            <a:lvl3pPr lvl="2" algn="l">
              <a:lnSpc>
                <a:spcPct val="90000"/>
              </a:lnSpc>
              <a:spcBef>
                <a:spcPts val="0"/>
              </a:spcBef>
              <a:spcAft>
                <a:spcPts val="0"/>
              </a:spcAft>
              <a:buClr>
                <a:schemeClr val="dk2"/>
              </a:buClr>
              <a:buSzPts val="1200"/>
              <a:buFont typeface="Arial"/>
              <a:buNone/>
              <a:defRPr sz="1599">
                <a:solidFill>
                  <a:schemeClr val="dk2"/>
                </a:solidFill>
              </a:defRPr>
            </a:lvl3pPr>
            <a:lvl4pPr lvl="3" algn="l">
              <a:lnSpc>
                <a:spcPct val="90000"/>
              </a:lnSpc>
              <a:spcBef>
                <a:spcPts val="0"/>
              </a:spcBef>
              <a:spcAft>
                <a:spcPts val="0"/>
              </a:spcAft>
              <a:buClr>
                <a:schemeClr val="dk2"/>
              </a:buClr>
              <a:buSzPts val="1200"/>
              <a:buFont typeface="Arial"/>
              <a:buNone/>
              <a:defRPr sz="1599">
                <a:solidFill>
                  <a:schemeClr val="dk2"/>
                </a:solidFill>
              </a:defRPr>
            </a:lvl4pPr>
            <a:lvl5pPr lvl="4" algn="l">
              <a:lnSpc>
                <a:spcPct val="90000"/>
              </a:lnSpc>
              <a:spcBef>
                <a:spcPts val="0"/>
              </a:spcBef>
              <a:spcAft>
                <a:spcPts val="0"/>
              </a:spcAft>
              <a:buClr>
                <a:schemeClr val="dk2"/>
              </a:buClr>
              <a:buSzPts val="1200"/>
              <a:buFont typeface="Arial"/>
              <a:buNone/>
              <a:defRPr sz="1599">
                <a:solidFill>
                  <a:schemeClr val="dk2"/>
                </a:solidFill>
              </a:defRPr>
            </a:lvl5pPr>
            <a:lvl6pPr lvl="5" algn="l">
              <a:lnSpc>
                <a:spcPct val="90000"/>
              </a:lnSpc>
              <a:spcBef>
                <a:spcPts val="0"/>
              </a:spcBef>
              <a:spcAft>
                <a:spcPts val="0"/>
              </a:spcAft>
              <a:buClr>
                <a:schemeClr val="dk2"/>
              </a:buClr>
              <a:buSzPts val="1200"/>
              <a:buNone/>
              <a:defRPr sz="1599">
                <a:solidFill>
                  <a:schemeClr val="dk2"/>
                </a:solidFill>
              </a:defRPr>
            </a:lvl6pPr>
            <a:lvl7pPr lvl="6" algn="l">
              <a:lnSpc>
                <a:spcPct val="90000"/>
              </a:lnSpc>
              <a:spcBef>
                <a:spcPts val="0"/>
              </a:spcBef>
              <a:spcAft>
                <a:spcPts val="0"/>
              </a:spcAft>
              <a:buClr>
                <a:schemeClr val="dk2"/>
              </a:buClr>
              <a:buSzPts val="1200"/>
              <a:buNone/>
              <a:defRPr sz="1599">
                <a:solidFill>
                  <a:schemeClr val="dk2"/>
                </a:solidFill>
              </a:defRPr>
            </a:lvl7pPr>
            <a:lvl8pPr lvl="7" algn="l">
              <a:lnSpc>
                <a:spcPct val="90000"/>
              </a:lnSpc>
              <a:spcBef>
                <a:spcPts val="0"/>
              </a:spcBef>
              <a:spcAft>
                <a:spcPts val="0"/>
              </a:spcAft>
              <a:buClr>
                <a:schemeClr val="dk2"/>
              </a:buClr>
              <a:buSzPts val="1200"/>
              <a:buNone/>
              <a:defRPr sz="1599">
                <a:solidFill>
                  <a:schemeClr val="dk2"/>
                </a:solidFill>
              </a:defRPr>
            </a:lvl8pPr>
            <a:lvl9pPr lvl="8" algn="l">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308" name="Google Shape;1308;p103"/>
          <p:cNvSpPr txBox="1">
            <a:spLocks noGrp="1"/>
          </p:cNvSpPr>
          <p:nvPr>
            <p:ph type="subTitle" idx="4"/>
          </p:nvPr>
        </p:nvSpPr>
        <p:spPr>
          <a:xfrm>
            <a:off x="679767" y="3274371"/>
            <a:ext cx="2982000" cy="730643"/>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309" name="Google Shape;1309;p103"/>
          <p:cNvSpPr txBox="1">
            <a:spLocks noGrp="1"/>
          </p:cNvSpPr>
          <p:nvPr>
            <p:ph type="subTitle" idx="5"/>
          </p:nvPr>
        </p:nvSpPr>
        <p:spPr>
          <a:xfrm>
            <a:off x="679767" y="2875382"/>
            <a:ext cx="29820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310" name="Google Shape;1310;p103"/>
          <p:cNvSpPr txBox="1">
            <a:spLocks noGrp="1"/>
          </p:cNvSpPr>
          <p:nvPr>
            <p:ph type="subTitle" idx="6"/>
          </p:nvPr>
        </p:nvSpPr>
        <p:spPr>
          <a:xfrm>
            <a:off x="679767" y="3721769"/>
            <a:ext cx="29820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311" name="Google Shape;1311;p103"/>
          <p:cNvSpPr txBox="1">
            <a:spLocks noGrp="1"/>
          </p:cNvSpPr>
          <p:nvPr>
            <p:ph type="subTitle" idx="7"/>
          </p:nvPr>
        </p:nvSpPr>
        <p:spPr>
          <a:xfrm>
            <a:off x="679767" y="5001570"/>
            <a:ext cx="2982000" cy="730643"/>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1"/>
              </a:buClr>
              <a:buSzPts val="1600"/>
              <a:buFont typeface="Arial"/>
              <a:buNone/>
              <a:defRPr sz="2131">
                <a:solidFill>
                  <a:schemeClr val="dk1"/>
                </a:solidFill>
                <a:latin typeface="Arial"/>
                <a:ea typeface="Arial"/>
                <a:cs typeface="Arial"/>
                <a:sym typeface="Arial"/>
              </a:defRPr>
            </a:lvl1pPr>
            <a:lvl2pPr lvl="1" algn="r">
              <a:lnSpc>
                <a:spcPct val="90000"/>
              </a:lnSpc>
              <a:spcBef>
                <a:spcPts val="0"/>
              </a:spcBef>
              <a:spcAft>
                <a:spcPts val="0"/>
              </a:spcAft>
              <a:buClr>
                <a:schemeClr val="dk1"/>
              </a:buClr>
              <a:buSzPts val="1600"/>
              <a:buFont typeface="Arial"/>
              <a:buNone/>
              <a:defRPr sz="2131">
                <a:solidFill>
                  <a:schemeClr val="dk1"/>
                </a:solidFill>
              </a:defRPr>
            </a:lvl2pPr>
            <a:lvl3pPr lvl="2" algn="r">
              <a:lnSpc>
                <a:spcPct val="90000"/>
              </a:lnSpc>
              <a:spcBef>
                <a:spcPts val="0"/>
              </a:spcBef>
              <a:spcAft>
                <a:spcPts val="0"/>
              </a:spcAft>
              <a:buClr>
                <a:schemeClr val="dk1"/>
              </a:buClr>
              <a:buSzPts val="1600"/>
              <a:buFont typeface="Arial"/>
              <a:buNone/>
              <a:defRPr sz="2131">
                <a:solidFill>
                  <a:schemeClr val="dk1"/>
                </a:solidFill>
              </a:defRPr>
            </a:lvl3pPr>
            <a:lvl4pPr lvl="3" algn="r">
              <a:lnSpc>
                <a:spcPct val="90000"/>
              </a:lnSpc>
              <a:spcBef>
                <a:spcPts val="0"/>
              </a:spcBef>
              <a:spcAft>
                <a:spcPts val="0"/>
              </a:spcAft>
              <a:buClr>
                <a:schemeClr val="dk1"/>
              </a:buClr>
              <a:buSzPts val="1600"/>
              <a:buFont typeface="Arial"/>
              <a:buNone/>
              <a:defRPr sz="2131">
                <a:solidFill>
                  <a:schemeClr val="dk1"/>
                </a:solidFill>
              </a:defRPr>
            </a:lvl4pPr>
            <a:lvl5pPr lvl="4" algn="r">
              <a:lnSpc>
                <a:spcPct val="90000"/>
              </a:lnSpc>
              <a:spcBef>
                <a:spcPts val="0"/>
              </a:spcBef>
              <a:spcAft>
                <a:spcPts val="0"/>
              </a:spcAft>
              <a:buClr>
                <a:schemeClr val="dk1"/>
              </a:buClr>
              <a:buSzPts val="1600"/>
              <a:buFont typeface="Arial"/>
              <a:buNone/>
              <a:defRPr sz="2131">
                <a:solidFill>
                  <a:schemeClr val="dk1"/>
                </a:solidFill>
              </a:defRPr>
            </a:lvl5pPr>
            <a:lvl6pPr lvl="5" algn="r">
              <a:lnSpc>
                <a:spcPct val="90000"/>
              </a:lnSpc>
              <a:spcBef>
                <a:spcPts val="0"/>
              </a:spcBef>
              <a:spcAft>
                <a:spcPts val="0"/>
              </a:spcAft>
              <a:buClr>
                <a:schemeClr val="dk1"/>
              </a:buClr>
              <a:buSzPts val="1600"/>
              <a:buNone/>
              <a:defRPr sz="2131">
                <a:solidFill>
                  <a:schemeClr val="dk1"/>
                </a:solidFill>
              </a:defRPr>
            </a:lvl6pPr>
            <a:lvl7pPr lvl="6" algn="r">
              <a:lnSpc>
                <a:spcPct val="90000"/>
              </a:lnSpc>
              <a:spcBef>
                <a:spcPts val="0"/>
              </a:spcBef>
              <a:spcAft>
                <a:spcPts val="0"/>
              </a:spcAft>
              <a:buClr>
                <a:schemeClr val="dk1"/>
              </a:buClr>
              <a:buSzPts val="1600"/>
              <a:buNone/>
              <a:defRPr sz="2131">
                <a:solidFill>
                  <a:schemeClr val="dk1"/>
                </a:solidFill>
              </a:defRPr>
            </a:lvl7pPr>
            <a:lvl8pPr lvl="7" algn="r">
              <a:lnSpc>
                <a:spcPct val="90000"/>
              </a:lnSpc>
              <a:spcBef>
                <a:spcPts val="0"/>
              </a:spcBef>
              <a:spcAft>
                <a:spcPts val="0"/>
              </a:spcAft>
              <a:buClr>
                <a:schemeClr val="dk1"/>
              </a:buClr>
              <a:buSzPts val="1600"/>
              <a:buNone/>
              <a:defRPr sz="2131">
                <a:solidFill>
                  <a:schemeClr val="dk1"/>
                </a:solidFill>
              </a:defRPr>
            </a:lvl8pPr>
            <a:lvl9pPr lvl="8" algn="r">
              <a:lnSpc>
                <a:spcPct val="90000"/>
              </a:lnSpc>
              <a:spcBef>
                <a:spcPts val="0"/>
              </a:spcBef>
              <a:spcAft>
                <a:spcPts val="0"/>
              </a:spcAft>
              <a:buClr>
                <a:schemeClr val="dk1"/>
              </a:buClr>
              <a:buSzPts val="1600"/>
              <a:buNone/>
              <a:defRPr sz="2131">
                <a:solidFill>
                  <a:schemeClr val="dk1"/>
                </a:solidFill>
              </a:defRPr>
            </a:lvl9pPr>
          </a:lstStyle>
          <a:p>
            <a:endParaRPr/>
          </a:p>
        </p:txBody>
      </p:sp>
      <p:sp>
        <p:nvSpPr>
          <p:cNvPr id="1312" name="Google Shape;1312;p103"/>
          <p:cNvSpPr txBox="1">
            <a:spLocks noGrp="1"/>
          </p:cNvSpPr>
          <p:nvPr>
            <p:ph type="subTitle" idx="8"/>
          </p:nvPr>
        </p:nvSpPr>
        <p:spPr>
          <a:xfrm>
            <a:off x="679767" y="4602583"/>
            <a:ext cx="2982000" cy="597600"/>
          </a:xfrm>
          <a:prstGeom prst="rect">
            <a:avLst/>
          </a:prstGeom>
          <a:noFill/>
          <a:ln>
            <a:noFill/>
          </a:ln>
        </p:spPr>
        <p:txBody>
          <a:bodyPr spcFirstLastPara="1" wrap="square" lIns="91425" tIns="91425" rIns="91425" bIns="91425" anchor="b" anchorCtr="0">
            <a:noAutofit/>
          </a:bodyPr>
          <a:lstStyle>
            <a:lvl1pPr lvl="0" algn="r">
              <a:lnSpc>
                <a:spcPct val="90000"/>
              </a:lnSpc>
              <a:spcBef>
                <a:spcPts val="0"/>
              </a:spcBef>
              <a:spcAft>
                <a:spcPts val="0"/>
              </a:spcAft>
              <a:buClr>
                <a:schemeClr val="dk2"/>
              </a:buClr>
              <a:buSzPts val="1000"/>
              <a:buFont typeface="Roboto Mono"/>
              <a:buNone/>
              <a:defRPr sz="1332">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2pPr>
            <a:lvl3pPr lvl="2"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3pPr>
            <a:lvl4pPr lvl="3"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4pPr>
            <a:lvl5pPr lvl="4"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5pPr>
            <a:lvl6pPr lvl="5"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6pPr>
            <a:lvl7pPr lvl="6"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7pPr>
            <a:lvl8pPr lvl="7"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8pPr>
            <a:lvl9pPr lvl="8" algn="r">
              <a:lnSpc>
                <a:spcPct val="90000"/>
              </a:lnSpc>
              <a:spcBef>
                <a:spcPts val="0"/>
              </a:spcBef>
              <a:spcAft>
                <a:spcPts val="0"/>
              </a:spcAft>
              <a:buClr>
                <a:schemeClr val="dk2"/>
              </a:buClr>
              <a:buSzPts val="1000"/>
              <a:buFont typeface="Roboto Mono"/>
              <a:buNone/>
              <a:defRPr sz="1332">
                <a:solidFill>
                  <a:schemeClr val="dk2"/>
                </a:solidFill>
                <a:latin typeface="Roboto Mono"/>
                <a:ea typeface="Roboto Mono"/>
                <a:cs typeface="Roboto Mono"/>
                <a:sym typeface="Roboto Mono"/>
              </a:defRPr>
            </a:lvl9pPr>
          </a:lstStyle>
          <a:p>
            <a:endParaRPr/>
          </a:p>
        </p:txBody>
      </p:sp>
      <p:sp>
        <p:nvSpPr>
          <p:cNvPr id="1313" name="Google Shape;1313;p103"/>
          <p:cNvSpPr txBox="1">
            <a:spLocks noGrp="1"/>
          </p:cNvSpPr>
          <p:nvPr>
            <p:ph type="subTitle" idx="9"/>
          </p:nvPr>
        </p:nvSpPr>
        <p:spPr>
          <a:xfrm>
            <a:off x="679767" y="5448968"/>
            <a:ext cx="2982000" cy="597600"/>
          </a:xfrm>
          <a:prstGeom prst="rect">
            <a:avLst/>
          </a:prstGeom>
          <a:noFill/>
          <a:ln>
            <a:noFill/>
          </a:ln>
        </p:spPr>
        <p:txBody>
          <a:bodyPr spcFirstLastPara="1" wrap="square" lIns="91425" tIns="91425" rIns="91425" bIns="91425" anchor="t" anchorCtr="0">
            <a:noAutofit/>
          </a:bodyPr>
          <a:lstStyle>
            <a:lvl1pPr lvl="0" algn="r">
              <a:lnSpc>
                <a:spcPct val="90000"/>
              </a:lnSpc>
              <a:spcBef>
                <a:spcPts val="0"/>
              </a:spcBef>
              <a:spcAft>
                <a:spcPts val="0"/>
              </a:spcAft>
              <a:buClr>
                <a:schemeClr val="dk2"/>
              </a:buClr>
              <a:buSzPts val="1200"/>
              <a:buFont typeface="Arial"/>
              <a:buNone/>
              <a:defRPr sz="1599">
                <a:solidFill>
                  <a:schemeClr val="dk2"/>
                </a:solidFill>
                <a:latin typeface="Arial"/>
                <a:ea typeface="Arial"/>
                <a:cs typeface="Arial"/>
                <a:sym typeface="Arial"/>
              </a:defRPr>
            </a:lvl1pPr>
            <a:lvl2pPr lvl="1" algn="r">
              <a:lnSpc>
                <a:spcPct val="90000"/>
              </a:lnSpc>
              <a:spcBef>
                <a:spcPts val="0"/>
              </a:spcBef>
              <a:spcAft>
                <a:spcPts val="0"/>
              </a:spcAft>
              <a:buClr>
                <a:schemeClr val="dk2"/>
              </a:buClr>
              <a:buSzPts val="1200"/>
              <a:buFont typeface="Arial"/>
              <a:buNone/>
              <a:defRPr sz="1599">
                <a:solidFill>
                  <a:schemeClr val="dk2"/>
                </a:solidFill>
              </a:defRPr>
            </a:lvl2pPr>
            <a:lvl3pPr lvl="2" algn="r">
              <a:lnSpc>
                <a:spcPct val="90000"/>
              </a:lnSpc>
              <a:spcBef>
                <a:spcPts val="0"/>
              </a:spcBef>
              <a:spcAft>
                <a:spcPts val="0"/>
              </a:spcAft>
              <a:buClr>
                <a:schemeClr val="dk2"/>
              </a:buClr>
              <a:buSzPts val="1200"/>
              <a:buFont typeface="Arial"/>
              <a:buNone/>
              <a:defRPr sz="1599">
                <a:solidFill>
                  <a:schemeClr val="dk2"/>
                </a:solidFill>
              </a:defRPr>
            </a:lvl3pPr>
            <a:lvl4pPr lvl="3" algn="r">
              <a:lnSpc>
                <a:spcPct val="90000"/>
              </a:lnSpc>
              <a:spcBef>
                <a:spcPts val="0"/>
              </a:spcBef>
              <a:spcAft>
                <a:spcPts val="0"/>
              </a:spcAft>
              <a:buClr>
                <a:schemeClr val="dk2"/>
              </a:buClr>
              <a:buSzPts val="1200"/>
              <a:buFont typeface="Arial"/>
              <a:buNone/>
              <a:defRPr sz="1599">
                <a:solidFill>
                  <a:schemeClr val="dk2"/>
                </a:solidFill>
              </a:defRPr>
            </a:lvl4pPr>
            <a:lvl5pPr lvl="4" algn="r">
              <a:lnSpc>
                <a:spcPct val="90000"/>
              </a:lnSpc>
              <a:spcBef>
                <a:spcPts val="0"/>
              </a:spcBef>
              <a:spcAft>
                <a:spcPts val="0"/>
              </a:spcAft>
              <a:buClr>
                <a:schemeClr val="dk2"/>
              </a:buClr>
              <a:buSzPts val="1200"/>
              <a:buFont typeface="Arial"/>
              <a:buNone/>
              <a:defRPr sz="1599">
                <a:solidFill>
                  <a:schemeClr val="dk2"/>
                </a:solidFill>
              </a:defRPr>
            </a:lvl5pPr>
            <a:lvl6pPr lvl="5" algn="r">
              <a:lnSpc>
                <a:spcPct val="90000"/>
              </a:lnSpc>
              <a:spcBef>
                <a:spcPts val="0"/>
              </a:spcBef>
              <a:spcAft>
                <a:spcPts val="0"/>
              </a:spcAft>
              <a:buClr>
                <a:schemeClr val="dk2"/>
              </a:buClr>
              <a:buSzPts val="1200"/>
              <a:buNone/>
              <a:defRPr sz="1599">
                <a:solidFill>
                  <a:schemeClr val="dk2"/>
                </a:solidFill>
              </a:defRPr>
            </a:lvl6pPr>
            <a:lvl7pPr lvl="6" algn="r">
              <a:lnSpc>
                <a:spcPct val="90000"/>
              </a:lnSpc>
              <a:spcBef>
                <a:spcPts val="0"/>
              </a:spcBef>
              <a:spcAft>
                <a:spcPts val="0"/>
              </a:spcAft>
              <a:buClr>
                <a:schemeClr val="dk2"/>
              </a:buClr>
              <a:buSzPts val="1200"/>
              <a:buNone/>
              <a:defRPr sz="1599">
                <a:solidFill>
                  <a:schemeClr val="dk2"/>
                </a:solidFill>
              </a:defRPr>
            </a:lvl7pPr>
            <a:lvl8pPr lvl="7" algn="r">
              <a:lnSpc>
                <a:spcPct val="90000"/>
              </a:lnSpc>
              <a:spcBef>
                <a:spcPts val="0"/>
              </a:spcBef>
              <a:spcAft>
                <a:spcPts val="0"/>
              </a:spcAft>
              <a:buClr>
                <a:schemeClr val="dk2"/>
              </a:buClr>
              <a:buSzPts val="1200"/>
              <a:buNone/>
              <a:defRPr sz="1599">
                <a:solidFill>
                  <a:schemeClr val="dk2"/>
                </a:solidFill>
              </a:defRPr>
            </a:lvl8pPr>
            <a:lvl9pPr lvl="8" algn="r">
              <a:lnSpc>
                <a:spcPct val="90000"/>
              </a:lnSpc>
              <a:spcBef>
                <a:spcPts val="0"/>
              </a:spcBef>
              <a:spcAft>
                <a:spcPts val="0"/>
              </a:spcAft>
              <a:buClr>
                <a:schemeClr val="dk2"/>
              </a:buClr>
              <a:buSzPts val="1200"/>
              <a:buNone/>
              <a:defRPr sz="1599">
                <a:solidFill>
                  <a:schemeClr val="dk2"/>
                </a:solidFill>
              </a:defRPr>
            </a:lvl9pPr>
          </a:lstStyle>
          <a:p>
            <a:endParaRPr/>
          </a:p>
        </p:txBody>
      </p:sp>
      <p:sp>
        <p:nvSpPr>
          <p:cNvPr id="1314" name="Google Shape;1314;p103"/>
          <p:cNvSpPr txBox="1">
            <a:spLocks noGrp="1"/>
          </p:cNvSpPr>
          <p:nvPr>
            <p:ph type="body" idx="13"/>
          </p:nvPr>
        </p:nvSpPr>
        <p:spPr>
          <a:xfrm>
            <a:off x="8604569" y="1407268"/>
            <a:ext cx="2981999" cy="453159"/>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2"/>
              </a:buClr>
              <a:buSzPts val="1000"/>
              <a:buFont typeface="Arial"/>
              <a:buNone/>
              <a:defRPr sz="1332">
                <a:solidFill>
                  <a:schemeClr val="dk2"/>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315" name="Google Shape;1315;p103"/>
          <p:cNvSpPr txBox="1">
            <a:spLocks noGrp="1"/>
          </p:cNvSpPr>
          <p:nvPr>
            <p:ph type="body" idx="14"/>
          </p:nvPr>
        </p:nvSpPr>
        <p:spPr>
          <a:xfrm>
            <a:off x="8602577" y="1758240"/>
            <a:ext cx="2981999" cy="597600"/>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1"/>
              </a:buClr>
              <a:buSzPts val="1600"/>
              <a:buFont typeface="Arial"/>
              <a:buNone/>
              <a:defRPr sz="2131">
                <a:solidFill>
                  <a:schemeClr val="dk1"/>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
        <p:nvSpPr>
          <p:cNvPr id="1316" name="Google Shape;1316;p103"/>
          <p:cNvSpPr txBox="1">
            <a:spLocks noGrp="1"/>
          </p:cNvSpPr>
          <p:nvPr>
            <p:ph type="body" idx="15"/>
          </p:nvPr>
        </p:nvSpPr>
        <p:spPr>
          <a:xfrm>
            <a:off x="8600585" y="2133707"/>
            <a:ext cx="2981999" cy="597600"/>
          </a:xfrm>
          <a:prstGeom prst="rect">
            <a:avLst/>
          </a:prstGeom>
          <a:noFill/>
          <a:ln>
            <a:noFill/>
          </a:ln>
        </p:spPr>
        <p:txBody>
          <a:bodyPr spcFirstLastPara="1" wrap="square" lIns="91425" tIns="45700" rIns="91425" bIns="45700" anchor="t" anchorCtr="0">
            <a:normAutofit/>
          </a:bodyPr>
          <a:lstStyle>
            <a:lvl1pPr marL="609036" lvl="0" indent="-304518" algn="l">
              <a:lnSpc>
                <a:spcPct val="90000"/>
              </a:lnSpc>
              <a:spcBef>
                <a:spcPts val="999"/>
              </a:spcBef>
              <a:spcAft>
                <a:spcPts val="0"/>
              </a:spcAft>
              <a:buClr>
                <a:schemeClr val="dk2"/>
              </a:buClr>
              <a:buSzPts val="1200"/>
              <a:buFont typeface="Arial"/>
              <a:buNone/>
              <a:defRPr sz="1599">
                <a:solidFill>
                  <a:schemeClr val="dk2"/>
                </a:solidFill>
                <a:latin typeface="Arial"/>
                <a:ea typeface="Arial"/>
                <a:cs typeface="Arial"/>
                <a:sym typeface="Arial"/>
              </a:defRPr>
            </a:lvl1pPr>
            <a:lvl2pPr marL="1218072" lvl="1" indent="-304518" algn="l">
              <a:lnSpc>
                <a:spcPct val="90000"/>
              </a:lnSpc>
              <a:spcBef>
                <a:spcPts val="500"/>
              </a:spcBef>
              <a:spcAft>
                <a:spcPts val="0"/>
              </a:spcAft>
              <a:buClr>
                <a:schemeClr val="dk2"/>
              </a:buClr>
              <a:buSzPts val="1800"/>
              <a:buNone/>
              <a:defRPr/>
            </a:lvl2pPr>
            <a:lvl3pPr marL="1827108" lvl="2" indent="-304518" algn="l">
              <a:lnSpc>
                <a:spcPct val="90000"/>
              </a:lnSpc>
              <a:spcBef>
                <a:spcPts val="500"/>
              </a:spcBef>
              <a:spcAft>
                <a:spcPts val="0"/>
              </a:spcAft>
              <a:buClr>
                <a:schemeClr val="dk2"/>
              </a:buClr>
              <a:buSzPts val="1800"/>
              <a:buNone/>
              <a:defRPr/>
            </a:lvl3pPr>
            <a:lvl4pPr marL="2436144" lvl="3" indent="-304518" algn="l">
              <a:lnSpc>
                <a:spcPct val="90000"/>
              </a:lnSpc>
              <a:spcBef>
                <a:spcPts val="500"/>
              </a:spcBef>
              <a:spcAft>
                <a:spcPts val="0"/>
              </a:spcAft>
              <a:buClr>
                <a:schemeClr val="dk2"/>
              </a:buClr>
              <a:buSzPts val="1800"/>
              <a:buNone/>
              <a:defRPr/>
            </a:lvl4pPr>
            <a:lvl5pPr marL="3045181" lvl="4" indent="-304518" algn="l">
              <a:lnSpc>
                <a:spcPct val="90000"/>
              </a:lnSpc>
              <a:spcBef>
                <a:spcPts val="500"/>
              </a:spcBef>
              <a:spcAft>
                <a:spcPts val="0"/>
              </a:spcAft>
              <a:buClr>
                <a:schemeClr val="dk2"/>
              </a:buClr>
              <a:buSzPts val="1800"/>
              <a:buNone/>
              <a:defRPr/>
            </a:lvl5pPr>
            <a:lvl6pPr marL="3654217" lvl="5" indent="-456777" algn="l">
              <a:lnSpc>
                <a:spcPct val="90000"/>
              </a:lnSpc>
              <a:spcBef>
                <a:spcPts val="500"/>
              </a:spcBef>
              <a:spcAft>
                <a:spcPts val="0"/>
              </a:spcAft>
              <a:buClr>
                <a:schemeClr val="dk1"/>
              </a:buClr>
              <a:buSzPts val="1800"/>
              <a:buChar char="•"/>
              <a:defRPr/>
            </a:lvl6pPr>
            <a:lvl7pPr marL="4263253" lvl="6" indent="-456777" algn="l">
              <a:lnSpc>
                <a:spcPct val="90000"/>
              </a:lnSpc>
              <a:spcBef>
                <a:spcPts val="500"/>
              </a:spcBef>
              <a:spcAft>
                <a:spcPts val="0"/>
              </a:spcAft>
              <a:buClr>
                <a:schemeClr val="dk1"/>
              </a:buClr>
              <a:buSzPts val="1800"/>
              <a:buChar char="•"/>
              <a:defRPr/>
            </a:lvl7pPr>
            <a:lvl8pPr marL="4872289" lvl="7" indent="-456777" algn="l">
              <a:lnSpc>
                <a:spcPct val="90000"/>
              </a:lnSpc>
              <a:spcBef>
                <a:spcPts val="500"/>
              </a:spcBef>
              <a:spcAft>
                <a:spcPts val="0"/>
              </a:spcAft>
              <a:buClr>
                <a:schemeClr val="dk1"/>
              </a:buClr>
              <a:buSzPts val="1800"/>
              <a:buChar char="•"/>
              <a:defRPr/>
            </a:lvl8pPr>
            <a:lvl9pPr marL="5481325" lvl="8" indent="-456777"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29203443"/>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matchingName="99. Four computer feature functions">
  <p:cSld name="99. Four computer feature functions">
    <p:spTree>
      <p:nvGrpSpPr>
        <p:cNvPr id="1" name="Shape 1317"/>
        <p:cNvGrpSpPr/>
        <p:nvPr/>
      </p:nvGrpSpPr>
      <p:grpSpPr>
        <a:xfrm>
          <a:off x="0" y="0"/>
          <a:ext cx="0" cy="0"/>
          <a:chOff x="0" y="0"/>
          <a:chExt cx="0" cy="0"/>
        </a:xfrm>
      </p:grpSpPr>
      <p:grpSp>
        <p:nvGrpSpPr>
          <p:cNvPr id="1318" name="Google Shape;1318;p104"/>
          <p:cNvGrpSpPr/>
          <p:nvPr/>
        </p:nvGrpSpPr>
        <p:grpSpPr>
          <a:xfrm>
            <a:off x="4273100" y="1978001"/>
            <a:ext cx="3621600" cy="2806233"/>
            <a:chOff x="3204825" y="1483500"/>
            <a:chExt cx="2716200" cy="2104675"/>
          </a:xfrm>
        </p:grpSpPr>
        <p:sp>
          <p:nvSpPr>
            <p:cNvPr id="1319" name="Google Shape;1319;p104"/>
            <p:cNvSpPr/>
            <p:nvPr/>
          </p:nvSpPr>
          <p:spPr>
            <a:xfrm>
              <a:off x="4210050" y="3226375"/>
              <a:ext cx="723900" cy="361800"/>
            </a:xfrm>
            <a:prstGeom prst="trapezoid">
              <a:avLst>
                <a:gd name="adj" fmla="val 43443"/>
              </a:avLst>
            </a:prstGeom>
            <a:solidFill>
              <a:schemeClr val="lt1"/>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1320" name="Google Shape;1320;p104"/>
            <p:cNvSpPr/>
            <p:nvPr/>
          </p:nvSpPr>
          <p:spPr>
            <a:xfrm>
              <a:off x="3204825" y="1483500"/>
              <a:ext cx="2716200" cy="1743000"/>
            </a:xfrm>
            <a:prstGeom prst="roundRect">
              <a:avLst>
                <a:gd name="adj" fmla="val 5273"/>
              </a:avLst>
            </a:prstGeom>
            <a:solidFill>
              <a:schemeClr val="lt1"/>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grpSp>
      <p:grpSp>
        <p:nvGrpSpPr>
          <p:cNvPr id="1321" name="Google Shape;1321;p104"/>
          <p:cNvGrpSpPr/>
          <p:nvPr/>
        </p:nvGrpSpPr>
        <p:grpSpPr>
          <a:xfrm rot="1499954">
            <a:off x="2020125" y="797840"/>
            <a:ext cx="3402349" cy="1828773"/>
            <a:chOff x="1191527" y="2380720"/>
            <a:chExt cx="2551800" cy="1371600"/>
          </a:xfrm>
        </p:grpSpPr>
        <p:cxnSp>
          <p:nvCxnSpPr>
            <p:cNvPr id="1322" name="Google Shape;1322;p104"/>
            <p:cNvCxnSpPr>
              <a:stCxn id="1323" idx="6"/>
            </p:cNvCxnSpPr>
            <p:nvPr/>
          </p:nvCxnSpPr>
          <p:spPr>
            <a:xfrm rot="-1498566">
              <a:off x="2618579" y="2817356"/>
              <a:ext cx="1069296" cy="498328"/>
            </a:xfrm>
            <a:prstGeom prst="straightConnector1">
              <a:avLst/>
            </a:prstGeom>
            <a:noFill/>
            <a:ln w="19050" cap="rnd" cmpd="sng">
              <a:solidFill>
                <a:srgbClr val="A371F7"/>
              </a:solidFill>
              <a:prstDash val="solid"/>
              <a:miter lim="400000"/>
              <a:headEnd type="none" w="sm" len="sm"/>
              <a:tailEnd type="triangle" w="med" len="med"/>
            </a:ln>
          </p:spPr>
        </p:cxnSp>
        <p:sp>
          <p:nvSpPr>
            <p:cNvPr id="1323" name="Google Shape;1323;p104"/>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06" b="1" i="0" u="none" strike="noStrike" cap="none">
                <a:solidFill>
                  <a:srgbClr val="F0F6FC"/>
                </a:solidFill>
                <a:latin typeface="Arial"/>
                <a:ea typeface="Arial"/>
                <a:cs typeface="Arial"/>
                <a:sym typeface="Arial"/>
              </a:endParaRPr>
            </a:p>
          </p:txBody>
        </p:sp>
      </p:grpSp>
      <p:grpSp>
        <p:nvGrpSpPr>
          <p:cNvPr id="1324" name="Google Shape;1324;p104"/>
          <p:cNvGrpSpPr/>
          <p:nvPr/>
        </p:nvGrpSpPr>
        <p:grpSpPr>
          <a:xfrm rot="-1499954" flipH="1">
            <a:off x="6882759" y="797840"/>
            <a:ext cx="3402349" cy="1828773"/>
            <a:chOff x="1191527" y="2380720"/>
            <a:chExt cx="2551800" cy="1371600"/>
          </a:xfrm>
        </p:grpSpPr>
        <p:cxnSp>
          <p:nvCxnSpPr>
            <p:cNvPr id="1325" name="Google Shape;1325;p104"/>
            <p:cNvCxnSpPr>
              <a:stCxn id="1326" idx="6"/>
            </p:cNvCxnSpPr>
            <p:nvPr/>
          </p:nvCxnSpPr>
          <p:spPr>
            <a:xfrm rot="-1498566">
              <a:off x="2618579" y="2817356"/>
              <a:ext cx="1069296" cy="498328"/>
            </a:xfrm>
            <a:prstGeom prst="straightConnector1">
              <a:avLst/>
            </a:prstGeom>
            <a:noFill/>
            <a:ln w="19050" cap="rnd" cmpd="sng">
              <a:solidFill>
                <a:srgbClr val="A371F7"/>
              </a:solidFill>
              <a:prstDash val="solid"/>
              <a:miter lim="400000"/>
              <a:headEnd type="none" w="sm" len="sm"/>
              <a:tailEnd type="triangle" w="med" len="med"/>
            </a:ln>
          </p:spPr>
        </p:cxnSp>
        <p:sp>
          <p:nvSpPr>
            <p:cNvPr id="1326" name="Google Shape;1326;p104"/>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06" b="1" i="0" u="none" strike="noStrike" cap="none">
                <a:solidFill>
                  <a:srgbClr val="F0F6FC"/>
                </a:solidFill>
                <a:latin typeface="Arial"/>
                <a:ea typeface="Arial"/>
                <a:cs typeface="Arial"/>
                <a:sym typeface="Arial"/>
              </a:endParaRPr>
            </a:p>
          </p:txBody>
        </p:sp>
      </p:grpSp>
      <p:grpSp>
        <p:nvGrpSpPr>
          <p:cNvPr id="1327" name="Google Shape;1327;p104"/>
          <p:cNvGrpSpPr/>
          <p:nvPr/>
        </p:nvGrpSpPr>
        <p:grpSpPr>
          <a:xfrm rot="-9300046">
            <a:off x="6882759" y="3515641"/>
            <a:ext cx="3402349" cy="1828773"/>
            <a:chOff x="1191527" y="2380720"/>
            <a:chExt cx="2551800" cy="1371600"/>
          </a:xfrm>
        </p:grpSpPr>
        <p:cxnSp>
          <p:nvCxnSpPr>
            <p:cNvPr id="1328" name="Google Shape;1328;p104"/>
            <p:cNvCxnSpPr>
              <a:stCxn id="1329" idx="6"/>
            </p:cNvCxnSpPr>
            <p:nvPr/>
          </p:nvCxnSpPr>
          <p:spPr>
            <a:xfrm rot="-1498566">
              <a:off x="2618579" y="2817356"/>
              <a:ext cx="1069296" cy="498328"/>
            </a:xfrm>
            <a:prstGeom prst="straightConnector1">
              <a:avLst/>
            </a:prstGeom>
            <a:noFill/>
            <a:ln w="19050" cap="rnd" cmpd="sng">
              <a:solidFill>
                <a:srgbClr val="A371F7"/>
              </a:solidFill>
              <a:prstDash val="solid"/>
              <a:miter lim="400000"/>
              <a:headEnd type="none" w="sm" len="sm"/>
              <a:tailEnd type="triangle" w="med" len="med"/>
            </a:ln>
          </p:spPr>
        </p:cxnSp>
        <p:sp>
          <p:nvSpPr>
            <p:cNvPr id="1329" name="Google Shape;1329;p104"/>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06" b="1" i="0" u="none" strike="noStrike" cap="none">
                <a:solidFill>
                  <a:srgbClr val="F0F6FC"/>
                </a:solidFill>
                <a:latin typeface="Arial"/>
                <a:ea typeface="Arial"/>
                <a:cs typeface="Arial"/>
                <a:sym typeface="Arial"/>
              </a:endParaRPr>
            </a:p>
          </p:txBody>
        </p:sp>
      </p:grpSp>
      <p:grpSp>
        <p:nvGrpSpPr>
          <p:cNvPr id="1330" name="Google Shape;1330;p104"/>
          <p:cNvGrpSpPr/>
          <p:nvPr/>
        </p:nvGrpSpPr>
        <p:grpSpPr>
          <a:xfrm rot="9300046" flipH="1">
            <a:off x="2020125" y="3515641"/>
            <a:ext cx="3402349" cy="1828773"/>
            <a:chOff x="1191527" y="2380720"/>
            <a:chExt cx="2551800" cy="1371600"/>
          </a:xfrm>
        </p:grpSpPr>
        <p:cxnSp>
          <p:nvCxnSpPr>
            <p:cNvPr id="1331" name="Google Shape;1331;p104"/>
            <p:cNvCxnSpPr>
              <a:stCxn id="1332" idx="6"/>
            </p:cNvCxnSpPr>
            <p:nvPr/>
          </p:nvCxnSpPr>
          <p:spPr>
            <a:xfrm rot="-1498566">
              <a:off x="2618579" y="2817356"/>
              <a:ext cx="1069296" cy="498328"/>
            </a:xfrm>
            <a:prstGeom prst="straightConnector1">
              <a:avLst/>
            </a:prstGeom>
            <a:noFill/>
            <a:ln w="19050" cap="rnd" cmpd="sng">
              <a:solidFill>
                <a:srgbClr val="A371F7"/>
              </a:solidFill>
              <a:prstDash val="solid"/>
              <a:miter lim="400000"/>
              <a:headEnd type="none" w="sm" len="sm"/>
              <a:tailEnd type="triangle" w="med" len="med"/>
            </a:ln>
          </p:spPr>
        </p:cxnSp>
        <p:sp>
          <p:nvSpPr>
            <p:cNvPr id="1332" name="Google Shape;1332;p104"/>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06" b="1" i="0" u="none" strike="noStrike" cap="none">
                <a:solidFill>
                  <a:srgbClr val="F0F6FC"/>
                </a:solidFill>
                <a:latin typeface="Arial"/>
                <a:ea typeface="Arial"/>
                <a:cs typeface="Arial"/>
                <a:sym typeface="Arial"/>
              </a:endParaRPr>
            </a:p>
          </p:txBody>
        </p:sp>
      </p:grpSp>
      <p:sp>
        <p:nvSpPr>
          <p:cNvPr id="1333" name="Google Shape;1333;p104"/>
          <p:cNvSpPr>
            <a:spLocks noGrp="1"/>
          </p:cNvSpPr>
          <p:nvPr>
            <p:ph type="pic" idx="2"/>
          </p:nvPr>
        </p:nvSpPr>
        <p:spPr>
          <a:xfrm>
            <a:off x="2490064" y="880325"/>
            <a:ext cx="1036320" cy="1036320"/>
          </a:xfrm>
          <a:prstGeom prst="rect">
            <a:avLst/>
          </a:prstGeom>
          <a:noFill/>
          <a:ln>
            <a:noFill/>
          </a:ln>
        </p:spPr>
      </p:sp>
      <p:sp>
        <p:nvSpPr>
          <p:cNvPr id="1334" name="Google Shape;1334;p104"/>
          <p:cNvSpPr>
            <a:spLocks noGrp="1"/>
          </p:cNvSpPr>
          <p:nvPr>
            <p:ph type="pic" idx="3"/>
          </p:nvPr>
        </p:nvSpPr>
        <p:spPr>
          <a:xfrm>
            <a:off x="2485148" y="4266074"/>
            <a:ext cx="1036320" cy="1036320"/>
          </a:xfrm>
          <a:prstGeom prst="rect">
            <a:avLst/>
          </a:prstGeom>
          <a:noFill/>
          <a:ln>
            <a:noFill/>
          </a:ln>
        </p:spPr>
      </p:sp>
      <p:sp>
        <p:nvSpPr>
          <p:cNvPr id="1335" name="Google Shape;1335;p104"/>
          <p:cNvSpPr>
            <a:spLocks noGrp="1"/>
          </p:cNvSpPr>
          <p:nvPr>
            <p:ph type="pic" idx="4"/>
          </p:nvPr>
        </p:nvSpPr>
        <p:spPr>
          <a:xfrm>
            <a:off x="8778851" y="880325"/>
            <a:ext cx="1036320" cy="1036320"/>
          </a:xfrm>
          <a:prstGeom prst="rect">
            <a:avLst/>
          </a:prstGeom>
          <a:noFill/>
          <a:ln>
            <a:noFill/>
          </a:ln>
        </p:spPr>
      </p:sp>
      <p:sp>
        <p:nvSpPr>
          <p:cNvPr id="1336" name="Google Shape;1336;p104"/>
          <p:cNvSpPr>
            <a:spLocks noGrp="1"/>
          </p:cNvSpPr>
          <p:nvPr>
            <p:ph type="pic" idx="5"/>
          </p:nvPr>
        </p:nvSpPr>
        <p:spPr>
          <a:xfrm>
            <a:off x="8797585" y="4266074"/>
            <a:ext cx="1036320" cy="1036320"/>
          </a:xfrm>
          <a:prstGeom prst="rect">
            <a:avLst/>
          </a:prstGeom>
          <a:noFill/>
          <a:ln>
            <a:noFill/>
          </a:ln>
        </p:spPr>
      </p:sp>
    </p:spTree>
    <p:extLst>
      <p:ext uri="{BB962C8B-B14F-4D97-AF65-F5344CB8AC3E}">
        <p14:creationId xmlns:p14="http://schemas.microsoft.com/office/powerpoint/2010/main" val="1181975960"/>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matchingName="100. Six computer feature functions">
  <p:cSld name="100. Six computer feature functions">
    <p:spTree>
      <p:nvGrpSpPr>
        <p:cNvPr id="1" name="Shape 1337"/>
        <p:cNvGrpSpPr/>
        <p:nvPr/>
      </p:nvGrpSpPr>
      <p:grpSpPr>
        <a:xfrm>
          <a:off x="0" y="0"/>
          <a:ext cx="0" cy="0"/>
          <a:chOff x="0" y="0"/>
          <a:chExt cx="0" cy="0"/>
        </a:xfrm>
      </p:grpSpPr>
      <p:grpSp>
        <p:nvGrpSpPr>
          <p:cNvPr id="1338" name="Google Shape;1338;p105"/>
          <p:cNvGrpSpPr/>
          <p:nvPr/>
        </p:nvGrpSpPr>
        <p:grpSpPr>
          <a:xfrm>
            <a:off x="4273100" y="1978001"/>
            <a:ext cx="3621600" cy="2806233"/>
            <a:chOff x="3204825" y="1483500"/>
            <a:chExt cx="2716200" cy="2104675"/>
          </a:xfrm>
        </p:grpSpPr>
        <p:sp>
          <p:nvSpPr>
            <p:cNvPr id="1339" name="Google Shape;1339;p105"/>
            <p:cNvSpPr/>
            <p:nvPr/>
          </p:nvSpPr>
          <p:spPr>
            <a:xfrm>
              <a:off x="4210050" y="3226375"/>
              <a:ext cx="723900" cy="361800"/>
            </a:xfrm>
            <a:prstGeom prst="trapezoid">
              <a:avLst>
                <a:gd name="adj" fmla="val 43443"/>
              </a:avLst>
            </a:prstGeom>
            <a:solidFill>
              <a:schemeClr val="lt1"/>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1340" name="Google Shape;1340;p105"/>
            <p:cNvSpPr/>
            <p:nvPr/>
          </p:nvSpPr>
          <p:spPr>
            <a:xfrm>
              <a:off x="3204825" y="1483500"/>
              <a:ext cx="2716200" cy="1743000"/>
            </a:xfrm>
            <a:prstGeom prst="roundRect">
              <a:avLst>
                <a:gd name="adj" fmla="val 5273"/>
              </a:avLst>
            </a:prstGeom>
            <a:solidFill>
              <a:schemeClr val="lt1"/>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grpSp>
      <p:grpSp>
        <p:nvGrpSpPr>
          <p:cNvPr id="1341" name="Google Shape;1341;p105"/>
          <p:cNvGrpSpPr/>
          <p:nvPr/>
        </p:nvGrpSpPr>
        <p:grpSpPr>
          <a:xfrm rot="1499954">
            <a:off x="2223325" y="696241"/>
            <a:ext cx="3402349" cy="1828773"/>
            <a:chOff x="1191527" y="2380720"/>
            <a:chExt cx="2551800" cy="1371600"/>
          </a:xfrm>
        </p:grpSpPr>
        <p:cxnSp>
          <p:nvCxnSpPr>
            <p:cNvPr id="1342" name="Google Shape;1342;p105"/>
            <p:cNvCxnSpPr>
              <a:stCxn id="1343" idx="6"/>
            </p:cNvCxnSpPr>
            <p:nvPr/>
          </p:nvCxnSpPr>
          <p:spPr>
            <a:xfrm rot="-1498566">
              <a:off x="2618579" y="2817356"/>
              <a:ext cx="1069296" cy="498328"/>
            </a:xfrm>
            <a:prstGeom prst="straightConnector1">
              <a:avLst/>
            </a:prstGeom>
            <a:noFill/>
            <a:ln w="19050" cap="rnd" cmpd="sng">
              <a:solidFill>
                <a:srgbClr val="A371F7"/>
              </a:solidFill>
              <a:prstDash val="solid"/>
              <a:miter lim="400000"/>
              <a:headEnd type="none" w="sm" len="sm"/>
              <a:tailEnd type="triangle" w="med" len="med"/>
            </a:ln>
          </p:spPr>
        </p:cxnSp>
        <p:sp>
          <p:nvSpPr>
            <p:cNvPr id="1343" name="Google Shape;1343;p105"/>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06" b="1" i="0" u="none" strike="noStrike" cap="none">
                <a:solidFill>
                  <a:srgbClr val="F0F6FC"/>
                </a:solidFill>
                <a:latin typeface="Arial"/>
                <a:ea typeface="Arial"/>
                <a:cs typeface="Arial"/>
                <a:sym typeface="Arial"/>
              </a:endParaRPr>
            </a:p>
          </p:txBody>
        </p:sp>
      </p:grpSp>
      <p:grpSp>
        <p:nvGrpSpPr>
          <p:cNvPr id="1344" name="Google Shape;1344;p105"/>
          <p:cNvGrpSpPr/>
          <p:nvPr/>
        </p:nvGrpSpPr>
        <p:grpSpPr>
          <a:xfrm rot="-1499954" flipH="1">
            <a:off x="6374759" y="696241"/>
            <a:ext cx="3402349" cy="1828773"/>
            <a:chOff x="1191527" y="2380720"/>
            <a:chExt cx="2551800" cy="1371600"/>
          </a:xfrm>
        </p:grpSpPr>
        <p:cxnSp>
          <p:nvCxnSpPr>
            <p:cNvPr id="1345" name="Google Shape;1345;p105"/>
            <p:cNvCxnSpPr>
              <a:stCxn id="1346" idx="6"/>
            </p:cNvCxnSpPr>
            <p:nvPr/>
          </p:nvCxnSpPr>
          <p:spPr>
            <a:xfrm rot="-1498566">
              <a:off x="2618579" y="2817356"/>
              <a:ext cx="1069296" cy="498328"/>
            </a:xfrm>
            <a:prstGeom prst="straightConnector1">
              <a:avLst/>
            </a:prstGeom>
            <a:noFill/>
            <a:ln w="19050" cap="rnd" cmpd="sng">
              <a:solidFill>
                <a:srgbClr val="A371F7"/>
              </a:solidFill>
              <a:prstDash val="solid"/>
              <a:miter lim="400000"/>
              <a:headEnd type="none" w="sm" len="sm"/>
              <a:tailEnd type="triangle" w="med" len="med"/>
            </a:ln>
          </p:spPr>
        </p:cxnSp>
        <p:sp>
          <p:nvSpPr>
            <p:cNvPr id="1346" name="Google Shape;1346;p105"/>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06" b="1" i="0" u="none" strike="noStrike" cap="none">
                <a:solidFill>
                  <a:srgbClr val="F0F6FC"/>
                </a:solidFill>
                <a:latin typeface="Arial"/>
                <a:ea typeface="Arial"/>
                <a:cs typeface="Arial"/>
                <a:sym typeface="Arial"/>
              </a:endParaRPr>
            </a:p>
          </p:txBody>
        </p:sp>
      </p:grpSp>
      <p:grpSp>
        <p:nvGrpSpPr>
          <p:cNvPr id="1347" name="Google Shape;1347;p105"/>
          <p:cNvGrpSpPr/>
          <p:nvPr/>
        </p:nvGrpSpPr>
        <p:grpSpPr>
          <a:xfrm rot="-9300046">
            <a:off x="6374759" y="3718840"/>
            <a:ext cx="3402349" cy="1828773"/>
            <a:chOff x="1191527" y="2380720"/>
            <a:chExt cx="2551800" cy="1371600"/>
          </a:xfrm>
        </p:grpSpPr>
        <p:cxnSp>
          <p:nvCxnSpPr>
            <p:cNvPr id="1348" name="Google Shape;1348;p105"/>
            <p:cNvCxnSpPr>
              <a:stCxn id="1349" idx="6"/>
            </p:cNvCxnSpPr>
            <p:nvPr/>
          </p:nvCxnSpPr>
          <p:spPr>
            <a:xfrm rot="-1498566">
              <a:off x="2618579" y="2817356"/>
              <a:ext cx="1069296" cy="498328"/>
            </a:xfrm>
            <a:prstGeom prst="straightConnector1">
              <a:avLst/>
            </a:prstGeom>
            <a:noFill/>
            <a:ln w="19050" cap="rnd" cmpd="sng">
              <a:solidFill>
                <a:srgbClr val="A371F7"/>
              </a:solidFill>
              <a:prstDash val="solid"/>
              <a:miter lim="400000"/>
              <a:headEnd type="none" w="sm" len="sm"/>
              <a:tailEnd type="triangle" w="med" len="med"/>
            </a:ln>
          </p:spPr>
        </p:cxnSp>
        <p:sp>
          <p:nvSpPr>
            <p:cNvPr id="1349" name="Google Shape;1349;p105"/>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06" b="1" i="0" u="none" strike="noStrike" cap="none">
                <a:solidFill>
                  <a:srgbClr val="F0F6FC"/>
                </a:solidFill>
                <a:latin typeface="Arial"/>
                <a:ea typeface="Arial"/>
                <a:cs typeface="Arial"/>
                <a:sym typeface="Arial"/>
              </a:endParaRPr>
            </a:p>
          </p:txBody>
        </p:sp>
      </p:grpSp>
      <p:grpSp>
        <p:nvGrpSpPr>
          <p:cNvPr id="1350" name="Google Shape;1350;p105"/>
          <p:cNvGrpSpPr/>
          <p:nvPr/>
        </p:nvGrpSpPr>
        <p:grpSpPr>
          <a:xfrm rot="9300046" flipH="1">
            <a:off x="2121726" y="3718840"/>
            <a:ext cx="3402349" cy="1828773"/>
            <a:chOff x="1191527" y="2380720"/>
            <a:chExt cx="2551800" cy="1371600"/>
          </a:xfrm>
        </p:grpSpPr>
        <p:cxnSp>
          <p:nvCxnSpPr>
            <p:cNvPr id="1351" name="Google Shape;1351;p105"/>
            <p:cNvCxnSpPr>
              <a:stCxn id="1352" idx="6"/>
            </p:cNvCxnSpPr>
            <p:nvPr/>
          </p:nvCxnSpPr>
          <p:spPr>
            <a:xfrm rot="-1498566">
              <a:off x="2618579" y="2817356"/>
              <a:ext cx="1069296" cy="498328"/>
            </a:xfrm>
            <a:prstGeom prst="straightConnector1">
              <a:avLst/>
            </a:prstGeom>
            <a:noFill/>
            <a:ln w="19050" cap="rnd" cmpd="sng">
              <a:solidFill>
                <a:srgbClr val="A371F7"/>
              </a:solidFill>
              <a:prstDash val="solid"/>
              <a:miter lim="400000"/>
              <a:headEnd type="none" w="sm" len="sm"/>
              <a:tailEnd type="triangle" w="med" len="med"/>
            </a:ln>
          </p:spPr>
        </p:cxnSp>
        <p:sp>
          <p:nvSpPr>
            <p:cNvPr id="1352" name="Google Shape;1352;p105"/>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06" b="1" i="0" u="none" strike="noStrike" cap="none">
                <a:solidFill>
                  <a:srgbClr val="F0F6FC"/>
                </a:solidFill>
                <a:latin typeface="Arial"/>
                <a:ea typeface="Arial"/>
                <a:cs typeface="Arial"/>
                <a:sym typeface="Arial"/>
              </a:endParaRPr>
            </a:p>
          </p:txBody>
        </p:sp>
      </p:grpSp>
      <p:grpSp>
        <p:nvGrpSpPr>
          <p:cNvPr id="1353" name="Google Shape;1353;p105"/>
          <p:cNvGrpSpPr/>
          <p:nvPr/>
        </p:nvGrpSpPr>
        <p:grpSpPr>
          <a:xfrm>
            <a:off x="1232748" y="2194886"/>
            <a:ext cx="3402400" cy="1828800"/>
            <a:chOff x="1191527" y="2380720"/>
            <a:chExt cx="2551800" cy="1371600"/>
          </a:xfrm>
        </p:grpSpPr>
        <p:cxnSp>
          <p:nvCxnSpPr>
            <p:cNvPr id="1354" name="Google Shape;1354;p105"/>
            <p:cNvCxnSpPr>
              <a:stCxn id="1355" idx="6"/>
            </p:cNvCxnSpPr>
            <p:nvPr/>
          </p:nvCxnSpPr>
          <p:spPr>
            <a:xfrm>
              <a:off x="2563127" y="3066520"/>
              <a:ext cx="1180200" cy="0"/>
            </a:xfrm>
            <a:prstGeom prst="straightConnector1">
              <a:avLst/>
            </a:prstGeom>
            <a:noFill/>
            <a:ln w="19050" cap="rnd" cmpd="sng">
              <a:solidFill>
                <a:srgbClr val="A371F7"/>
              </a:solidFill>
              <a:prstDash val="solid"/>
              <a:miter lim="400000"/>
              <a:headEnd type="none" w="sm" len="sm"/>
              <a:tailEnd type="triangle" w="med" len="med"/>
            </a:ln>
          </p:spPr>
        </p:cxnSp>
        <p:sp>
          <p:nvSpPr>
            <p:cNvPr id="1355" name="Google Shape;1355;p105"/>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06" b="1" i="0" u="none" strike="noStrike" cap="none">
                <a:solidFill>
                  <a:srgbClr val="F0F6FC"/>
                </a:solidFill>
                <a:latin typeface="Arial"/>
                <a:ea typeface="Arial"/>
                <a:cs typeface="Arial"/>
                <a:sym typeface="Arial"/>
              </a:endParaRPr>
            </a:p>
          </p:txBody>
        </p:sp>
      </p:grpSp>
      <p:grpSp>
        <p:nvGrpSpPr>
          <p:cNvPr id="1356" name="Google Shape;1356;p105"/>
          <p:cNvGrpSpPr/>
          <p:nvPr/>
        </p:nvGrpSpPr>
        <p:grpSpPr>
          <a:xfrm flipH="1">
            <a:off x="7125548" y="2194886"/>
            <a:ext cx="3402400" cy="1828800"/>
            <a:chOff x="1191527" y="2380720"/>
            <a:chExt cx="2551800" cy="1371600"/>
          </a:xfrm>
        </p:grpSpPr>
        <p:cxnSp>
          <p:nvCxnSpPr>
            <p:cNvPr id="1357" name="Google Shape;1357;p105"/>
            <p:cNvCxnSpPr>
              <a:stCxn id="1358" idx="6"/>
            </p:cNvCxnSpPr>
            <p:nvPr/>
          </p:nvCxnSpPr>
          <p:spPr>
            <a:xfrm>
              <a:off x="2563127" y="3066520"/>
              <a:ext cx="1180200" cy="0"/>
            </a:xfrm>
            <a:prstGeom prst="straightConnector1">
              <a:avLst/>
            </a:prstGeom>
            <a:noFill/>
            <a:ln w="19050" cap="rnd" cmpd="sng">
              <a:solidFill>
                <a:srgbClr val="A371F7"/>
              </a:solidFill>
              <a:prstDash val="solid"/>
              <a:miter lim="400000"/>
              <a:headEnd type="none" w="sm" len="sm"/>
              <a:tailEnd type="triangle" w="med" len="med"/>
            </a:ln>
          </p:spPr>
        </p:cxnSp>
        <p:sp>
          <p:nvSpPr>
            <p:cNvPr id="1358" name="Google Shape;1358;p105"/>
            <p:cNvSpPr/>
            <p:nvPr/>
          </p:nvSpPr>
          <p:spPr>
            <a:xfrm>
              <a:off x="1191527" y="2380720"/>
              <a:ext cx="1371600" cy="1371600"/>
            </a:xfrm>
            <a:prstGeom prst="ellipse">
              <a:avLst/>
            </a:prstGeom>
            <a:solidFill>
              <a:srgbClr val="0A0C10"/>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F0F6FC"/>
                </a:buClr>
                <a:buSzPts val="22000"/>
                <a:buFont typeface="Arial"/>
                <a:buNone/>
              </a:pPr>
              <a:endParaRPr sz="29306" b="1" i="0" u="none" strike="noStrike" cap="none">
                <a:solidFill>
                  <a:srgbClr val="F0F6FC"/>
                </a:solidFill>
                <a:latin typeface="Arial"/>
                <a:ea typeface="Arial"/>
                <a:cs typeface="Arial"/>
                <a:sym typeface="Arial"/>
              </a:endParaRPr>
            </a:p>
          </p:txBody>
        </p:sp>
      </p:grpSp>
      <p:sp>
        <p:nvSpPr>
          <p:cNvPr id="1359" name="Google Shape;1359;p105"/>
          <p:cNvSpPr>
            <a:spLocks noGrp="1"/>
          </p:cNvSpPr>
          <p:nvPr>
            <p:ph type="pic" idx="2"/>
          </p:nvPr>
        </p:nvSpPr>
        <p:spPr>
          <a:xfrm>
            <a:off x="2693264" y="755120"/>
            <a:ext cx="1036320" cy="1036320"/>
          </a:xfrm>
          <a:prstGeom prst="rect">
            <a:avLst/>
          </a:prstGeom>
          <a:noFill/>
          <a:ln>
            <a:noFill/>
          </a:ln>
        </p:spPr>
      </p:sp>
      <p:sp>
        <p:nvSpPr>
          <p:cNvPr id="1360" name="Google Shape;1360;p105"/>
          <p:cNvSpPr>
            <a:spLocks noGrp="1"/>
          </p:cNvSpPr>
          <p:nvPr>
            <p:ph type="pic" idx="3"/>
          </p:nvPr>
        </p:nvSpPr>
        <p:spPr>
          <a:xfrm>
            <a:off x="1623004" y="2589258"/>
            <a:ext cx="1036320" cy="1036320"/>
          </a:xfrm>
          <a:prstGeom prst="rect">
            <a:avLst/>
          </a:prstGeom>
          <a:noFill/>
          <a:ln>
            <a:noFill/>
          </a:ln>
        </p:spPr>
      </p:sp>
      <p:sp>
        <p:nvSpPr>
          <p:cNvPr id="1361" name="Google Shape;1361;p105"/>
          <p:cNvSpPr>
            <a:spLocks noGrp="1"/>
          </p:cNvSpPr>
          <p:nvPr>
            <p:ph type="pic" idx="4"/>
          </p:nvPr>
        </p:nvSpPr>
        <p:spPr>
          <a:xfrm>
            <a:off x="2591664" y="4447568"/>
            <a:ext cx="1036320" cy="1036320"/>
          </a:xfrm>
          <a:prstGeom prst="rect">
            <a:avLst/>
          </a:prstGeom>
          <a:noFill/>
          <a:ln>
            <a:noFill/>
          </a:ln>
        </p:spPr>
      </p:sp>
      <p:sp>
        <p:nvSpPr>
          <p:cNvPr id="1362" name="Google Shape;1362;p105"/>
          <p:cNvSpPr>
            <a:spLocks noGrp="1"/>
          </p:cNvSpPr>
          <p:nvPr>
            <p:ph type="pic" idx="5"/>
          </p:nvPr>
        </p:nvSpPr>
        <p:spPr>
          <a:xfrm>
            <a:off x="8270851" y="755120"/>
            <a:ext cx="1036320" cy="1036320"/>
          </a:xfrm>
          <a:prstGeom prst="rect">
            <a:avLst/>
          </a:prstGeom>
          <a:noFill/>
          <a:ln>
            <a:noFill/>
          </a:ln>
        </p:spPr>
      </p:sp>
      <p:sp>
        <p:nvSpPr>
          <p:cNvPr id="1363" name="Google Shape;1363;p105"/>
          <p:cNvSpPr>
            <a:spLocks noGrp="1"/>
          </p:cNvSpPr>
          <p:nvPr>
            <p:ph type="pic" idx="6"/>
          </p:nvPr>
        </p:nvSpPr>
        <p:spPr>
          <a:xfrm>
            <a:off x="9095388" y="2616405"/>
            <a:ext cx="1036320" cy="1036320"/>
          </a:xfrm>
          <a:prstGeom prst="rect">
            <a:avLst/>
          </a:prstGeom>
          <a:noFill/>
          <a:ln>
            <a:noFill/>
          </a:ln>
        </p:spPr>
      </p:sp>
      <p:sp>
        <p:nvSpPr>
          <p:cNvPr id="1364" name="Google Shape;1364;p105"/>
          <p:cNvSpPr>
            <a:spLocks noGrp="1"/>
          </p:cNvSpPr>
          <p:nvPr>
            <p:ph type="pic" idx="7"/>
          </p:nvPr>
        </p:nvSpPr>
        <p:spPr>
          <a:xfrm>
            <a:off x="8269625" y="4447568"/>
            <a:ext cx="1036320" cy="1036320"/>
          </a:xfrm>
          <a:prstGeom prst="rect">
            <a:avLst/>
          </a:prstGeom>
          <a:noFill/>
          <a:ln>
            <a:noFill/>
          </a:ln>
        </p:spPr>
      </p:sp>
    </p:spTree>
    <p:extLst>
      <p:ext uri="{BB962C8B-B14F-4D97-AF65-F5344CB8AC3E}">
        <p14:creationId xmlns:p14="http://schemas.microsoft.com/office/powerpoint/2010/main" val="17273909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2"/>
          <a:srcRect l="1447" r="31903"/>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330B868F-3663-464B-9FEA-2779820C3336}"/>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1525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matchingName="105. Q&amp;A ">
  <p:cSld name="105. Q&amp;A ">
    <p:spTree>
      <p:nvGrpSpPr>
        <p:cNvPr id="1" name="Shape 1365"/>
        <p:cNvGrpSpPr/>
        <p:nvPr/>
      </p:nvGrpSpPr>
      <p:grpSpPr>
        <a:xfrm>
          <a:off x="0" y="0"/>
          <a:ext cx="0" cy="0"/>
          <a:chOff x="0" y="0"/>
          <a:chExt cx="0" cy="0"/>
        </a:xfrm>
      </p:grpSpPr>
      <p:pic>
        <p:nvPicPr>
          <p:cNvPr id="1366" name="Google Shape;1366;p106"/>
          <p:cNvPicPr preferRelativeResize="0"/>
          <p:nvPr/>
        </p:nvPicPr>
        <p:blipFill rotWithShape="1">
          <a:blip r:embed="rId2">
            <a:alphaModFix/>
          </a:blip>
          <a:srcRect/>
          <a:stretch/>
        </p:blipFill>
        <p:spPr>
          <a:xfrm>
            <a:off x="0" y="1"/>
            <a:ext cx="12192000" cy="6858000"/>
          </a:xfrm>
          <a:prstGeom prst="rect">
            <a:avLst/>
          </a:prstGeom>
          <a:noFill/>
          <a:ln>
            <a:noFill/>
          </a:ln>
        </p:spPr>
      </p:pic>
      <p:sp>
        <p:nvSpPr>
          <p:cNvPr id="1367" name="Google Shape;1367;p106"/>
          <p:cNvSpPr/>
          <p:nvPr/>
        </p:nvSpPr>
        <p:spPr>
          <a:xfrm>
            <a:off x="4887600" y="2790401"/>
            <a:ext cx="2416800" cy="1277200"/>
          </a:xfrm>
          <a:prstGeom prst="rect">
            <a:avLst/>
          </a:prstGeom>
          <a:noFill/>
          <a:ln>
            <a:noFill/>
          </a:ln>
        </p:spPr>
        <p:txBody>
          <a:bodyPr spcFirstLastPara="1" wrap="square" lIns="45658" tIns="22846" rIns="45658" bIns="22846" anchor="ctr" anchorCtr="0">
            <a:noAutofit/>
          </a:bodyPr>
          <a:lstStyle/>
          <a:p>
            <a:pPr marL="0" marR="0" lvl="0" indent="0" algn="ctr" rtl="0">
              <a:lnSpc>
                <a:spcPct val="100000"/>
              </a:lnSpc>
              <a:spcBef>
                <a:spcPts val="0"/>
              </a:spcBef>
              <a:spcAft>
                <a:spcPts val="0"/>
              </a:spcAft>
              <a:buClr>
                <a:schemeClr val="lt1"/>
              </a:buClr>
              <a:buSzPts val="6000"/>
              <a:buFont typeface="Arial"/>
              <a:buNone/>
            </a:pPr>
            <a:r>
              <a:rPr lang="en-US" sz="7993" b="1" i="0">
                <a:solidFill>
                  <a:schemeClr val="dk1"/>
                </a:solidFill>
                <a:latin typeface="Arial"/>
                <a:ea typeface="Arial"/>
                <a:cs typeface="Arial"/>
                <a:sym typeface="Arial"/>
              </a:rPr>
              <a:t>Q&amp;A</a:t>
            </a:r>
            <a:endParaRPr sz="7993" b="1" i="0">
              <a:solidFill>
                <a:schemeClr val="dk1"/>
              </a:solidFill>
              <a:latin typeface="Arial"/>
              <a:ea typeface="Arial"/>
              <a:cs typeface="Arial"/>
              <a:sym typeface="Arial"/>
            </a:endParaRPr>
          </a:p>
        </p:txBody>
      </p:sp>
    </p:spTree>
    <p:extLst>
      <p:ext uri="{BB962C8B-B14F-4D97-AF65-F5344CB8AC3E}">
        <p14:creationId xmlns:p14="http://schemas.microsoft.com/office/powerpoint/2010/main" val="3626786880"/>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matchingName="101. Q&amp;A">
  <p:cSld name="101. Q&amp;A">
    <p:bg>
      <p:bgPr>
        <a:gradFill>
          <a:gsLst>
            <a:gs pos="0">
              <a:schemeClr val="accent6"/>
            </a:gs>
            <a:gs pos="74000">
              <a:schemeClr val="accent1"/>
            </a:gs>
            <a:gs pos="100000">
              <a:schemeClr val="accent1"/>
            </a:gs>
          </a:gsLst>
          <a:lin ang="8100019" scaled="0"/>
        </a:gradFill>
        <a:effectLst/>
      </p:bgPr>
    </p:bg>
    <p:spTree>
      <p:nvGrpSpPr>
        <p:cNvPr id="1" name="Shape 1368"/>
        <p:cNvGrpSpPr/>
        <p:nvPr/>
      </p:nvGrpSpPr>
      <p:grpSpPr>
        <a:xfrm>
          <a:off x="0" y="0"/>
          <a:ext cx="0" cy="0"/>
          <a:chOff x="0" y="0"/>
          <a:chExt cx="0" cy="0"/>
        </a:xfrm>
      </p:grpSpPr>
      <p:sp>
        <p:nvSpPr>
          <p:cNvPr id="1369" name="Google Shape;1369;p107"/>
          <p:cNvSpPr/>
          <p:nvPr/>
        </p:nvSpPr>
        <p:spPr>
          <a:xfrm>
            <a:off x="4887600" y="2790401"/>
            <a:ext cx="2416800" cy="1277200"/>
          </a:xfrm>
          <a:prstGeom prst="rect">
            <a:avLst/>
          </a:prstGeom>
          <a:noFill/>
          <a:ln>
            <a:noFill/>
          </a:ln>
        </p:spPr>
        <p:txBody>
          <a:bodyPr spcFirstLastPara="1" wrap="square" lIns="45658" tIns="22846" rIns="45658" bIns="22846" anchor="ctr" anchorCtr="0">
            <a:noAutofit/>
          </a:bodyPr>
          <a:lstStyle/>
          <a:p>
            <a:pPr marL="0" marR="0" lvl="0" indent="0" algn="ctr" rtl="0">
              <a:lnSpc>
                <a:spcPct val="100000"/>
              </a:lnSpc>
              <a:spcBef>
                <a:spcPts val="0"/>
              </a:spcBef>
              <a:spcAft>
                <a:spcPts val="0"/>
              </a:spcAft>
              <a:buClr>
                <a:schemeClr val="lt1"/>
              </a:buClr>
              <a:buSzPts val="6000"/>
              <a:buFont typeface="Arial"/>
              <a:buNone/>
            </a:pPr>
            <a:r>
              <a:rPr lang="en-US" sz="7993" b="1" i="0">
                <a:solidFill>
                  <a:schemeClr val="dk1"/>
                </a:solidFill>
                <a:latin typeface="Arial"/>
                <a:ea typeface="Arial"/>
                <a:cs typeface="Arial"/>
                <a:sym typeface="Arial"/>
              </a:rPr>
              <a:t>Q&amp;A</a:t>
            </a:r>
            <a:endParaRPr sz="7993" b="1" i="0">
              <a:solidFill>
                <a:schemeClr val="dk1"/>
              </a:solidFill>
              <a:latin typeface="Arial"/>
              <a:ea typeface="Arial"/>
              <a:cs typeface="Arial"/>
              <a:sym typeface="Arial"/>
            </a:endParaRPr>
          </a:p>
        </p:txBody>
      </p:sp>
    </p:spTree>
    <p:extLst>
      <p:ext uri="{BB962C8B-B14F-4D97-AF65-F5344CB8AC3E}">
        <p14:creationId xmlns:p14="http://schemas.microsoft.com/office/powerpoint/2010/main" val="2707708689"/>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matchingName="102. Q&amp;A">
  <p:cSld name="102. Q&amp;A">
    <p:bg>
      <p:bgPr>
        <a:gradFill>
          <a:gsLst>
            <a:gs pos="0">
              <a:srgbClr val="A371F7"/>
            </a:gs>
            <a:gs pos="100000">
              <a:srgbClr val="388BFD"/>
            </a:gs>
          </a:gsLst>
          <a:lin ang="18900000" scaled="0"/>
        </a:gradFill>
        <a:effectLst/>
      </p:bgPr>
    </p:bg>
    <p:spTree>
      <p:nvGrpSpPr>
        <p:cNvPr id="1" name="Shape 1370"/>
        <p:cNvGrpSpPr/>
        <p:nvPr/>
      </p:nvGrpSpPr>
      <p:grpSpPr>
        <a:xfrm>
          <a:off x="0" y="0"/>
          <a:ext cx="0" cy="0"/>
          <a:chOff x="0" y="0"/>
          <a:chExt cx="0" cy="0"/>
        </a:xfrm>
      </p:grpSpPr>
      <p:sp>
        <p:nvSpPr>
          <p:cNvPr id="1371" name="Google Shape;1371;p108"/>
          <p:cNvSpPr/>
          <p:nvPr/>
        </p:nvSpPr>
        <p:spPr>
          <a:xfrm>
            <a:off x="4887600" y="2790401"/>
            <a:ext cx="2416800" cy="1277200"/>
          </a:xfrm>
          <a:prstGeom prst="rect">
            <a:avLst/>
          </a:prstGeom>
          <a:noFill/>
          <a:ln>
            <a:noFill/>
          </a:ln>
        </p:spPr>
        <p:txBody>
          <a:bodyPr spcFirstLastPara="1" wrap="square" lIns="45658" tIns="22846" rIns="45658" bIns="22846" anchor="ctr" anchorCtr="0">
            <a:noAutofit/>
          </a:bodyPr>
          <a:lstStyle/>
          <a:p>
            <a:pPr marL="0" marR="0" lvl="0" indent="0" algn="ctr" rtl="0">
              <a:lnSpc>
                <a:spcPct val="100000"/>
              </a:lnSpc>
              <a:spcBef>
                <a:spcPts val="0"/>
              </a:spcBef>
              <a:spcAft>
                <a:spcPts val="0"/>
              </a:spcAft>
              <a:buClr>
                <a:schemeClr val="lt1"/>
              </a:buClr>
              <a:buSzPts val="6000"/>
              <a:buFont typeface="Arial"/>
              <a:buNone/>
            </a:pPr>
            <a:r>
              <a:rPr lang="en-US" sz="7993" b="1" i="0">
                <a:solidFill>
                  <a:schemeClr val="dk1"/>
                </a:solidFill>
                <a:latin typeface="Arial"/>
                <a:ea typeface="Arial"/>
                <a:cs typeface="Arial"/>
                <a:sym typeface="Arial"/>
              </a:rPr>
              <a:t>Q&amp;A</a:t>
            </a:r>
            <a:endParaRPr sz="7993" b="1" i="0">
              <a:solidFill>
                <a:schemeClr val="dk1"/>
              </a:solidFill>
              <a:latin typeface="Arial"/>
              <a:ea typeface="Arial"/>
              <a:cs typeface="Arial"/>
              <a:sym typeface="Arial"/>
            </a:endParaRPr>
          </a:p>
        </p:txBody>
      </p:sp>
    </p:spTree>
    <p:extLst>
      <p:ext uri="{BB962C8B-B14F-4D97-AF65-F5344CB8AC3E}">
        <p14:creationId xmlns:p14="http://schemas.microsoft.com/office/powerpoint/2010/main" val="3758555246"/>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matchingName="103. Q&amp;A">
  <p:cSld name="103. Q&amp;A">
    <p:bg>
      <p:bgPr>
        <a:gradFill>
          <a:gsLst>
            <a:gs pos="0">
              <a:schemeClr val="accent2"/>
            </a:gs>
            <a:gs pos="55000">
              <a:schemeClr val="accent5"/>
            </a:gs>
            <a:gs pos="99000">
              <a:schemeClr val="accent3"/>
            </a:gs>
            <a:gs pos="100000">
              <a:schemeClr val="accent3"/>
            </a:gs>
          </a:gsLst>
          <a:lin ang="18900044" scaled="0"/>
        </a:gradFill>
        <a:effectLst/>
      </p:bgPr>
    </p:bg>
    <p:spTree>
      <p:nvGrpSpPr>
        <p:cNvPr id="1" name="Shape 1372"/>
        <p:cNvGrpSpPr/>
        <p:nvPr/>
      </p:nvGrpSpPr>
      <p:grpSpPr>
        <a:xfrm>
          <a:off x="0" y="0"/>
          <a:ext cx="0" cy="0"/>
          <a:chOff x="0" y="0"/>
          <a:chExt cx="0" cy="0"/>
        </a:xfrm>
      </p:grpSpPr>
      <p:sp>
        <p:nvSpPr>
          <p:cNvPr id="1373" name="Google Shape;1373;p109"/>
          <p:cNvSpPr/>
          <p:nvPr/>
        </p:nvSpPr>
        <p:spPr>
          <a:xfrm>
            <a:off x="4887600" y="2790401"/>
            <a:ext cx="2416800" cy="1277200"/>
          </a:xfrm>
          <a:prstGeom prst="rect">
            <a:avLst/>
          </a:prstGeom>
          <a:noFill/>
          <a:ln>
            <a:noFill/>
          </a:ln>
        </p:spPr>
        <p:txBody>
          <a:bodyPr spcFirstLastPara="1" wrap="square" lIns="45658" tIns="22846" rIns="45658" bIns="22846" anchor="ctr" anchorCtr="0">
            <a:noAutofit/>
          </a:bodyPr>
          <a:lstStyle/>
          <a:p>
            <a:pPr marL="0" marR="0" lvl="0" indent="0" algn="ctr" rtl="0">
              <a:lnSpc>
                <a:spcPct val="100000"/>
              </a:lnSpc>
              <a:spcBef>
                <a:spcPts val="0"/>
              </a:spcBef>
              <a:spcAft>
                <a:spcPts val="0"/>
              </a:spcAft>
              <a:buClr>
                <a:schemeClr val="lt1"/>
              </a:buClr>
              <a:buSzPts val="6000"/>
              <a:buFont typeface="Arial"/>
              <a:buNone/>
            </a:pPr>
            <a:r>
              <a:rPr lang="en-US" sz="7993" b="1" i="0">
                <a:solidFill>
                  <a:schemeClr val="dk1"/>
                </a:solidFill>
                <a:latin typeface="Arial"/>
                <a:ea typeface="Arial"/>
                <a:cs typeface="Arial"/>
                <a:sym typeface="Arial"/>
              </a:rPr>
              <a:t>Q&amp;A</a:t>
            </a:r>
            <a:endParaRPr sz="7993" b="1" i="0">
              <a:solidFill>
                <a:schemeClr val="dk1"/>
              </a:solidFill>
              <a:latin typeface="Arial"/>
              <a:ea typeface="Arial"/>
              <a:cs typeface="Arial"/>
              <a:sym typeface="Arial"/>
            </a:endParaRPr>
          </a:p>
        </p:txBody>
      </p:sp>
    </p:spTree>
    <p:extLst>
      <p:ext uri="{BB962C8B-B14F-4D97-AF65-F5344CB8AC3E}">
        <p14:creationId xmlns:p14="http://schemas.microsoft.com/office/powerpoint/2010/main" val="1274861751"/>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matchingName="110. Thank you">
  <p:cSld name="110. Thank you">
    <p:spTree>
      <p:nvGrpSpPr>
        <p:cNvPr id="1" name="Shape 1374"/>
        <p:cNvGrpSpPr/>
        <p:nvPr/>
      </p:nvGrpSpPr>
      <p:grpSpPr>
        <a:xfrm>
          <a:off x="0" y="0"/>
          <a:ext cx="0" cy="0"/>
          <a:chOff x="0" y="0"/>
          <a:chExt cx="0" cy="0"/>
        </a:xfrm>
      </p:grpSpPr>
      <p:pic>
        <p:nvPicPr>
          <p:cNvPr id="1375" name="Google Shape;1375;p110"/>
          <p:cNvPicPr preferRelativeResize="0"/>
          <p:nvPr/>
        </p:nvPicPr>
        <p:blipFill rotWithShape="1">
          <a:blip r:embed="rId2">
            <a:alphaModFix/>
          </a:blip>
          <a:srcRect/>
          <a:stretch/>
        </p:blipFill>
        <p:spPr>
          <a:xfrm>
            <a:off x="0" y="1"/>
            <a:ext cx="12192000" cy="6858000"/>
          </a:xfrm>
          <a:prstGeom prst="rect">
            <a:avLst/>
          </a:prstGeom>
          <a:noFill/>
          <a:ln>
            <a:noFill/>
          </a:ln>
        </p:spPr>
      </p:pic>
      <p:sp>
        <p:nvSpPr>
          <p:cNvPr id="1376" name="Google Shape;1376;p110"/>
          <p:cNvSpPr/>
          <p:nvPr/>
        </p:nvSpPr>
        <p:spPr>
          <a:xfrm>
            <a:off x="3484228" y="2790365"/>
            <a:ext cx="5223600" cy="1277200"/>
          </a:xfrm>
          <a:prstGeom prst="rect">
            <a:avLst/>
          </a:prstGeom>
          <a:noFill/>
          <a:ln>
            <a:noFill/>
          </a:ln>
        </p:spPr>
        <p:txBody>
          <a:bodyPr spcFirstLastPara="1" wrap="square" lIns="45658" tIns="22846" rIns="45658" bIns="22846"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US" sz="7993" b="1" i="0" u="none" strike="noStrike" cap="none">
                <a:solidFill>
                  <a:schemeClr val="dk1"/>
                </a:solidFill>
                <a:latin typeface="Arial"/>
                <a:ea typeface="Arial"/>
                <a:cs typeface="Arial"/>
                <a:sym typeface="Arial"/>
              </a:rPr>
              <a:t>Thank you</a:t>
            </a:r>
            <a:endParaRPr sz="7993" b="1" i="0">
              <a:solidFill>
                <a:schemeClr val="dk1"/>
              </a:solidFill>
              <a:latin typeface="Arial"/>
              <a:ea typeface="Arial"/>
              <a:cs typeface="Arial"/>
              <a:sym typeface="Arial"/>
            </a:endParaRPr>
          </a:p>
        </p:txBody>
      </p:sp>
    </p:spTree>
    <p:extLst>
      <p:ext uri="{BB962C8B-B14F-4D97-AF65-F5344CB8AC3E}">
        <p14:creationId xmlns:p14="http://schemas.microsoft.com/office/powerpoint/2010/main" val="1324545067"/>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106. Thank you">
  <p:cSld name="106. Thank you">
    <p:bg>
      <p:bgPr>
        <a:gradFill>
          <a:gsLst>
            <a:gs pos="0">
              <a:schemeClr val="accent1"/>
            </a:gs>
            <a:gs pos="24000">
              <a:schemeClr val="accent1"/>
            </a:gs>
            <a:gs pos="99000">
              <a:schemeClr val="accent6"/>
            </a:gs>
            <a:gs pos="100000">
              <a:schemeClr val="accent6"/>
            </a:gs>
          </a:gsLst>
          <a:lin ang="18900044" scaled="0"/>
        </a:gradFill>
        <a:effectLst/>
      </p:bgPr>
    </p:bg>
    <p:spTree>
      <p:nvGrpSpPr>
        <p:cNvPr id="1" name="Shape 1377"/>
        <p:cNvGrpSpPr/>
        <p:nvPr/>
      </p:nvGrpSpPr>
      <p:grpSpPr>
        <a:xfrm>
          <a:off x="0" y="0"/>
          <a:ext cx="0" cy="0"/>
          <a:chOff x="0" y="0"/>
          <a:chExt cx="0" cy="0"/>
        </a:xfrm>
      </p:grpSpPr>
      <p:sp>
        <p:nvSpPr>
          <p:cNvPr id="1378" name="Google Shape;1378;p111"/>
          <p:cNvSpPr/>
          <p:nvPr/>
        </p:nvSpPr>
        <p:spPr>
          <a:xfrm>
            <a:off x="3484228" y="2790365"/>
            <a:ext cx="5223600" cy="1277200"/>
          </a:xfrm>
          <a:prstGeom prst="rect">
            <a:avLst/>
          </a:prstGeom>
          <a:noFill/>
          <a:ln>
            <a:noFill/>
          </a:ln>
        </p:spPr>
        <p:txBody>
          <a:bodyPr spcFirstLastPara="1" wrap="square" lIns="45658" tIns="22846" rIns="45658" bIns="22846"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US" sz="7993" b="1" i="0" u="none" strike="noStrike" cap="none">
                <a:solidFill>
                  <a:schemeClr val="dk1"/>
                </a:solidFill>
                <a:latin typeface="Arial"/>
                <a:ea typeface="Arial"/>
                <a:cs typeface="Arial"/>
                <a:sym typeface="Arial"/>
              </a:rPr>
              <a:t>Thank you</a:t>
            </a:r>
            <a:endParaRPr sz="7993" b="1" i="0">
              <a:solidFill>
                <a:schemeClr val="dk1"/>
              </a:solidFill>
              <a:latin typeface="Arial"/>
              <a:ea typeface="Arial"/>
              <a:cs typeface="Arial"/>
              <a:sym typeface="Arial"/>
            </a:endParaRPr>
          </a:p>
        </p:txBody>
      </p:sp>
    </p:spTree>
    <p:extLst>
      <p:ext uri="{BB962C8B-B14F-4D97-AF65-F5344CB8AC3E}">
        <p14:creationId xmlns:p14="http://schemas.microsoft.com/office/powerpoint/2010/main" val="17401922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107. Thank you">
  <p:cSld name="107. Thank you">
    <p:bg>
      <p:bgPr>
        <a:gradFill>
          <a:gsLst>
            <a:gs pos="0">
              <a:schemeClr val="accent2"/>
            </a:gs>
            <a:gs pos="56000">
              <a:schemeClr val="accent4"/>
            </a:gs>
            <a:gs pos="100000">
              <a:schemeClr val="accent1"/>
            </a:gs>
          </a:gsLst>
          <a:lin ang="18900000" scaled="0"/>
        </a:gradFill>
        <a:effectLst/>
      </p:bgPr>
    </p:bg>
    <p:spTree>
      <p:nvGrpSpPr>
        <p:cNvPr id="1" name="Shape 1379"/>
        <p:cNvGrpSpPr/>
        <p:nvPr/>
      </p:nvGrpSpPr>
      <p:grpSpPr>
        <a:xfrm>
          <a:off x="0" y="0"/>
          <a:ext cx="0" cy="0"/>
          <a:chOff x="0" y="0"/>
          <a:chExt cx="0" cy="0"/>
        </a:xfrm>
      </p:grpSpPr>
      <p:sp>
        <p:nvSpPr>
          <p:cNvPr id="1380" name="Google Shape;1380;p112"/>
          <p:cNvSpPr/>
          <p:nvPr/>
        </p:nvSpPr>
        <p:spPr>
          <a:xfrm>
            <a:off x="3484228" y="2790365"/>
            <a:ext cx="5223600" cy="1277200"/>
          </a:xfrm>
          <a:prstGeom prst="rect">
            <a:avLst/>
          </a:prstGeom>
          <a:noFill/>
          <a:ln>
            <a:noFill/>
          </a:ln>
        </p:spPr>
        <p:txBody>
          <a:bodyPr spcFirstLastPara="1" wrap="square" lIns="45658" tIns="22846" rIns="45658" bIns="22846"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US" sz="7993" b="1" i="0" u="none" strike="noStrike" cap="none">
                <a:solidFill>
                  <a:schemeClr val="dk1"/>
                </a:solidFill>
                <a:latin typeface="Arial"/>
                <a:ea typeface="Arial"/>
                <a:cs typeface="Arial"/>
                <a:sym typeface="Arial"/>
              </a:rPr>
              <a:t>Thank you</a:t>
            </a:r>
            <a:endParaRPr sz="7993" b="1" i="0">
              <a:solidFill>
                <a:schemeClr val="dk1"/>
              </a:solidFill>
              <a:latin typeface="Arial"/>
              <a:ea typeface="Arial"/>
              <a:cs typeface="Arial"/>
              <a:sym typeface="Arial"/>
            </a:endParaRPr>
          </a:p>
        </p:txBody>
      </p:sp>
    </p:spTree>
    <p:extLst>
      <p:ext uri="{BB962C8B-B14F-4D97-AF65-F5344CB8AC3E}">
        <p14:creationId xmlns:p14="http://schemas.microsoft.com/office/powerpoint/2010/main" val="3068479372"/>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108. Thank you">
  <p:cSld name="108. Thank you">
    <p:bg>
      <p:bgPr>
        <a:gradFill>
          <a:gsLst>
            <a:gs pos="0">
              <a:schemeClr val="accent2"/>
            </a:gs>
            <a:gs pos="7000">
              <a:schemeClr val="accent2"/>
            </a:gs>
            <a:gs pos="100000">
              <a:schemeClr val="accent5"/>
            </a:gs>
          </a:gsLst>
          <a:lin ang="18900000" scaled="0"/>
        </a:gradFill>
        <a:effectLst/>
      </p:bgPr>
    </p:bg>
    <p:spTree>
      <p:nvGrpSpPr>
        <p:cNvPr id="1" name="Shape 1381"/>
        <p:cNvGrpSpPr/>
        <p:nvPr/>
      </p:nvGrpSpPr>
      <p:grpSpPr>
        <a:xfrm>
          <a:off x="0" y="0"/>
          <a:ext cx="0" cy="0"/>
          <a:chOff x="0" y="0"/>
          <a:chExt cx="0" cy="0"/>
        </a:xfrm>
      </p:grpSpPr>
      <p:sp>
        <p:nvSpPr>
          <p:cNvPr id="1382" name="Google Shape;1382;p113"/>
          <p:cNvSpPr/>
          <p:nvPr/>
        </p:nvSpPr>
        <p:spPr>
          <a:xfrm>
            <a:off x="3484228" y="2790365"/>
            <a:ext cx="5223600" cy="1277200"/>
          </a:xfrm>
          <a:prstGeom prst="rect">
            <a:avLst/>
          </a:prstGeom>
          <a:noFill/>
          <a:ln>
            <a:noFill/>
          </a:ln>
        </p:spPr>
        <p:txBody>
          <a:bodyPr spcFirstLastPara="1" wrap="square" lIns="45658" tIns="22846" rIns="45658" bIns="22846" anchor="t" anchorCtr="0">
            <a:noAutofit/>
          </a:bodyPr>
          <a:lstStyle/>
          <a:p>
            <a:pPr marL="0" marR="0" lvl="0" indent="0" algn="ctr" rtl="0">
              <a:lnSpc>
                <a:spcPct val="100000"/>
              </a:lnSpc>
              <a:spcBef>
                <a:spcPts val="0"/>
              </a:spcBef>
              <a:spcAft>
                <a:spcPts val="0"/>
              </a:spcAft>
              <a:buClr>
                <a:schemeClr val="lt1"/>
              </a:buClr>
              <a:buSzPts val="6000"/>
              <a:buFont typeface="Arial"/>
              <a:buNone/>
            </a:pPr>
            <a:r>
              <a:rPr lang="en-US" sz="7993" b="1" i="0" u="none" strike="noStrike" cap="none">
                <a:solidFill>
                  <a:schemeClr val="dk1"/>
                </a:solidFill>
                <a:latin typeface="Arial"/>
                <a:ea typeface="Arial"/>
                <a:cs typeface="Arial"/>
                <a:sym typeface="Arial"/>
              </a:rPr>
              <a:t>Thank you</a:t>
            </a:r>
            <a:endParaRPr sz="7993" b="1" i="0">
              <a:solidFill>
                <a:schemeClr val="dk1"/>
              </a:solidFill>
              <a:latin typeface="Arial"/>
              <a:ea typeface="Arial"/>
              <a:cs typeface="Arial"/>
              <a:sym typeface="Arial"/>
            </a:endParaRPr>
          </a:p>
        </p:txBody>
      </p:sp>
    </p:spTree>
    <p:extLst>
      <p:ext uri="{BB962C8B-B14F-4D97-AF65-F5344CB8AC3E}">
        <p14:creationId xmlns:p14="http://schemas.microsoft.com/office/powerpoint/2010/main" val="929907127"/>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matchingName="116. Template instructions (Brand and accessibility)">
  <p:cSld name="116. Template instructions (Brand and accessibility)">
    <p:spTree>
      <p:nvGrpSpPr>
        <p:cNvPr id="1" name="Shape 1383"/>
        <p:cNvGrpSpPr/>
        <p:nvPr/>
      </p:nvGrpSpPr>
      <p:grpSpPr>
        <a:xfrm>
          <a:off x="0" y="0"/>
          <a:ext cx="0" cy="0"/>
          <a:chOff x="0" y="0"/>
          <a:chExt cx="0" cy="0"/>
        </a:xfrm>
      </p:grpSpPr>
      <p:sp>
        <p:nvSpPr>
          <p:cNvPr id="1384" name="Google Shape;1384;p114"/>
          <p:cNvSpPr txBox="1"/>
          <p:nvPr/>
        </p:nvSpPr>
        <p:spPr>
          <a:xfrm>
            <a:off x="454632" y="813708"/>
            <a:ext cx="4577200" cy="2265317"/>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US" sz="4796" b="1" i="0">
                <a:solidFill>
                  <a:schemeClr val="dk1"/>
                </a:solidFill>
                <a:latin typeface="Arial"/>
                <a:ea typeface="Arial"/>
                <a:cs typeface="Arial"/>
                <a:sym typeface="Arial"/>
              </a:rPr>
              <a:t>Brand guidelines &amp; accessibility</a:t>
            </a:r>
            <a:endParaRPr sz="4796" b="1" i="0">
              <a:solidFill>
                <a:schemeClr val="dk1"/>
              </a:solidFill>
              <a:latin typeface="Arial"/>
              <a:ea typeface="Arial"/>
              <a:cs typeface="Arial"/>
              <a:sym typeface="Arial"/>
            </a:endParaRPr>
          </a:p>
        </p:txBody>
      </p:sp>
      <p:sp>
        <p:nvSpPr>
          <p:cNvPr id="1385" name="Google Shape;1385;p114"/>
          <p:cNvSpPr/>
          <p:nvPr/>
        </p:nvSpPr>
        <p:spPr>
          <a:xfrm>
            <a:off x="6091515" y="1208964"/>
            <a:ext cx="731600" cy="731600"/>
          </a:xfrm>
          <a:prstGeom prst="ellipse">
            <a:avLst/>
          </a:prstGeom>
          <a:noFill/>
          <a:ln w="19050" cap="flat" cmpd="sng">
            <a:solidFill>
              <a:schemeClr val="accent3"/>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chemeClr val="accent1"/>
              </a:solidFill>
              <a:latin typeface="Arial"/>
              <a:ea typeface="Arial"/>
              <a:cs typeface="Arial"/>
              <a:sym typeface="Arial"/>
            </a:endParaRPr>
          </a:p>
        </p:txBody>
      </p:sp>
      <p:sp>
        <p:nvSpPr>
          <p:cNvPr id="1386" name="Google Shape;1386;p114"/>
          <p:cNvSpPr/>
          <p:nvPr/>
        </p:nvSpPr>
        <p:spPr>
          <a:xfrm>
            <a:off x="6091515" y="3031090"/>
            <a:ext cx="731600" cy="7316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387" name="Google Shape;1387;p114"/>
          <p:cNvSpPr/>
          <p:nvPr/>
        </p:nvSpPr>
        <p:spPr>
          <a:xfrm>
            <a:off x="6091515" y="4746046"/>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388" name="Google Shape;1388;p114"/>
          <p:cNvSpPr txBox="1"/>
          <p:nvPr/>
        </p:nvSpPr>
        <p:spPr>
          <a:xfrm>
            <a:off x="7160167" y="812366"/>
            <a:ext cx="4577200" cy="1707600"/>
          </a:xfrm>
          <a:prstGeom prst="rect">
            <a:avLst/>
          </a:prstGeom>
          <a:noFill/>
          <a:ln>
            <a:noFill/>
          </a:ln>
        </p:spPr>
        <p:txBody>
          <a:bodyPr spcFirstLastPara="1" wrap="square" lIns="121787" tIns="121787" rIns="121787" bIns="121787" anchor="ctr" anchorCtr="0">
            <a:noAutofit/>
          </a:bodyPr>
          <a:lstStyle/>
          <a:p>
            <a:pPr marL="0" marR="0" lvl="0" indent="0" algn="l" rtl="0">
              <a:lnSpc>
                <a:spcPct val="115000"/>
              </a:lnSpc>
              <a:spcBef>
                <a:spcPts val="0"/>
              </a:spcBef>
              <a:spcAft>
                <a:spcPts val="0"/>
              </a:spcAft>
              <a:buClr>
                <a:srgbClr val="FFFFFF"/>
              </a:buClr>
              <a:buSzPts val="1400"/>
              <a:buFont typeface="Arial"/>
              <a:buNone/>
            </a:pPr>
            <a:r>
              <a:rPr lang="en-US" sz="1865">
                <a:solidFill>
                  <a:srgbClr val="FFFFFF"/>
                </a:solidFill>
                <a:latin typeface="Arial"/>
                <a:ea typeface="Arial"/>
                <a:cs typeface="Arial"/>
                <a:sym typeface="Arial"/>
              </a:rPr>
              <a:t>This template is based on our core brand elements to assist Hubbers in producing communications that align with the GitHub brand system. </a:t>
            </a:r>
            <a:endParaRPr sz="1865">
              <a:solidFill>
                <a:schemeClr val="dk1"/>
              </a:solidFill>
              <a:latin typeface="Arial"/>
              <a:ea typeface="Arial"/>
              <a:cs typeface="Arial"/>
              <a:sym typeface="Arial"/>
            </a:endParaRPr>
          </a:p>
        </p:txBody>
      </p:sp>
      <p:sp>
        <p:nvSpPr>
          <p:cNvPr id="1389" name="Google Shape;1389;p114"/>
          <p:cNvSpPr txBox="1"/>
          <p:nvPr/>
        </p:nvSpPr>
        <p:spPr>
          <a:xfrm>
            <a:off x="7160167" y="2631900"/>
            <a:ext cx="4577200" cy="1707600"/>
          </a:xfrm>
          <a:prstGeom prst="rect">
            <a:avLst/>
          </a:prstGeom>
          <a:noFill/>
          <a:ln>
            <a:noFill/>
          </a:ln>
        </p:spPr>
        <p:txBody>
          <a:bodyPr spcFirstLastPara="1" wrap="square" lIns="121787" tIns="121787" rIns="121787" bIns="121787" anchor="ctr" anchorCtr="0">
            <a:noAutofit/>
          </a:bodyPr>
          <a:lstStyle/>
          <a:p>
            <a:pPr marL="0" marR="0" lvl="0" indent="0" algn="l" rtl="0">
              <a:lnSpc>
                <a:spcPct val="115000"/>
              </a:lnSpc>
              <a:spcBef>
                <a:spcPts val="0"/>
              </a:spcBef>
              <a:spcAft>
                <a:spcPts val="0"/>
              </a:spcAft>
              <a:buClr>
                <a:srgbClr val="FFFFFF"/>
              </a:buClr>
              <a:buSzPts val="1400"/>
              <a:buFont typeface="Arial"/>
              <a:buNone/>
            </a:pPr>
            <a:r>
              <a:rPr lang="en-US" sz="1865">
                <a:solidFill>
                  <a:srgbClr val="FFFFFF"/>
                </a:solidFill>
                <a:latin typeface="Arial"/>
                <a:ea typeface="Arial"/>
                <a:cs typeface="Arial"/>
                <a:sym typeface="Arial"/>
              </a:rPr>
              <a:t>The colors and font sizing have been approved by the accessibility team to ensure we are actively being inclusive. </a:t>
            </a:r>
            <a:endParaRPr sz="1865">
              <a:solidFill>
                <a:srgbClr val="FFFFFF"/>
              </a:solidFill>
              <a:latin typeface="Arial"/>
              <a:ea typeface="Arial"/>
              <a:cs typeface="Arial"/>
              <a:sym typeface="Arial"/>
            </a:endParaRPr>
          </a:p>
        </p:txBody>
      </p:sp>
      <p:sp>
        <p:nvSpPr>
          <p:cNvPr id="1390" name="Google Shape;1390;p114"/>
          <p:cNvSpPr txBox="1"/>
          <p:nvPr/>
        </p:nvSpPr>
        <p:spPr>
          <a:xfrm>
            <a:off x="7160167" y="4558834"/>
            <a:ext cx="4577200" cy="1283599"/>
          </a:xfrm>
          <a:prstGeom prst="rect">
            <a:avLst/>
          </a:prstGeom>
          <a:noFill/>
          <a:ln>
            <a:noFill/>
          </a:ln>
        </p:spPr>
        <p:txBody>
          <a:bodyPr spcFirstLastPara="1" wrap="square" lIns="121787" tIns="121787" rIns="121787" bIns="121787" anchor="ctr" anchorCtr="0">
            <a:noAutofit/>
          </a:bodyPr>
          <a:lstStyle/>
          <a:p>
            <a:pPr marL="0" marR="0" lvl="0" indent="0" algn="l" rtl="0">
              <a:lnSpc>
                <a:spcPct val="115000"/>
              </a:lnSpc>
              <a:spcBef>
                <a:spcPts val="0"/>
              </a:spcBef>
              <a:spcAft>
                <a:spcPts val="0"/>
              </a:spcAft>
              <a:buClr>
                <a:srgbClr val="FFFFFF"/>
              </a:buClr>
              <a:buSzPts val="1400"/>
              <a:buFont typeface="Arial"/>
              <a:buNone/>
            </a:pPr>
            <a:r>
              <a:rPr lang="en-US" sz="1865">
                <a:solidFill>
                  <a:srgbClr val="FFFFFF"/>
                </a:solidFill>
                <a:latin typeface="Arial"/>
                <a:ea typeface="Arial"/>
                <a:cs typeface="Arial"/>
                <a:sym typeface="Arial"/>
              </a:rPr>
              <a:t>If you have issues with the template, please reach out to via our slack channel </a:t>
            </a:r>
            <a:r>
              <a:rPr lang="en-US" sz="1865" u="sng">
                <a:solidFill>
                  <a:schemeClr val="hlink"/>
                </a:solidFill>
                <a:latin typeface="Arial"/>
                <a:ea typeface="Arial"/>
                <a:cs typeface="Arial"/>
                <a:sym typeface="Arial"/>
                <a:hlinkClick r:id="rId2"/>
              </a:rPr>
              <a:t>#visual-communications</a:t>
            </a:r>
            <a:endParaRPr sz="1865">
              <a:solidFill>
                <a:schemeClr val="accent1"/>
              </a:solidFill>
              <a:latin typeface="Arial"/>
              <a:ea typeface="Arial"/>
              <a:cs typeface="Arial"/>
              <a:sym typeface="Arial"/>
            </a:endParaRPr>
          </a:p>
        </p:txBody>
      </p:sp>
      <p:pic>
        <p:nvPicPr>
          <p:cNvPr id="1391" name="Google Shape;1391;p114"/>
          <p:cNvPicPr preferRelativeResize="0"/>
          <p:nvPr/>
        </p:nvPicPr>
        <p:blipFill rotWithShape="1">
          <a:blip r:embed="rId3">
            <a:alphaModFix/>
          </a:blip>
          <a:srcRect/>
          <a:stretch/>
        </p:blipFill>
        <p:spPr>
          <a:xfrm>
            <a:off x="6274417" y="1397100"/>
            <a:ext cx="365760" cy="355310"/>
          </a:xfrm>
          <a:prstGeom prst="rect">
            <a:avLst/>
          </a:prstGeom>
          <a:noFill/>
          <a:ln>
            <a:noFill/>
          </a:ln>
        </p:spPr>
      </p:pic>
      <p:sp>
        <p:nvSpPr>
          <p:cNvPr id="1392" name="Google Shape;1392;p114"/>
          <p:cNvSpPr txBox="1"/>
          <p:nvPr/>
        </p:nvSpPr>
        <p:spPr>
          <a:xfrm>
            <a:off x="454632" y="3279529"/>
            <a:ext cx="5021600" cy="2226110"/>
          </a:xfrm>
          <a:prstGeom prst="rect">
            <a:avLst/>
          </a:prstGeom>
          <a:noFill/>
          <a:ln>
            <a:noFill/>
          </a:ln>
        </p:spPr>
        <p:txBody>
          <a:bodyPr spcFirstLastPara="1" wrap="square" lIns="121787" tIns="121787" rIns="121787" bIns="121787" anchor="t" anchorCtr="0">
            <a:spAutoFit/>
          </a:bodyPr>
          <a:lstStyle/>
          <a:p>
            <a:pPr marL="0" marR="0" lvl="0" indent="0" algn="l" rtl="0">
              <a:lnSpc>
                <a:spcPct val="115000"/>
              </a:lnSpc>
              <a:spcBef>
                <a:spcPts val="0"/>
              </a:spcBef>
              <a:spcAft>
                <a:spcPts val="0"/>
              </a:spcAft>
              <a:buClr>
                <a:schemeClr val="dk2"/>
              </a:buClr>
              <a:buSzPts val="1400"/>
              <a:buFont typeface="Arial"/>
              <a:buNone/>
            </a:pPr>
            <a:r>
              <a:rPr lang="en-US" sz="1865">
                <a:solidFill>
                  <a:schemeClr val="dk2"/>
                </a:solidFill>
                <a:latin typeface="Arial"/>
                <a:ea typeface="Arial"/>
                <a:cs typeface="Arial"/>
                <a:sym typeface="Arial"/>
              </a:rPr>
              <a:t>Our goal is to create a user friendly template so all Hubbers have the opportunity to create a presentation that looks as if a designer created it. </a:t>
            </a:r>
            <a:r>
              <a:rPr lang="en-US" sz="1865">
                <a:solidFill>
                  <a:schemeClr val="dk1"/>
                </a:solidFill>
                <a:latin typeface="Arial"/>
                <a:ea typeface="Arial"/>
                <a:cs typeface="Arial"/>
                <a:sym typeface="Arial"/>
              </a:rPr>
              <a:t>Please be sure to follow guidelines and template structures to ensure brand and </a:t>
            </a:r>
            <a:br>
              <a:rPr lang="en-US" sz="1865">
                <a:solidFill>
                  <a:schemeClr val="dk1"/>
                </a:solidFill>
                <a:latin typeface="Arial"/>
                <a:ea typeface="Arial"/>
                <a:cs typeface="Arial"/>
                <a:sym typeface="Arial"/>
              </a:rPr>
            </a:br>
            <a:r>
              <a:rPr lang="en-US" sz="1865">
                <a:solidFill>
                  <a:schemeClr val="dk1"/>
                </a:solidFill>
                <a:latin typeface="Arial"/>
                <a:ea typeface="Arial"/>
                <a:cs typeface="Arial"/>
                <a:sym typeface="Arial"/>
              </a:rPr>
              <a:t>accessibility compliance.  </a:t>
            </a:r>
            <a:endParaRPr sz="1865">
              <a:solidFill>
                <a:schemeClr val="dk1"/>
              </a:solidFill>
              <a:latin typeface="Arial"/>
              <a:ea typeface="Arial"/>
              <a:cs typeface="Arial"/>
              <a:sym typeface="Arial"/>
            </a:endParaRPr>
          </a:p>
        </p:txBody>
      </p:sp>
      <p:pic>
        <p:nvPicPr>
          <p:cNvPr id="1393" name="Google Shape;1393;p114"/>
          <p:cNvPicPr preferRelativeResize="0"/>
          <p:nvPr/>
        </p:nvPicPr>
        <p:blipFill rotWithShape="1">
          <a:blip r:embed="rId4">
            <a:alphaModFix/>
          </a:blip>
          <a:srcRect/>
          <a:stretch/>
        </p:blipFill>
        <p:spPr>
          <a:xfrm>
            <a:off x="6274417" y="3194051"/>
            <a:ext cx="365760" cy="355310"/>
          </a:xfrm>
          <a:prstGeom prst="rect">
            <a:avLst/>
          </a:prstGeom>
          <a:noFill/>
          <a:ln>
            <a:noFill/>
          </a:ln>
        </p:spPr>
      </p:pic>
      <p:pic>
        <p:nvPicPr>
          <p:cNvPr id="1394" name="Google Shape;1394;p114"/>
          <p:cNvPicPr preferRelativeResize="0"/>
          <p:nvPr/>
        </p:nvPicPr>
        <p:blipFill rotWithShape="1">
          <a:blip r:embed="rId5">
            <a:alphaModFix/>
          </a:blip>
          <a:srcRect/>
          <a:stretch/>
        </p:blipFill>
        <p:spPr>
          <a:xfrm>
            <a:off x="6274417" y="4934167"/>
            <a:ext cx="365760" cy="355310"/>
          </a:xfrm>
          <a:prstGeom prst="rect">
            <a:avLst/>
          </a:prstGeom>
          <a:noFill/>
          <a:ln>
            <a:noFill/>
          </a:ln>
        </p:spPr>
      </p:pic>
    </p:spTree>
    <p:extLst>
      <p:ext uri="{BB962C8B-B14F-4D97-AF65-F5344CB8AC3E}">
        <p14:creationId xmlns:p14="http://schemas.microsoft.com/office/powerpoint/2010/main" val="1688047666"/>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matchingName="111. Template instructions (Footer Instructions)">
  <p:cSld name="111. Template instructions (Footer Instructions)">
    <p:spTree>
      <p:nvGrpSpPr>
        <p:cNvPr id="1" name="Shape 1395"/>
        <p:cNvGrpSpPr/>
        <p:nvPr/>
      </p:nvGrpSpPr>
      <p:grpSpPr>
        <a:xfrm>
          <a:off x="0" y="0"/>
          <a:ext cx="0" cy="0"/>
          <a:chOff x="0" y="0"/>
          <a:chExt cx="0" cy="0"/>
        </a:xfrm>
      </p:grpSpPr>
      <p:pic>
        <p:nvPicPr>
          <p:cNvPr id="1396" name="Google Shape;1396;p115" descr="A screenshot of a computer&#10;&#10;Description automatically generated with medium confidence"/>
          <p:cNvPicPr preferRelativeResize="0"/>
          <p:nvPr/>
        </p:nvPicPr>
        <p:blipFill rotWithShape="1">
          <a:blip r:embed="rId2">
            <a:alphaModFix/>
          </a:blip>
          <a:srcRect l="20355" t="3796" r="32174" b="33520"/>
          <a:stretch/>
        </p:blipFill>
        <p:spPr>
          <a:xfrm>
            <a:off x="8131008" y="1688324"/>
            <a:ext cx="2974848" cy="2502583"/>
          </a:xfrm>
          <a:prstGeom prst="roundRect">
            <a:avLst>
              <a:gd name="adj" fmla="val 3246"/>
            </a:avLst>
          </a:prstGeom>
          <a:noFill/>
          <a:ln w="19050" cap="flat" cmpd="sng">
            <a:solidFill>
              <a:srgbClr val="A371F7"/>
            </a:solidFill>
            <a:prstDash val="solid"/>
            <a:round/>
            <a:headEnd type="none" w="sm" len="sm"/>
            <a:tailEnd type="none" w="sm" len="sm"/>
          </a:ln>
        </p:spPr>
      </p:pic>
      <p:pic>
        <p:nvPicPr>
          <p:cNvPr id="1397" name="Google Shape;1397;p115" descr="A screenshot of a computer&#10;&#10;Description automatically generated with medium confidence"/>
          <p:cNvPicPr preferRelativeResize="0"/>
          <p:nvPr/>
        </p:nvPicPr>
        <p:blipFill rotWithShape="1">
          <a:blip r:embed="rId3">
            <a:alphaModFix/>
          </a:blip>
          <a:srcRect r="29974" b="2755"/>
          <a:stretch/>
        </p:blipFill>
        <p:spPr>
          <a:xfrm>
            <a:off x="4632772" y="1693206"/>
            <a:ext cx="2974848" cy="2497700"/>
          </a:xfrm>
          <a:prstGeom prst="roundRect">
            <a:avLst>
              <a:gd name="adj" fmla="val 3843"/>
            </a:avLst>
          </a:prstGeom>
          <a:noFill/>
          <a:ln w="19050" cap="flat" cmpd="sng">
            <a:solidFill>
              <a:srgbClr val="A371F7"/>
            </a:solidFill>
            <a:prstDash val="solid"/>
            <a:round/>
            <a:headEnd type="none" w="sm" len="sm"/>
            <a:tailEnd type="none" w="sm" len="sm"/>
          </a:ln>
        </p:spPr>
      </p:pic>
      <p:pic>
        <p:nvPicPr>
          <p:cNvPr id="1398" name="Google Shape;1398;p115"/>
          <p:cNvPicPr preferRelativeResize="0"/>
          <p:nvPr/>
        </p:nvPicPr>
        <p:blipFill rotWithShape="1">
          <a:blip r:embed="rId4">
            <a:alphaModFix/>
          </a:blip>
          <a:srcRect l="2268" r="2267"/>
          <a:stretch/>
        </p:blipFill>
        <p:spPr>
          <a:xfrm>
            <a:off x="1145231" y="1710711"/>
            <a:ext cx="2974848" cy="2497700"/>
          </a:xfrm>
          <a:prstGeom prst="roundRect">
            <a:avLst>
              <a:gd name="adj" fmla="val 3546"/>
            </a:avLst>
          </a:prstGeom>
          <a:noFill/>
          <a:ln w="19050" cap="flat" cmpd="sng">
            <a:solidFill>
              <a:srgbClr val="A371F7"/>
            </a:solidFill>
            <a:prstDash val="solid"/>
            <a:round/>
            <a:headEnd type="none" w="sm" len="sm"/>
            <a:tailEnd type="none" w="sm" len="sm"/>
          </a:ln>
        </p:spPr>
      </p:pic>
      <p:sp>
        <p:nvSpPr>
          <p:cNvPr id="1399" name="Google Shape;1399;p115"/>
          <p:cNvSpPr txBox="1"/>
          <p:nvPr/>
        </p:nvSpPr>
        <p:spPr>
          <a:xfrm>
            <a:off x="1114829" y="414653"/>
            <a:ext cx="6570800" cy="789272"/>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US" sz="4796" b="1" i="0" u="none" strike="noStrike" cap="none">
                <a:solidFill>
                  <a:schemeClr val="dk1"/>
                </a:solidFill>
                <a:latin typeface="Arial"/>
                <a:ea typeface="Arial"/>
                <a:cs typeface="Arial"/>
                <a:sym typeface="Arial"/>
              </a:rPr>
              <a:t>Footer instructions</a:t>
            </a:r>
            <a:endParaRPr sz="4796" b="1" i="0">
              <a:solidFill>
                <a:schemeClr val="dk1"/>
              </a:solidFill>
              <a:latin typeface="Arial"/>
              <a:ea typeface="Arial"/>
              <a:cs typeface="Arial"/>
              <a:sym typeface="Arial"/>
            </a:endParaRPr>
          </a:p>
        </p:txBody>
      </p:sp>
      <p:sp>
        <p:nvSpPr>
          <p:cNvPr id="1400" name="Google Shape;1400;p115"/>
          <p:cNvSpPr txBox="1"/>
          <p:nvPr/>
        </p:nvSpPr>
        <p:spPr>
          <a:xfrm>
            <a:off x="1094893" y="4529594"/>
            <a:ext cx="2665200" cy="701959"/>
          </a:xfrm>
          <a:prstGeom prst="rect">
            <a:avLst/>
          </a:prstGeom>
          <a:noFill/>
          <a:ln>
            <a:noFill/>
          </a:ln>
        </p:spPr>
        <p:txBody>
          <a:bodyPr spcFirstLastPara="1" wrap="square" lIns="45658" tIns="22846" rIns="45658" bIns="22846" anchor="t" anchorCtr="0">
            <a:spAutoFit/>
          </a:bodyPr>
          <a:lstStyle/>
          <a:p>
            <a:pPr marL="0" marR="0" lvl="0" indent="0" algn="l" rtl="0">
              <a:lnSpc>
                <a:spcPct val="100000"/>
              </a:lnSpc>
              <a:spcBef>
                <a:spcPts val="0"/>
              </a:spcBef>
              <a:spcAft>
                <a:spcPts val="0"/>
              </a:spcAft>
              <a:buClr>
                <a:schemeClr val="lt1"/>
              </a:buClr>
              <a:buSzPts val="1400"/>
              <a:buFont typeface="Arial"/>
              <a:buNone/>
            </a:pPr>
            <a:r>
              <a:rPr lang="en-US" sz="2131" i="0" u="none" strike="noStrike" cap="none">
                <a:solidFill>
                  <a:schemeClr val="dk1"/>
                </a:solidFill>
                <a:latin typeface="Arial"/>
                <a:ea typeface="Arial"/>
                <a:cs typeface="Arial"/>
                <a:sym typeface="Arial"/>
              </a:rPr>
              <a:t>Click “View” then “Slide Master”</a:t>
            </a:r>
            <a:endParaRPr sz="2131">
              <a:solidFill>
                <a:schemeClr val="dk1"/>
              </a:solidFill>
              <a:latin typeface="Arial"/>
              <a:ea typeface="Arial"/>
              <a:cs typeface="Arial"/>
              <a:sym typeface="Arial"/>
            </a:endParaRPr>
          </a:p>
        </p:txBody>
      </p:sp>
      <p:sp>
        <p:nvSpPr>
          <p:cNvPr id="1401" name="Google Shape;1401;p115"/>
          <p:cNvSpPr txBox="1"/>
          <p:nvPr/>
        </p:nvSpPr>
        <p:spPr>
          <a:xfrm>
            <a:off x="1094901" y="5226401"/>
            <a:ext cx="2971600" cy="625253"/>
          </a:xfrm>
          <a:prstGeom prst="rect">
            <a:avLst/>
          </a:prstGeom>
          <a:noFill/>
          <a:ln>
            <a:noFill/>
          </a:ln>
        </p:spPr>
        <p:txBody>
          <a:bodyPr spcFirstLastPara="1" wrap="square" lIns="25377" tIns="25377" rIns="25377" bIns="25377"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US" sz="1865" i="0" u="none" strike="noStrike" cap="none">
                <a:solidFill>
                  <a:srgbClr val="8B949E"/>
                </a:solidFill>
                <a:latin typeface="Arial"/>
                <a:ea typeface="Arial"/>
                <a:cs typeface="Arial"/>
                <a:sym typeface="Arial"/>
              </a:rPr>
              <a:t>Found at the top of the tool bar </a:t>
            </a:r>
            <a:endParaRPr sz="1865">
              <a:solidFill>
                <a:srgbClr val="8B949E"/>
              </a:solidFill>
              <a:latin typeface="Arial"/>
              <a:ea typeface="Arial"/>
              <a:cs typeface="Arial"/>
              <a:sym typeface="Arial"/>
            </a:endParaRPr>
          </a:p>
        </p:txBody>
      </p:sp>
      <p:sp>
        <p:nvSpPr>
          <p:cNvPr id="1402" name="Google Shape;1402;p115"/>
          <p:cNvSpPr txBox="1"/>
          <p:nvPr/>
        </p:nvSpPr>
        <p:spPr>
          <a:xfrm>
            <a:off x="4646335" y="4529600"/>
            <a:ext cx="2960000" cy="701959"/>
          </a:xfrm>
          <a:prstGeom prst="rect">
            <a:avLst/>
          </a:prstGeom>
          <a:noFill/>
          <a:ln>
            <a:noFill/>
          </a:ln>
        </p:spPr>
        <p:txBody>
          <a:bodyPr spcFirstLastPara="1" wrap="square" lIns="45658" tIns="22846" rIns="45658" bIns="22846" anchor="t" anchorCtr="0">
            <a:spAutoFit/>
          </a:bodyPr>
          <a:lstStyle/>
          <a:p>
            <a:pPr marL="0" marR="0" lvl="0" indent="0" algn="l" rtl="0">
              <a:lnSpc>
                <a:spcPct val="100000"/>
              </a:lnSpc>
              <a:spcBef>
                <a:spcPts val="0"/>
              </a:spcBef>
              <a:spcAft>
                <a:spcPts val="0"/>
              </a:spcAft>
              <a:buClr>
                <a:schemeClr val="lt1"/>
              </a:buClr>
              <a:buSzPts val="1400"/>
              <a:buFont typeface="Arial"/>
              <a:buNone/>
            </a:pPr>
            <a:r>
              <a:rPr lang="en-US" sz="2131">
                <a:solidFill>
                  <a:schemeClr val="dk1"/>
                </a:solidFill>
                <a:latin typeface="Arial"/>
                <a:ea typeface="Arial"/>
                <a:cs typeface="Arial"/>
                <a:sym typeface="Arial"/>
              </a:rPr>
              <a:t>Edit the footer on </a:t>
            </a:r>
            <a:br>
              <a:rPr lang="en-US" sz="2131">
                <a:solidFill>
                  <a:schemeClr val="dk1"/>
                </a:solidFill>
                <a:latin typeface="Arial"/>
                <a:ea typeface="Arial"/>
                <a:cs typeface="Arial"/>
                <a:sym typeface="Arial"/>
              </a:rPr>
            </a:br>
            <a:r>
              <a:rPr lang="en-US" sz="2131">
                <a:solidFill>
                  <a:schemeClr val="dk1"/>
                </a:solidFill>
                <a:latin typeface="Arial"/>
                <a:ea typeface="Arial"/>
                <a:cs typeface="Arial"/>
                <a:sym typeface="Arial"/>
              </a:rPr>
              <a:t>Slide 0 of the theme</a:t>
            </a:r>
            <a:endParaRPr sz="2131">
              <a:solidFill>
                <a:schemeClr val="dk1"/>
              </a:solidFill>
              <a:latin typeface="Arial"/>
              <a:ea typeface="Arial"/>
              <a:cs typeface="Arial"/>
              <a:sym typeface="Arial"/>
            </a:endParaRPr>
          </a:p>
        </p:txBody>
      </p:sp>
      <p:sp>
        <p:nvSpPr>
          <p:cNvPr id="1403" name="Google Shape;1403;p115"/>
          <p:cNvSpPr txBox="1"/>
          <p:nvPr/>
        </p:nvSpPr>
        <p:spPr>
          <a:xfrm>
            <a:off x="4646335" y="5226401"/>
            <a:ext cx="2972000" cy="912255"/>
          </a:xfrm>
          <a:prstGeom prst="rect">
            <a:avLst/>
          </a:prstGeom>
          <a:noFill/>
          <a:ln>
            <a:noFill/>
          </a:ln>
        </p:spPr>
        <p:txBody>
          <a:bodyPr spcFirstLastPara="1" wrap="square" lIns="25377" tIns="25377" rIns="25377" bIns="25377"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US" sz="1865" i="0" u="none" strike="noStrike" cap="none">
                <a:solidFill>
                  <a:srgbClr val="8B949E"/>
                </a:solidFill>
                <a:latin typeface="Arial"/>
                <a:ea typeface="Arial"/>
                <a:cs typeface="Arial"/>
                <a:sym typeface="Arial"/>
              </a:rPr>
              <a:t>By changing the date, talk title, and GitHub hand</a:t>
            </a:r>
            <a:r>
              <a:rPr lang="en-US" sz="1865">
                <a:solidFill>
                  <a:srgbClr val="8B949E"/>
                </a:solidFill>
                <a:latin typeface="Arial"/>
                <a:ea typeface="Arial"/>
                <a:cs typeface="Arial"/>
                <a:sym typeface="Arial"/>
              </a:rPr>
              <a:t>le of the speaker(s)</a:t>
            </a:r>
            <a:endParaRPr sz="1865">
              <a:solidFill>
                <a:srgbClr val="8B949E"/>
              </a:solidFill>
              <a:latin typeface="Arial"/>
              <a:ea typeface="Arial"/>
              <a:cs typeface="Arial"/>
              <a:sym typeface="Arial"/>
            </a:endParaRPr>
          </a:p>
        </p:txBody>
      </p:sp>
      <p:sp>
        <p:nvSpPr>
          <p:cNvPr id="1404" name="Google Shape;1404;p115"/>
          <p:cNvSpPr txBox="1"/>
          <p:nvPr/>
        </p:nvSpPr>
        <p:spPr>
          <a:xfrm>
            <a:off x="8132432" y="4529600"/>
            <a:ext cx="2972000" cy="1029869"/>
          </a:xfrm>
          <a:prstGeom prst="rect">
            <a:avLst/>
          </a:prstGeom>
          <a:noFill/>
          <a:ln>
            <a:noFill/>
          </a:ln>
        </p:spPr>
        <p:txBody>
          <a:bodyPr spcFirstLastPara="1" wrap="square" lIns="45658" tIns="22846" rIns="45658" bIns="22846" anchor="t" anchorCtr="0">
            <a:spAutoFit/>
          </a:bodyPr>
          <a:lstStyle/>
          <a:p>
            <a:pPr marL="0" marR="0" lvl="0" indent="0" algn="l" rtl="0">
              <a:lnSpc>
                <a:spcPct val="100000"/>
              </a:lnSpc>
              <a:spcBef>
                <a:spcPts val="0"/>
              </a:spcBef>
              <a:spcAft>
                <a:spcPts val="0"/>
              </a:spcAft>
              <a:buClr>
                <a:schemeClr val="lt1"/>
              </a:buClr>
              <a:buSzPts val="1400"/>
              <a:buFont typeface="Arial"/>
              <a:buNone/>
            </a:pPr>
            <a:r>
              <a:rPr lang="en-US" sz="2131">
                <a:solidFill>
                  <a:schemeClr val="dk1"/>
                </a:solidFill>
                <a:latin typeface="Arial"/>
                <a:ea typeface="Arial"/>
                <a:cs typeface="Arial"/>
                <a:sym typeface="Arial"/>
              </a:rPr>
              <a:t>Click the X at the top right to close out and return to presentation</a:t>
            </a:r>
            <a:endParaRPr sz="2131">
              <a:solidFill>
                <a:schemeClr val="dk1"/>
              </a:solidFill>
              <a:latin typeface="Arial"/>
              <a:ea typeface="Arial"/>
              <a:cs typeface="Arial"/>
              <a:sym typeface="Arial"/>
            </a:endParaRPr>
          </a:p>
        </p:txBody>
      </p:sp>
      <p:sp>
        <p:nvSpPr>
          <p:cNvPr id="1405" name="Google Shape;1405;p115"/>
          <p:cNvSpPr/>
          <p:nvPr/>
        </p:nvSpPr>
        <p:spPr>
          <a:xfrm>
            <a:off x="3424505" y="1800400"/>
            <a:ext cx="225923" cy="207694"/>
          </a:xfrm>
          <a:prstGeom prst="roundRect">
            <a:avLst>
              <a:gd name="adj" fmla="val 16667"/>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406" name="Google Shape;1406;p115"/>
          <p:cNvSpPr/>
          <p:nvPr/>
        </p:nvSpPr>
        <p:spPr>
          <a:xfrm>
            <a:off x="1945470" y="1946894"/>
            <a:ext cx="284951" cy="275384"/>
          </a:xfrm>
          <a:prstGeom prst="roundRect">
            <a:avLst>
              <a:gd name="adj" fmla="val 16667"/>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407" name="Google Shape;1407;p115"/>
          <p:cNvSpPr/>
          <p:nvPr/>
        </p:nvSpPr>
        <p:spPr>
          <a:xfrm>
            <a:off x="4632772" y="1986789"/>
            <a:ext cx="662000" cy="389601"/>
          </a:xfrm>
          <a:prstGeom prst="roundRect">
            <a:avLst>
              <a:gd name="adj" fmla="val 7079"/>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408" name="Google Shape;1408;p115"/>
          <p:cNvSpPr/>
          <p:nvPr/>
        </p:nvSpPr>
        <p:spPr>
          <a:xfrm>
            <a:off x="5514112" y="3812765"/>
            <a:ext cx="2092225" cy="297415"/>
          </a:xfrm>
          <a:prstGeom prst="roundRect">
            <a:avLst>
              <a:gd name="adj" fmla="val 7079"/>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409" name="Google Shape;1409;p115"/>
          <p:cNvSpPr/>
          <p:nvPr/>
        </p:nvSpPr>
        <p:spPr>
          <a:xfrm>
            <a:off x="10277791" y="1813002"/>
            <a:ext cx="350736" cy="331938"/>
          </a:xfrm>
          <a:prstGeom prst="roundRect">
            <a:avLst>
              <a:gd name="adj" fmla="val 7079"/>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106534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a:srcRect l="36395" t="26971" r="15004"/>
          <a:stretch/>
        </p:blipFill>
        <p:spPr bwMode="ltGray">
          <a:xfrm>
            <a:off x="5334000" y="0"/>
            <a:ext cx="6858000" cy="6858000"/>
          </a:xfrm>
          <a:prstGeom prst="rect">
            <a:avLst/>
          </a:prstGeom>
        </p:spPr>
      </p:pic>
    </p:spTree>
    <p:extLst>
      <p:ext uri="{BB962C8B-B14F-4D97-AF65-F5344CB8AC3E}">
        <p14:creationId xmlns:p14="http://schemas.microsoft.com/office/powerpoint/2010/main" val="156201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matchingName="112. Template instructions (Icon Instructions)">
  <p:cSld name="112. Template instructions (Icon Instructions)">
    <p:spTree>
      <p:nvGrpSpPr>
        <p:cNvPr id="1" name="Shape 1410"/>
        <p:cNvGrpSpPr/>
        <p:nvPr/>
      </p:nvGrpSpPr>
      <p:grpSpPr>
        <a:xfrm>
          <a:off x="0" y="0"/>
          <a:ext cx="0" cy="0"/>
          <a:chOff x="0" y="0"/>
          <a:chExt cx="0" cy="0"/>
        </a:xfrm>
      </p:grpSpPr>
      <p:pic>
        <p:nvPicPr>
          <p:cNvPr id="1411" name="Google Shape;1411;p116" descr="Graphical user interface, application&#10;&#10;Description automatically generated"/>
          <p:cNvPicPr preferRelativeResize="0"/>
          <p:nvPr/>
        </p:nvPicPr>
        <p:blipFill rotWithShape="1">
          <a:blip r:embed="rId2">
            <a:alphaModFix/>
          </a:blip>
          <a:srcRect r="20385"/>
          <a:stretch/>
        </p:blipFill>
        <p:spPr>
          <a:xfrm>
            <a:off x="6366577" y="1680972"/>
            <a:ext cx="2974848" cy="2503682"/>
          </a:xfrm>
          <a:prstGeom prst="roundRect">
            <a:avLst>
              <a:gd name="adj" fmla="val 2842"/>
            </a:avLst>
          </a:prstGeom>
          <a:noFill/>
          <a:ln w="19050" cap="flat" cmpd="sng">
            <a:solidFill>
              <a:schemeClr val="accent2"/>
            </a:solidFill>
            <a:prstDash val="solid"/>
            <a:round/>
            <a:headEnd type="none" w="sm" len="sm"/>
            <a:tailEnd type="none" w="sm" len="sm"/>
          </a:ln>
        </p:spPr>
      </p:pic>
      <p:pic>
        <p:nvPicPr>
          <p:cNvPr id="1412" name="Google Shape;1412;p116" descr="Text&#10;&#10;Description automatically generated"/>
          <p:cNvPicPr preferRelativeResize="0"/>
          <p:nvPr/>
        </p:nvPicPr>
        <p:blipFill rotWithShape="1">
          <a:blip r:embed="rId3">
            <a:alphaModFix/>
          </a:blip>
          <a:srcRect r="32546"/>
          <a:stretch/>
        </p:blipFill>
        <p:spPr>
          <a:xfrm>
            <a:off x="1099548" y="1693206"/>
            <a:ext cx="2974848" cy="2497700"/>
          </a:xfrm>
          <a:prstGeom prst="roundRect">
            <a:avLst>
              <a:gd name="adj" fmla="val 2587"/>
            </a:avLst>
          </a:prstGeom>
          <a:noFill/>
          <a:ln w="19050" cap="flat" cmpd="sng">
            <a:solidFill>
              <a:srgbClr val="A371F7"/>
            </a:solidFill>
            <a:prstDash val="solid"/>
            <a:round/>
            <a:headEnd type="none" w="sm" len="sm"/>
            <a:tailEnd type="none" w="sm" len="sm"/>
          </a:ln>
        </p:spPr>
      </p:pic>
      <p:sp>
        <p:nvSpPr>
          <p:cNvPr id="1413" name="Google Shape;1413;p116"/>
          <p:cNvSpPr txBox="1"/>
          <p:nvPr/>
        </p:nvSpPr>
        <p:spPr>
          <a:xfrm>
            <a:off x="1114829" y="414653"/>
            <a:ext cx="6570800" cy="789272"/>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US" sz="4796" b="1" i="0">
                <a:solidFill>
                  <a:schemeClr val="dk1"/>
                </a:solidFill>
                <a:latin typeface="Arial"/>
                <a:ea typeface="Arial"/>
                <a:cs typeface="Arial"/>
                <a:sym typeface="Arial"/>
              </a:rPr>
              <a:t>Icon</a:t>
            </a:r>
            <a:r>
              <a:rPr lang="en-US" sz="4796" b="1" i="0" u="none" strike="noStrike" cap="none">
                <a:solidFill>
                  <a:schemeClr val="dk1"/>
                </a:solidFill>
                <a:latin typeface="Arial"/>
                <a:ea typeface="Arial"/>
                <a:cs typeface="Arial"/>
                <a:sym typeface="Arial"/>
              </a:rPr>
              <a:t> instructions</a:t>
            </a:r>
            <a:endParaRPr sz="4796" b="1" i="0">
              <a:solidFill>
                <a:schemeClr val="dk1"/>
              </a:solidFill>
              <a:latin typeface="Arial"/>
              <a:ea typeface="Arial"/>
              <a:cs typeface="Arial"/>
              <a:sym typeface="Arial"/>
            </a:endParaRPr>
          </a:p>
        </p:txBody>
      </p:sp>
      <p:sp>
        <p:nvSpPr>
          <p:cNvPr id="1414" name="Google Shape;1414;p116"/>
          <p:cNvSpPr txBox="1"/>
          <p:nvPr/>
        </p:nvSpPr>
        <p:spPr>
          <a:xfrm>
            <a:off x="6369427" y="4478794"/>
            <a:ext cx="2665200" cy="374048"/>
          </a:xfrm>
          <a:prstGeom prst="rect">
            <a:avLst/>
          </a:prstGeom>
          <a:noFill/>
          <a:ln>
            <a:noFill/>
          </a:ln>
        </p:spPr>
        <p:txBody>
          <a:bodyPr spcFirstLastPara="1" wrap="square" lIns="45658" tIns="22846" rIns="45658" bIns="22846" anchor="t" anchorCtr="0">
            <a:spAutoFit/>
          </a:bodyPr>
          <a:lstStyle/>
          <a:p>
            <a:pPr marL="0" marR="0" lvl="0" indent="0" algn="l" rtl="0">
              <a:lnSpc>
                <a:spcPct val="100000"/>
              </a:lnSpc>
              <a:spcBef>
                <a:spcPts val="0"/>
              </a:spcBef>
              <a:spcAft>
                <a:spcPts val="0"/>
              </a:spcAft>
              <a:buClr>
                <a:schemeClr val="lt1"/>
              </a:buClr>
              <a:buSzPts val="1400"/>
              <a:buFont typeface="Arial"/>
              <a:buNone/>
            </a:pPr>
            <a:r>
              <a:rPr lang="en-US" sz="2131">
                <a:solidFill>
                  <a:schemeClr val="dk1"/>
                </a:solidFill>
                <a:latin typeface="Arial"/>
                <a:ea typeface="Arial"/>
                <a:cs typeface="Arial"/>
                <a:sym typeface="Arial"/>
              </a:rPr>
              <a:t>Large circle (1.5”)</a:t>
            </a:r>
            <a:endParaRPr sz="2131">
              <a:solidFill>
                <a:schemeClr val="dk1"/>
              </a:solidFill>
              <a:latin typeface="Arial"/>
              <a:ea typeface="Arial"/>
              <a:cs typeface="Arial"/>
              <a:sym typeface="Arial"/>
            </a:endParaRPr>
          </a:p>
        </p:txBody>
      </p:sp>
      <p:sp>
        <p:nvSpPr>
          <p:cNvPr id="1415" name="Google Shape;1415;p116"/>
          <p:cNvSpPr txBox="1"/>
          <p:nvPr/>
        </p:nvSpPr>
        <p:spPr>
          <a:xfrm>
            <a:off x="6369433" y="4884000"/>
            <a:ext cx="5087200" cy="1199256"/>
          </a:xfrm>
          <a:prstGeom prst="rect">
            <a:avLst/>
          </a:prstGeom>
          <a:noFill/>
          <a:ln>
            <a:noFill/>
          </a:ln>
        </p:spPr>
        <p:txBody>
          <a:bodyPr spcFirstLastPara="1" wrap="square" lIns="25377" tIns="25377" rIns="25377" bIns="25377"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US" sz="1865">
                <a:solidFill>
                  <a:schemeClr val="dk2"/>
                </a:solidFill>
                <a:latin typeface="Arial"/>
                <a:ea typeface="Arial"/>
                <a:cs typeface="Arial"/>
                <a:sym typeface="Arial"/>
              </a:rPr>
              <a:t>When you see the large circle, find a </a:t>
            </a:r>
            <a:br>
              <a:rPr lang="en-US" sz="1865">
                <a:solidFill>
                  <a:srgbClr val="8B949E"/>
                </a:solidFill>
                <a:latin typeface="Arial"/>
                <a:ea typeface="Arial"/>
                <a:cs typeface="Arial"/>
                <a:sym typeface="Arial"/>
              </a:rPr>
            </a:br>
            <a:r>
              <a:rPr lang="en-US" sz="1865">
                <a:solidFill>
                  <a:schemeClr val="dk1"/>
                </a:solidFill>
                <a:latin typeface="Arial"/>
                <a:ea typeface="Arial"/>
                <a:cs typeface="Arial"/>
                <a:sym typeface="Arial"/>
              </a:rPr>
              <a:t>GitHub icon </a:t>
            </a:r>
            <a:r>
              <a:rPr lang="en-US" sz="1865">
                <a:solidFill>
                  <a:schemeClr val="dk2"/>
                </a:solidFill>
                <a:latin typeface="Arial"/>
                <a:ea typeface="Arial"/>
                <a:cs typeface="Arial"/>
                <a:sym typeface="Arial"/>
              </a:rPr>
              <a:t>from the GitHub icon pages and copy/paste into the center of the circle. </a:t>
            </a:r>
            <a:br>
              <a:rPr lang="en-US" sz="1865">
                <a:solidFill>
                  <a:schemeClr val="dk2"/>
                </a:solidFill>
                <a:latin typeface="Arial"/>
                <a:ea typeface="Arial"/>
                <a:cs typeface="Arial"/>
                <a:sym typeface="Arial"/>
              </a:rPr>
            </a:br>
            <a:r>
              <a:rPr lang="en-US" sz="1865">
                <a:solidFill>
                  <a:schemeClr val="dk2"/>
                </a:solidFill>
                <a:latin typeface="Arial"/>
                <a:ea typeface="Arial"/>
                <a:cs typeface="Arial"/>
                <a:sym typeface="Arial"/>
              </a:rPr>
              <a:t>No need to resize.</a:t>
            </a:r>
            <a:endParaRPr sz="1865">
              <a:solidFill>
                <a:schemeClr val="dk2"/>
              </a:solidFill>
              <a:latin typeface="Arial"/>
              <a:ea typeface="Arial"/>
              <a:cs typeface="Arial"/>
              <a:sym typeface="Arial"/>
            </a:endParaRPr>
          </a:p>
        </p:txBody>
      </p:sp>
      <p:sp>
        <p:nvSpPr>
          <p:cNvPr id="1416" name="Google Shape;1416;p116"/>
          <p:cNvSpPr txBox="1"/>
          <p:nvPr/>
        </p:nvSpPr>
        <p:spPr>
          <a:xfrm>
            <a:off x="1108368" y="4478795"/>
            <a:ext cx="2960000" cy="374048"/>
          </a:xfrm>
          <a:prstGeom prst="rect">
            <a:avLst/>
          </a:prstGeom>
          <a:noFill/>
          <a:ln>
            <a:noFill/>
          </a:ln>
        </p:spPr>
        <p:txBody>
          <a:bodyPr spcFirstLastPara="1" wrap="square" lIns="45658" tIns="22846" rIns="45658" bIns="22846" anchor="t" anchorCtr="0">
            <a:spAutoFit/>
          </a:bodyPr>
          <a:lstStyle/>
          <a:p>
            <a:pPr marL="0" marR="0" lvl="0" indent="0" algn="l" rtl="0">
              <a:lnSpc>
                <a:spcPct val="100000"/>
              </a:lnSpc>
              <a:spcBef>
                <a:spcPts val="0"/>
              </a:spcBef>
              <a:spcAft>
                <a:spcPts val="0"/>
              </a:spcAft>
              <a:buClr>
                <a:schemeClr val="lt1"/>
              </a:buClr>
              <a:buSzPts val="1400"/>
              <a:buFont typeface="Arial"/>
              <a:buNone/>
            </a:pPr>
            <a:r>
              <a:rPr lang="en-US" sz="2131">
                <a:solidFill>
                  <a:schemeClr val="dk1"/>
                </a:solidFill>
                <a:latin typeface="Arial"/>
                <a:ea typeface="Arial"/>
                <a:cs typeface="Arial"/>
                <a:sym typeface="Arial"/>
              </a:rPr>
              <a:t>Small circle (0.6”)</a:t>
            </a:r>
            <a:endParaRPr sz="2131">
              <a:solidFill>
                <a:schemeClr val="dk1"/>
              </a:solidFill>
              <a:latin typeface="Arial"/>
              <a:ea typeface="Arial"/>
              <a:cs typeface="Arial"/>
              <a:sym typeface="Arial"/>
            </a:endParaRPr>
          </a:p>
        </p:txBody>
      </p:sp>
      <p:sp>
        <p:nvSpPr>
          <p:cNvPr id="1417" name="Google Shape;1417;p116"/>
          <p:cNvSpPr txBox="1"/>
          <p:nvPr/>
        </p:nvSpPr>
        <p:spPr>
          <a:xfrm>
            <a:off x="1102367" y="4884001"/>
            <a:ext cx="4349200" cy="1199256"/>
          </a:xfrm>
          <a:prstGeom prst="rect">
            <a:avLst/>
          </a:prstGeom>
          <a:noFill/>
          <a:ln>
            <a:noFill/>
          </a:ln>
        </p:spPr>
        <p:txBody>
          <a:bodyPr spcFirstLastPara="1" wrap="square" lIns="25377" tIns="25377" rIns="25377" bIns="25377"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US" sz="1865">
                <a:solidFill>
                  <a:schemeClr val="dk2"/>
                </a:solidFill>
                <a:latin typeface="Arial"/>
                <a:ea typeface="Arial"/>
                <a:cs typeface="Arial"/>
                <a:sym typeface="Arial"/>
              </a:rPr>
              <a:t>When you see the small circle, find an</a:t>
            </a:r>
            <a:r>
              <a:rPr lang="en-US" sz="1865">
                <a:solidFill>
                  <a:srgbClr val="8B949E"/>
                </a:solidFill>
                <a:latin typeface="Arial"/>
                <a:ea typeface="Arial"/>
                <a:cs typeface="Arial"/>
                <a:sym typeface="Arial"/>
              </a:rPr>
              <a:t> </a:t>
            </a:r>
            <a:r>
              <a:rPr lang="en-US" sz="1865">
                <a:solidFill>
                  <a:schemeClr val="dk1"/>
                </a:solidFill>
                <a:latin typeface="Arial"/>
                <a:ea typeface="Arial"/>
                <a:cs typeface="Arial"/>
                <a:sym typeface="Arial"/>
              </a:rPr>
              <a:t>Octicon </a:t>
            </a:r>
            <a:r>
              <a:rPr lang="en-US" sz="1865">
                <a:solidFill>
                  <a:schemeClr val="dk2"/>
                </a:solidFill>
                <a:latin typeface="Arial"/>
                <a:ea typeface="Arial"/>
                <a:cs typeface="Arial"/>
                <a:sym typeface="Arial"/>
              </a:rPr>
              <a:t>from the Octicon pages and copy/paste into the center of the circle. No need to resize. </a:t>
            </a:r>
            <a:endParaRPr sz="1865">
              <a:solidFill>
                <a:schemeClr val="dk2"/>
              </a:solidFill>
              <a:latin typeface="Arial"/>
              <a:ea typeface="Arial"/>
              <a:cs typeface="Arial"/>
              <a:sym typeface="Arial"/>
            </a:endParaRPr>
          </a:p>
        </p:txBody>
      </p:sp>
      <p:sp>
        <p:nvSpPr>
          <p:cNvPr id="1418" name="Google Shape;1418;p116"/>
          <p:cNvSpPr/>
          <p:nvPr/>
        </p:nvSpPr>
        <p:spPr>
          <a:xfrm>
            <a:off x="9687329" y="2014179"/>
            <a:ext cx="1828800" cy="1828800"/>
          </a:xfrm>
          <a:prstGeom prst="ellipse">
            <a:avLst/>
          </a:prstGeom>
          <a:noFill/>
          <a:ln w="19050" cap="flat" cmpd="sng">
            <a:solidFill>
              <a:schemeClr val="accent2"/>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419" name="Google Shape;1419;p116"/>
          <p:cNvSpPr/>
          <p:nvPr/>
        </p:nvSpPr>
        <p:spPr>
          <a:xfrm>
            <a:off x="4417748" y="2574985"/>
            <a:ext cx="731600" cy="7316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pic>
        <p:nvPicPr>
          <p:cNvPr id="1420" name="Google Shape;1420;p116"/>
          <p:cNvPicPr preferRelativeResize="0"/>
          <p:nvPr/>
        </p:nvPicPr>
        <p:blipFill rotWithShape="1">
          <a:blip r:embed="rId4">
            <a:alphaModFix/>
          </a:blip>
          <a:srcRect/>
          <a:stretch/>
        </p:blipFill>
        <p:spPr>
          <a:xfrm>
            <a:off x="4615554" y="2772790"/>
            <a:ext cx="335964" cy="336013"/>
          </a:xfrm>
          <a:prstGeom prst="rect">
            <a:avLst/>
          </a:prstGeom>
          <a:noFill/>
          <a:ln>
            <a:noFill/>
          </a:ln>
        </p:spPr>
      </p:pic>
      <p:pic>
        <p:nvPicPr>
          <p:cNvPr id="1421" name="Google Shape;1421;p116"/>
          <p:cNvPicPr preferRelativeResize="0"/>
          <p:nvPr/>
        </p:nvPicPr>
        <p:blipFill rotWithShape="1">
          <a:blip r:embed="rId5">
            <a:alphaModFix/>
          </a:blip>
          <a:srcRect/>
          <a:stretch/>
        </p:blipFill>
        <p:spPr>
          <a:xfrm>
            <a:off x="10090795" y="2426434"/>
            <a:ext cx="1022855" cy="1028701"/>
          </a:xfrm>
          <a:prstGeom prst="rect">
            <a:avLst/>
          </a:prstGeom>
          <a:noFill/>
          <a:ln>
            <a:noFill/>
          </a:ln>
        </p:spPr>
      </p:pic>
      <p:sp>
        <p:nvSpPr>
          <p:cNvPr id="1422" name="Google Shape;1422;p116"/>
          <p:cNvSpPr/>
          <p:nvPr/>
        </p:nvSpPr>
        <p:spPr>
          <a:xfrm>
            <a:off x="1670756" y="2082800"/>
            <a:ext cx="2401088" cy="1868311"/>
          </a:xfrm>
          <a:prstGeom prst="roundRect">
            <a:avLst>
              <a:gd name="adj" fmla="val 7079"/>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423" name="Google Shape;1423;p116"/>
          <p:cNvSpPr/>
          <p:nvPr/>
        </p:nvSpPr>
        <p:spPr>
          <a:xfrm>
            <a:off x="6369433" y="2695567"/>
            <a:ext cx="450400" cy="1419600"/>
          </a:xfrm>
          <a:prstGeom prst="roundRect">
            <a:avLst>
              <a:gd name="adj" fmla="val 7079"/>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424" name="Google Shape;1424;p116"/>
          <p:cNvSpPr/>
          <p:nvPr/>
        </p:nvSpPr>
        <p:spPr>
          <a:xfrm>
            <a:off x="6983898" y="2082799"/>
            <a:ext cx="2357604" cy="1905001"/>
          </a:xfrm>
          <a:prstGeom prst="roundRect">
            <a:avLst>
              <a:gd name="adj" fmla="val 4565"/>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91109273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matchingName="113. Template instructions (Icon Instructions) 1">
  <p:cSld name="113. Template instructions (Icon Instructions) 1">
    <p:bg>
      <p:bgPr>
        <a:solidFill>
          <a:schemeClr val="lt1"/>
        </a:solidFill>
        <a:effectLst/>
      </p:bgPr>
    </p:bg>
    <p:spTree>
      <p:nvGrpSpPr>
        <p:cNvPr id="1" name="Shape 1425"/>
        <p:cNvGrpSpPr/>
        <p:nvPr/>
      </p:nvGrpSpPr>
      <p:grpSpPr>
        <a:xfrm>
          <a:off x="0" y="0"/>
          <a:ext cx="0" cy="0"/>
          <a:chOff x="0" y="0"/>
          <a:chExt cx="0" cy="0"/>
        </a:xfrm>
      </p:grpSpPr>
      <p:pic>
        <p:nvPicPr>
          <p:cNvPr id="1426" name="Google Shape;1426;p117" descr="Graphical user interface&#10;&#10;Description automatically generated"/>
          <p:cNvPicPr preferRelativeResize="0"/>
          <p:nvPr/>
        </p:nvPicPr>
        <p:blipFill rotWithShape="1">
          <a:blip r:embed="rId2">
            <a:alphaModFix/>
          </a:blip>
          <a:srcRect l="47815" t="7470" r="1" b="17094"/>
          <a:stretch/>
        </p:blipFill>
        <p:spPr>
          <a:xfrm>
            <a:off x="1091204" y="1769868"/>
            <a:ext cx="3087392" cy="2495201"/>
          </a:xfrm>
          <a:prstGeom prst="roundRect">
            <a:avLst>
              <a:gd name="adj" fmla="val 4452"/>
            </a:avLst>
          </a:prstGeom>
          <a:noFill/>
          <a:ln w="19050" cap="flat" cmpd="sng">
            <a:solidFill>
              <a:schemeClr val="accent1"/>
            </a:solidFill>
            <a:prstDash val="solid"/>
            <a:round/>
            <a:headEnd type="none" w="sm" len="sm"/>
            <a:tailEnd type="none" w="sm" len="sm"/>
          </a:ln>
        </p:spPr>
      </p:pic>
      <p:sp>
        <p:nvSpPr>
          <p:cNvPr id="1427" name="Google Shape;1427;p117"/>
          <p:cNvSpPr txBox="1"/>
          <p:nvPr/>
        </p:nvSpPr>
        <p:spPr>
          <a:xfrm>
            <a:off x="1114829" y="414653"/>
            <a:ext cx="6570800" cy="789272"/>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US" sz="4796" b="1" i="0">
                <a:solidFill>
                  <a:schemeClr val="dk1"/>
                </a:solidFill>
                <a:latin typeface="Arial"/>
                <a:ea typeface="Arial"/>
                <a:cs typeface="Arial"/>
                <a:sym typeface="Arial"/>
              </a:rPr>
              <a:t>Shape</a:t>
            </a:r>
            <a:r>
              <a:rPr lang="en-US" sz="4796" b="1" i="0" u="none" strike="noStrike" cap="none">
                <a:solidFill>
                  <a:schemeClr val="dk1"/>
                </a:solidFill>
                <a:latin typeface="Arial"/>
                <a:ea typeface="Arial"/>
                <a:cs typeface="Arial"/>
                <a:sym typeface="Arial"/>
              </a:rPr>
              <a:t> instructions</a:t>
            </a:r>
            <a:endParaRPr sz="4796" b="1" i="0">
              <a:solidFill>
                <a:schemeClr val="dk1"/>
              </a:solidFill>
              <a:latin typeface="Arial"/>
              <a:ea typeface="Arial"/>
              <a:cs typeface="Arial"/>
              <a:sym typeface="Arial"/>
            </a:endParaRPr>
          </a:p>
        </p:txBody>
      </p:sp>
      <p:sp>
        <p:nvSpPr>
          <p:cNvPr id="1428" name="Google Shape;1428;p117"/>
          <p:cNvSpPr txBox="1"/>
          <p:nvPr/>
        </p:nvSpPr>
        <p:spPr>
          <a:xfrm>
            <a:off x="1075433" y="4744300"/>
            <a:ext cx="3140800" cy="1199256"/>
          </a:xfrm>
          <a:prstGeom prst="rect">
            <a:avLst/>
          </a:prstGeom>
          <a:noFill/>
          <a:ln>
            <a:noFill/>
          </a:ln>
        </p:spPr>
        <p:txBody>
          <a:bodyPr spcFirstLastPara="1" wrap="square" lIns="25377" tIns="25377" rIns="25377" bIns="25377"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US" sz="1865">
                <a:solidFill>
                  <a:schemeClr val="dk2"/>
                </a:solidFill>
                <a:latin typeface="Arial"/>
                <a:ea typeface="Arial"/>
                <a:cs typeface="Arial"/>
                <a:sym typeface="Arial"/>
              </a:rPr>
              <a:t>When creating rounded corner rectangles, lines, </a:t>
            </a:r>
            <a:br>
              <a:rPr lang="en-US" sz="1865">
                <a:solidFill>
                  <a:schemeClr val="dk2"/>
                </a:solidFill>
                <a:latin typeface="Arial"/>
                <a:ea typeface="Arial"/>
                <a:cs typeface="Arial"/>
                <a:sym typeface="Arial"/>
              </a:rPr>
            </a:br>
            <a:r>
              <a:rPr lang="en-US" sz="1865">
                <a:solidFill>
                  <a:schemeClr val="dk2"/>
                </a:solidFill>
                <a:latin typeface="Arial"/>
                <a:ea typeface="Arial"/>
                <a:cs typeface="Arial"/>
                <a:sym typeface="Arial"/>
              </a:rPr>
              <a:t>or circles, </a:t>
            </a:r>
            <a:r>
              <a:rPr lang="en-US" sz="1865">
                <a:solidFill>
                  <a:schemeClr val="dk1"/>
                </a:solidFill>
                <a:latin typeface="Arial"/>
                <a:ea typeface="Arial"/>
                <a:cs typeface="Arial"/>
                <a:sym typeface="Arial"/>
              </a:rPr>
              <a:t>all line widths or outlines should be 1.5px </a:t>
            </a:r>
            <a:endParaRPr sz="1865">
              <a:solidFill>
                <a:schemeClr val="dk1"/>
              </a:solidFill>
              <a:latin typeface="Arial"/>
              <a:ea typeface="Arial"/>
              <a:cs typeface="Arial"/>
              <a:sym typeface="Arial"/>
            </a:endParaRPr>
          </a:p>
        </p:txBody>
      </p:sp>
      <p:sp>
        <p:nvSpPr>
          <p:cNvPr id="1429" name="Google Shape;1429;p117"/>
          <p:cNvSpPr/>
          <p:nvPr/>
        </p:nvSpPr>
        <p:spPr>
          <a:xfrm>
            <a:off x="4549363" y="1737279"/>
            <a:ext cx="1828800" cy="18288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430" name="Google Shape;1430;p117"/>
          <p:cNvSpPr/>
          <p:nvPr/>
        </p:nvSpPr>
        <p:spPr>
          <a:xfrm>
            <a:off x="6796115" y="2834452"/>
            <a:ext cx="731600" cy="731600"/>
          </a:xfrm>
          <a:prstGeom prst="ellipse">
            <a:avLst/>
          </a:prstGeom>
          <a:solidFill>
            <a:srgbClr val="090C0F"/>
          </a:solid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199" b="0" i="0" u="none" strike="noStrike" cap="none">
              <a:solidFill>
                <a:srgbClr val="6E7681"/>
              </a:solidFill>
              <a:latin typeface="Arial"/>
              <a:ea typeface="Arial"/>
              <a:cs typeface="Arial"/>
              <a:sym typeface="Arial"/>
            </a:endParaRPr>
          </a:p>
        </p:txBody>
      </p:sp>
      <p:sp>
        <p:nvSpPr>
          <p:cNvPr id="1431" name="Google Shape;1431;p117"/>
          <p:cNvSpPr/>
          <p:nvPr/>
        </p:nvSpPr>
        <p:spPr>
          <a:xfrm>
            <a:off x="3285895" y="1769868"/>
            <a:ext cx="319668" cy="341430"/>
          </a:xfrm>
          <a:prstGeom prst="roundRect">
            <a:avLst>
              <a:gd name="adj" fmla="val 8980"/>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
        <p:nvSpPr>
          <p:cNvPr id="1432" name="Google Shape;1432;p117"/>
          <p:cNvSpPr txBox="1"/>
          <p:nvPr/>
        </p:nvSpPr>
        <p:spPr>
          <a:xfrm>
            <a:off x="4650967" y="4744300"/>
            <a:ext cx="6570800" cy="1486258"/>
          </a:xfrm>
          <a:prstGeom prst="rect">
            <a:avLst/>
          </a:prstGeom>
          <a:noFill/>
          <a:ln>
            <a:noFill/>
          </a:ln>
        </p:spPr>
        <p:txBody>
          <a:bodyPr spcFirstLastPara="1" wrap="square" lIns="25377" tIns="25377" rIns="25377" bIns="25377" anchor="t" anchorCtr="0">
            <a:spAutoFit/>
          </a:bodyPr>
          <a:lstStyle/>
          <a:p>
            <a:pPr marL="0" marR="0" lvl="0" indent="0" algn="l" rtl="0">
              <a:lnSpc>
                <a:spcPct val="100000"/>
              </a:lnSpc>
              <a:spcBef>
                <a:spcPts val="0"/>
              </a:spcBef>
              <a:spcAft>
                <a:spcPts val="0"/>
              </a:spcAft>
              <a:buClr>
                <a:srgbClr val="8B949E"/>
              </a:buClr>
              <a:buSzPts val="1200"/>
              <a:buFont typeface="Arial"/>
              <a:buNone/>
            </a:pPr>
            <a:r>
              <a:rPr lang="en-US" sz="1865">
                <a:solidFill>
                  <a:schemeClr val="dk2"/>
                </a:solidFill>
                <a:latin typeface="Arial"/>
                <a:ea typeface="Arial"/>
                <a:cs typeface="Arial"/>
                <a:sym typeface="Arial"/>
              </a:rPr>
              <a:t>Either create your own shape and follow the shape instructions or </a:t>
            </a:r>
            <a:r>
              <a:rPr lang="en-US" sz="1865">
                <a:solidFill>
                  <a:schemeClr val="dk1"/>
                </a:solidFill>
                <a:latin typeface="Arial"/>
                <a:ea typeface="Arial"/>
                <a:cs typeface="Arial"/>
                <a:sym typeface="Arial"/>
              </a:rPr>
              <a:t>feel free to copy and paste from here! </a:t>
            </a:r>
            <a:br>
              <a:rPr lang="en-US" sz="1865">
                <a:solidFill>
                  <a:schemeClr val="dk1"/>
                </a:solidFill>
                <a:latin typeface="Arial"/>
                <a:ea typeface="Arial"/>
                <a:cs typeface="Arial"/>
                <a:sym typeface="Arial"/>
              </a:rPr>
            </a:br>
            <a:r>
              <a:rPr lang="en-US" sz="1865">
                <a:solidFill>
                  <a:schemeClr val="dk2"/>
                </a:solidFill>
                <a:latin typeface="Arial"/>
                <a:ea typeface="Arial"/>
                <a:cs typeface="Arial"/>
                <a:sym typeface="Arial"/>
              </a:rPr>
              <a:t>Click “Slide” then “Edit theme” and then copy and paste the intended shape. Click the “x” at the top right to exit </a:t>
            </a:r>
            <a:br>
              <a:rPr lang="en-US" sz="1865">
                <a:solidFill>
                  <a:schemeClr val="dk2"/>
                </a:solidFill>
                <a:latin typeface="Arial"/>
                <a:ea typeface="Arial"/>
                <a:cs typeface="Arial"/>
                <a:sym typeface="Arial"/>
              </a:rPr>
            </a:br>
            <a:r>
              <a:rPr lang="en-US" sz="1865">
                <a:solidFill>
                  <a:schemeClr val="dk2"/>
                </a:solidFill>
                <a:latin typeface="Arial"/>
                <a:ea typeface="Arial"/>
                <a:cs typeface="Arial"/>
                <a:sym typeface="Arial"/>
              </a:rPr>
              <a:t>theme and return to presentation view. </a:t>
            </a:r>
            <a:endParaRPr sz="1865">
              <a:solidFill>
                <a:schemeClr val="dk2"/>
              </a:solidFill>
              <a:latin typeface="Arial"/>
              <a:ea typeface="Arial"/>
              <a:cs typeface="Arial"/>
              <a:sym typeface="Arial"/>
            </a:endParaRPr>
          </a:p>
        </p:txBody>
      </p:sp>
      <p:sp>
        <p:nvSpPr>
          <p:cNvPr id="1433" name="Google Shape;1433;p117"/>
          <p:cNvSpPr/>
          <p:nvPr/>
        </p:nvSpPr>
        <p:spPr>
          <a:xfrm>
            <a:off x="8148833" y="1769867"/>
            <a:ext cx="3050800" cy="1796400"/>
          </a:xfrm>
          <a:prstGeom prst="roundRect">
            <a:avLst>
              <a:gd name="adj" fmla="val 5090"/>
            </a:avLst>
          </a:prstGeom>
          <a:solidFill>
            <a:srgbClr val="090C0F"/>
          </a:solidFill>
          <a:ln w="19050" cap="flat" cmpd="sng">
            <a:solidFill>
              <a:schemeClr val="accent1"/>
            </a:solidFill>
            <a:prstDash val="solid"/>
            <a:round/>
            <a:headEnd type="none" w="sm" len="sm"/>
            <a:tailEnd type="none" w="sm" len="sm"/>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sp>
        <p:nvSpPr>
          <p:cNvPr id="1434" name="Google Shape;1434;p117"/>
          <p:cNvSpPr txBox="1"/>
          <p:nvPr/>
        </p:nvSpPr>
        <p:spPr>
          <a:xfrm>
            <a:off x="4131160" y="3836660"/>
            <a:ext cx="2665200" cy="374400"/>
          </a:xfrm>
          <a:prstGeom prst="rect">
            <a:avLst/>
          </a:prstGeom>
          <a:noFill/>
          <a:ln>
            <a:noFill/>
          </a:ln>
        </p:spPr>
        <p:txBody>
          <a:bodyPr spcFirstLastPara="1" wrap="square" lIns="45658" tIns="22846" rIns="45658" bIns="22846" anchor="ctr" anchorCtr="0">
            <a:noAutofit/>
          </a:bodyPr>
          <a:lstStyle/>
          <a:p>
            <a:pPr marL="0" marR="0" lvl="0" indent="0" algn="ctr" rtl="0">
              <a:lnSpc>
                <a:spcPct val="100000"/>
              </a:lnSpc>
              <a:spcBef>
                <a:spcPts val="0"/>
              </a:spcBef>
              <a:spcAft>
                <a:spcPts val="0"/>
              </a:spcAft>
              <a:buClr>
                <a:schemeClr val="dk1"/>
              </a:buClr>
              <a:buSzPts val="1600"/>
              <a:buFont typeface="Arial"/>
              <a:buNone/>
            </a:pPr>
            <a:r>
              <a:rPr lang="en-US" sz="2131">
                <a:solidFill>
                  <a:schemeClr val="dk1"/>
                </a:solidFill>
                <a:latin typeface="Arial"/>
                <a:ea typeface="Arial"/>
                <a:cs typeface="Arial"/>
                <a:sym typeface="Arial"/>
              </a:rPr>
              <a:t>Large circle </a:t>
            </a:r>
            <a:br>
              <a:rPr lang="en-US" sz="2131">
                <a:solidFill>
                  <a:schemeClr val="dk1"/>
                </a:solidFill>
                <a:latin typeface="Arial"/>
                <a:ea typeface="Arial"/>
                <a:cs typeface="Arial"/>
                <a:sym typeface="Arial"/>
              </a:rPr>
            </a:br>
            <a:r>
              <a:rPr lang="en-US" sz="2131">
                <a:solidFill>
                  <a:schemeClr val="dk1"/>
                </a:solidFill>
                <a:latin typeface="Arial"/>
                <a:ea typeface="Arial"/>
                <a:cs typeface="Arial"/>
                <a:sym typeface="Arial"/>
              </a:rPr>
              <a:t>(1.5”)</a:t>
            </a:r>
            <a:endParaRPr sz="2131">
              <a:solidFill>
                <a:schemeClr val="dk1"/>
              </a:solidFill>
              <a:latin typeface="Arial"/>
              <a:ea typeface="Arial"/>
              <a:cs typeface="Arial"/>
              <a:sym typeface="Arial"/>
            </a:endParaRPr>
          </a:p>
        </p:txBody>
      </p:sp>
      <p:sp>
        <p:nvSpPr>
          <p:cNvPr id="1435" name="Google Shape;1435;p117"/>
          <p:cNvSpPr txBox="1"/>
          <p:nvPr/>
        </p:nvSpPr>
        <p:spPr>
          <a:xfrm>
            <a:off x="5829293" y="3836660"/>
            <a:ext cx="2665200" cy="374400"/>
          </a:xfrm>
          <a:prstGeom prst="rect">
            <a:avLst/>
          </a:prstGeom>
          <a:noFill/>
          <a:ln>
            <a:noFill/>
          </a:ln>
        </p:spPr>
        <p:txBody>
          <a:bodyPr spcFirstLastPara="1" wrap="square" lIns="45658" tIns="22846" rIns="45658" bIns="22846" anchor="ctr" anchorCtr="0">
            <a:noAutofit/>
          </a:bodyPr>
          <a:lstStyle/>
          <a:p>
            <a:pPr marL="0" marR="0" lvl="0" indent="0" algn="ctr" rtl="0">
              <a:lnSpc>
                <a:spcPct val="100000"/>
              </a:lnSpc>
              <a:spcBef>
                <a:spcPts val="0"/>
              </a:spcBef>
              <a:spcAft>
                <a:spcPts val="0"/>
              </a:spcAft>
              <a:buClr>
                <a:schemeClr val="dk1"/>
              </a:buClr>
              <a:buSzPts val="1600"/>
              <a:buFont typeface="Arial"/>
              <a:buNone/>
            </a:pPr>
            <a:r>
              <a:rPr lang="en-US" sz="2131">
                <a:solidFill>
                  <a:schemeClr val="dk1"/>
                </a:solidFill>
                <a:latin typeface="Arial"/>
                <a:ea typeface="Arial"/>
                <a:cs typeface="Arial"/>
                <a:sym typeface="Arial"/>
              </a:rPr>
              <a:t>Small circle </a:t>
            </a:r>
            <a:br>
              <a:rPr lang="en-US" sz="2131">
                <a:solidFill>
                  <a:schemeClr val="dk1"/>
                </a:solidFill>
                <a:latin typeface="Arial"/>
                <a:ea typeface="Arial"/>
                <a:cs typeface="Arial"/>
                <a:sym typeface="Arial"/>
              </a:rPr>
            </a:br>
            <a:r>
              <a:rPr lang="en-US" sz="2131">
                <a:solidFill>
                  <a:schemeClr val="dk1"/>
                </a:solidFill>
                <a:latin typeface="Arial"/>
                <a:ea typeface="Arial"/>
                <a:cs typeface="Arial"/>
                <a:sym typeface="Arial"/>
              </a:rPr>
              <a:t>(0.6”)</a:t>
            </a:r>
            <a:endParaRPr sz="2131">
              <a:solidFill>
                <a:schemeClr val="dk1"/>
              </a:solidFill>
              <a:latin typeface="Arial"/>
              <a:ea typeface="Arial"/>
              <a:cs typeface="Arial"/>
              <a:sym typeface="Arial"/>
            </a:endParaRPr>
          </a:p>
        </p:txBody>
      </p:sp>
      <p:sp>
        <p:nvSpPr>
          <p:cNvPr id="1436" name="Google Shape;1436;p117"/>
          <p:cNvSpPr txBox="1"/>
          <p:nvPr/>
        </p:nvSpPr>
        <p:spPr>
          <a:xfrm>
            <a:off x="8341627" y="3836660"/>
            <a:ext cx="2665200" cy="374400"/>
          </a:xfrm>
          <a:prstGeom prst="rect">
            <a:avLst/>
          </a:prstGeom>
          <a:noFill/>
          <a:ln>
            <a:noFill/>
          </a:ln>
        </p:spPr>
        <p:txBody>
          <a:bodyPr spcFirstLastPara="1" wrap="square" lIns="45658" tIns="22846" rIns="45658" bIns="22846" anchor="ctr" anchorCtr="0">
            <a:noAutofit/>
          </a:bodyPr>
          <a:lstStyle/>
          <a:p>
            <a:pPr marL="0" marR="0" lvl="0" indent="0" algn="ctr" rtl="0">
              <a:lnSpc>
                <a:spcPct val="100000"/>
              </a:lnSpc>
              <a:spcBef>
                <a:spcPts val="0"/>
              </a:spcBef>
              <a:spcAft>
                <a:spcPts val="0"/>
              </a:spcAft>
              <a:buClr>
                <a:schemeClr val="dk1"/>
              </a:buClr>
              <a:buSzPts val="1600"/>
              <a:buFont typeface="Arial"/>
              <a:buNone/>
            </a:pPr>
            <a:r>
              <a:rPr lang="en-US" sz="2131">
                <a:solidFill>
                  <a:schemeClr val="dk1"/>
                </a:solidFill>
                <a:latin typeface="Arial"/>
                <a:ea typeface="Arial"/>
                <a:cs typeface="Arial"/>
                <a:sym typeface="Arial"/>
              </a:rPr>
              <a:t>Rectangle with rounded corners</a:t>
            </a:r>
            <a:endParaRPr sz="2131">
              <a:solidFill>
                <a:schemeClr val="dk1"/>
              </a:solidFill>
              <a:latin typeface="Arial"/>
              <a:ea typeface="Arial"/>
              <a:cs typeface="Arial"/>
              <a:sym typeface="Arial"/>
            </a:endParaRPr>
          </a:p>
        </p:txBody>
      </p:sp>
      <p:sp>
        <p:nvSpPr>
          <p:cNvPr id="1437" name="Google Shape;1437;p117"/>
          <p:cNvSpPr/>
          <p:nvPr/>
        </p:nvSpPr>
        <p:spPr>
          <a:xfrm>
            <a:off x="3811494" y="3853145"/>
            <a:ext cx="319668" cy="341430"/>
          </a:xfrm>
          <a:prstGeom prst="roundRect">
            <a:avLst>
              <a:gd name="adj" fmla="val 8980"/>
            </a:avLst>
          </a:prstGeom>
          <a:noFill/>
          <a:ln w="19050" cap="flat" cmpd="sng">
            <a:solidFill>
              <a:srgbClr val="56D364"/>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0F6FC"/>
              </a:buClr>
              <a:buSzPts val="900"/>
              <a:buFont typeface="Arial"/>
              <a:buNone/>
            </a:pPr>
            <a:endParaRPr sz="1199"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28074528"/>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matchingName="114. Template instructions (font guide)">
  <p:cSld name="114. Template instructions (font guide)">
    <p:spTree>
      <p:nvGrpSpPr>
        <p:cNvPr id="1" name="Shape 1438"/>
        <p:cNvGrpSpPr/>
        <p:nvPr/>
      </p:nvGrpSpPr>
      <p:grpSpPr>
        <a:xfrm>
          <a:off x="0" y="0"/>
          <a:ext cx="0" cy="0"/>
          <a:chOff x="0" y="0"/>
          <a:chExt cx="0" cy="0"/>
        </a:xfrm>
      </p:grpSpPr>
      <p:graphicFrame>
        <p:nvGraphicFramePr>
          <p:cNvPr id="1439" name="Google Shape;1439;p118"/>
          <p:cNvGraphicFramePr/>
          <p:nvPr/>
        </p:nvGraphicFramePr>
        <p:xfrm>
          <a:off x="4070319" y="363132"/>
          <a:ext cx="7991733" cy="5806757"/>
        </p:xfrm>
        <a:graphic>
          <a:graphicData uri="http://schemas.openxmlformats.org/drawingml/2006/table">
            <a:tbl>
              <a:tblPr>
                <a:noFill/>
              </a:tblPr>
              <a:tblGrid>
                <a:gridCol w="5340400">
                  <a:extLst>
                    <a:ext uri="{9D8B030D-6E8A-4147-A177-3AD203B41FA5}">
                      <a16:colId xmlns:a16="http://schemas.microsoft.com/office/drawing/2014/main" val="20000"/>
                    </a:ext>
                  </a:extLst>
                </a:gridCol>
                <a:gridCol w="2651333">
                  <a:extLst>
                    <a:ext uri="{9D8B030D-6E8A-4147-A177-3AD203B41FA5}">
                      <a16:colId xmlns:a16="http://schemas.microsoft.com/office/drawing/2014/main" val="20001"/>
                    </a:ext>
                  </a:extLst>
                </a:gridCol>
              </a:tblGrid>
              <a:tr h="1264929">
                <a:tc>
                  <a:txBody>
                    <a:bodyPr/>
                    <a:lstStyle/>
                    <a:p>
                      <a:pPr marL="0" marR="0" lvl="0" indent="0" algn="l" rtl="0">
                        <a:lnSpc>
                          <a:spcPct val="100000"/>
                        </a:lnSpc>
                        <a:spcBef>
                          <a:spcPts val="0"/>
                        </a:spcBef>
                        <a:spcAft>
                          <a:spcPts val="0"/>
                        </a:spcAft>
                        <a:buClr>
                          <a:srgbClr val="A371F7"/>
                        </a:buClr>
                        <a:buSzPts val="6000"/>
                        <a:buFont typeface="Arial"/>
                        <a:buNone/>
                      </a:pPr>
                      <a:r>
                        <a:rPr lang="en-US" sz="8000" b="1" i="0" u="none" strike="noStrike" cap="none">
                          <a:solidFill>
                            <a:schemeClr val="dk1"/>
                          </a:solidFill>
                          <a:latin typeface="Arial"/>
                          <a:ea typeface="Arial"/>
                          <a:cs typeface="Arial"/>
                          <a:sym typeface="Arial"/>
                        </a:rPr>
                        <a:t>X-large #</a:t>
                      </a:r>
                      <a:endParaRPr sz="8000" b="1" i="0" u="none" strike="noStrike" cap="none">
                        <a:solidFill>
                          <a:schemeClr val="dk1"/>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US" sz="1900" u="none" strike="noStrike" cap="none">
                          <a:solidFill>
                            <a:schemeClr val="dk2"/>
                          </a:solidFill>
                          <a:latin typeface="Arial"/>
                          <a:ea typeface="Arial"/>
                          <a:cs typeface="Arial"/>
                          <a:sym typeface="Arial"/>
                        </a:rPr>
                        <a:t>Arial</a:t>
                      </a:r>
                      <a:r>
                        <a:rPr lang="en-US" sz="1900" i="0" u="none" strike="noStrike" cap="none">
                          <a:solidFill>
                            <a:schemeClr val="dk2"/>
                          </a:solidFill>
                          <a:latin typeface="Arial"/>
                          <a:ea typeface="Arial"/>
                          <a:cs typeface="Arial"/>
                          <a:sym typeface="Arial"/>
                        </a:rPr>
                        <a:t> Bold </a:t>
                      </a:r>
                      <a:r>
                        <a:rPr lang="en-US" sz="1900" u="none" strike="noStrike" cap="none">
                          <a:solidFill>
                            <a:schemeClr val="dk2"/>
                          </a:solidFill>
                          <a:latin typeface="Arial"/>
                          <a:ea typeface="Arial"/>
                          <a:cs typeface="Arial"/>
                          <a:sym typeface="Arial"/>
                        </a:rPr>
                        <a:t>60</a:t>
                      </a:r>
                      <a:r>
                        <a:rPr lang="en-US" sz="1900" i="0" u="none" strike="noStrike" cap="none">
                          <a:solidFill>
                            <a:schemeClr val="dk2"/>
                          </a:solidFill>
                          <a:latin typeface="Arial"/>
                          <a:ea typeface="Arial"/>
                          <a:cs typeface="Arial"/>
                          <a:sym typeface="Arial"/>
                        </a:rPr>
                        <a:t>pt</a:t>
                      </a:r>
                      <a:endParaRPr sz="70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0"/>
                  </a:ext>
                </a:extLst>
              </a:tr>
              <a:tr h="939830">
                <a:tc>
                  <a:txBody>
                    <a:bodyPr/>
                    <a:lstStyle/>
                    <a:p>
                      <a:pPr marL="0" marR="0" lvl="0" indent="0" algn="l" rtl="0">
                        <a:lnSpc>
                          <a:spcPct val="100000"/>
                        </a:lnSpc>
                        <a:spcBef>
                          <a:spcPts val="0"/>
                        </a:spcBef>
                        <a:spcAft>
                          <a:spcPts val="0"/>
                        </a:spcAft>
                        <a:buClr>
                          <a:schemeClr val="dk1"/>
                        </a:buClr>
                        <a:buSzPts val="4400"/>
                        <a:buFont typeface="Arial"/>
                        <a:buNone/>
                      </a:pPr>
                      <a:r>
                        <a:rPr lang="en-US" sz="5900" b="1" i="0" u="none" strike="noStrike" cap="none">
                          <a:solidFill>
                            <a:schemeClr val="dk1"/>
                          </a:solidFill>
                          <a:latin typeface="Arial"/>
                          <a:ea typeface="Arial"/>
                          <a:cs typeface="Arial"/>
                          <a:sym typeface="Arial"/>
                        </a:rPr>
                        <a:t>Large title</a:t>
                      </a:r>
                      <a:endParaRPr sz="5900" b="1" i="0" u="none" strike="noStrike" cap="none">
                        <a:solidFill>
                          <a:schemeClr val="dk1"/>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rgbClr val="8B949E"/>
                        </a:buClr>
                        <a:buSzPts val="1400"/>
                        <a:buFont typeface="Arial"/>
                        <a:buNone/>
                      </a:pPr>
                      <a:r>
                        <a:rPr lang="en-US" sz="1900" u="none" strike="noStrike" cap="none">
                          <a:solidFill>
                            <a:schemeClr val="dk2"/>
                          </a:solidFill>
                          <a:latin typeface="Arial"/>
                          <a:ea typeface="Arial"/>
                          <a:cs typeface="Arial"/>
                          <a:sym typeface="Arial"/>
                        </a:rPr>
                        <a:t>Arial Bold 44pt</a:t>
                      </a:r>
                      <a:endParaRPr sz="190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1"/>
                  </a:ext>
                </a:extLst>
              </a:tr>
              <a:tr h="777247">
                <a:tc>
                  <a:txBody>
                    <a:bodyPr/>
                    <a:lstStyle/>
                    <a:p>
                      <a:pPr marL="0" marR="0" lvl="0" indent="0" algn="l" rtl="0">
                        <a:lnSpc>
                          <a:spcPct val="100000"/>
                        </a:lnSpc>
                        <a:spcBef>
                          <a:spcPts val="0"/>
                        </a:spcBef>
                        <a:spcAft>
                          <a:spcPts val="0"/>
                        </a:spcAft>
                        <a:buClr>
                          <a:srgbClr val="388BFD"/>
                        </a:buClr>
                        <a:buSzPts val="3600"/>
                        <a:buFont typeface="Arial"/>
                        <a:buNone/>
                      </a:pPr>
                      <a:r>
                        <a:rPr lang="en-US" sz="4800" b="1" i="0" u="none" strike="noStrike" cap="none">
                          <a:solidFill>
                            <a:schemeClr val="dk1"/>
                          </a:solidFill>
                          <a:latin typeface="Arial"/>
                          <a:ea typeface="Arial"/>
                          <a:cs typeface="Arial"/>
                          <a:sym typeface="Arial"/>
                        </a:rPr>
                        <a:t>Medium title</a:t>
                      </a:r>
                      <a:endParaRPr sz="1200" b="1" i="0" u="none" strike="noStrike" cap="none">
                        <a:solidFill>
                          <a:schemeClr val="dk1"/>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US" sz="1900" u="none" strike="noStrike" cap="none">
                          <a:solidFill>
                            <a:schemeClr val="dk2"/>
                          </a:solidFill>
                          <a:latin typeface="Arial"/>
                          <a:ea typeface="Arial"/>
                          <a:cs typeface="Arial"/>
                          <a:sym typeface="Arial"/>
                        </a:rPr>
                        <a:t>Arial</a:t>
                      </a:r>
                      <a:r>
                        <a:rPr lang="en-US" sz="1900" i="0" u="none" strike="noStrike" cap="none">
                          <a:solidFill>
                            <a:schemeClr val="dk2"/>
                          </a:solidFill>
                          <a:latin typeface="Arial"/>
                          <a:ea typeface="Arial"/>
                          <a:cs typeface="Arial"/>
                          <a:sym typeface="Arial"/>
                        </a:rPr>
                        <a:t> Bold </a:t>
                      </a:r>
                      <a:r>
                        <a:rPr lang="en-US" sz="1900" u="none" strike="noStrike" cap="none">
                          <a:solidFill>
                            <a:schemeClr val="dk2"/>
                          </a:solidFill>
                          <a:latin typeface="Arial"/>
                          <a:ea typeface="Arial"/>
                          <a:cs typeface="Arial"/>
                          <a:sym typeface="Arial"/>
                        </a:rPr>
                        <a:t>36</a:t>
                      </a:r>
                      <a:r>
                        <a:rPr lang="en-US" sz="1900" i="0" u="none" strike="noStrike" cap="none">
                          <a:solidFill>
                            <a:schemeClr val="dk2"/>
                          </a:solidFill>
                          <a:latin typeface="Arial"/>
                          <a:ea typeface="Arial"/>
                          <a:cs typeface="Arial"/>
                          <a:sym typeface="Arial"/>
                        </a:rPr>
                        <a:t>pt</a:t>
                      </a:r>
                      <a:endParaRPr sz="70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2"/>
                  </a:ext>
                </a:extLst>
              </a:tr>
              <a:tr h="614697">
                <a:tc>
                  <a:txBody>
                    <a:bodyPr/>
                    <a:lstStyle/>
                    <a:p>
                      <a:pPr marL="0" marR="0" lvl="0" indent="0" algn="l" rtl="0">
                        <a:lnSpc>
                          <a:spcPct val="100000"/>
                        </a:lnSpc>
                        <a:spcBef>
                          <a:spcPts val="0"/>
                        </a:spcBef>
                        <a:spcAft>
                          <a:spcPts val="0"/>
                        </a:spcAft>
                        <a:buClr>
                          <a:schemeClr val="dk1"/>
                        </a:buClr>
                        <a:buSzPts val="2800"/>
                        <a:buFont typeface="Arial"/>
                        <a:buNone/>
                      </a:pPr>
                      <a:r>
                        <a:rPr lang="en-US" sz="3700" b="1" i="0" u="none" strike="noStrike" cap="none">
                          <a:solidFill>
                            <a:schemeClr val="dk1"/>
                          </a:solidFill>
                          <a:latin typeface="Arial"/>
                          <a:ea typeface="Arial"/>
                          <a:cs typeface="Arial"/>
                          <a:sym typeface="Arial"/>
                        </a:rPr>
                        <a:t>Small title</a:t>
                      </a:r>
                      <a:endParaRPr sz="3700" b="1" i="0" u="none" strike="noStrike" cap="none">
                        <a:solidFill>
                          <a:schemeClr val="dk1"/>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400"/>
                        <a:buFont typeface="Arial"/>
                        <a:buNone/>
                      </a:pPr>
                      <a:r>
                        <a:rPr lang="en-US" sz="1900" u="none" strike="noStrike" cap="none">
                          <a:solidFill>
                            <a:schemeClr val="dk2"/>
                          </a:solidFill>
                          <a:latin typeface="Arial"/>
                          <a:ea typeface="Arial"/>
                          <a:cs typeface="Arial"/>
                          <a:sym typeface="Arial"/>
                        </a:rPr>
                        <a:t>Arial Bold 28pt</a:t>
                      </a:r>
                      <a:endParaRPr sz="190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3"/>
                  </a:ext>
                </a:extLst>
              </a:tr>
              <a:tr h="452148">
                <a:tc>
                  <a:txBody>
                    <a:bodyPr/>
                    <a:lstStyle/>
                    <a:p>
                      <a:pPr marL="0" marR="0" lvl="0" indent="0" algn="l" rtl="0">
                        <a:lnSpc>
                          <a:spcPct val="100000"/>
                        </a:lnSpc>
                        <a:spcBef>
                          <a:spcPts val="0"/>
                        </a:spcBef>
                        <a:spcAft>
                          <a:spcPts val="0"/>
                        </a:spcAft>
                        <a:buClr>
                          <a:schemeClr val="lt1"/>
                        </a:buClr>
                        <a:buSzPts val="2000"/>
                        <a:buFont typeface="Arial"/>
                        <a:buNone/>
                      </a:pPr>
                      <a:r>
                        <a:rPr lang="en-US" sz="2700" b="1" i="0" u="none" strike="noStrike" cap="none">
                          <a:solidFill>
                            <a:schemeClr val="dk1"/>
                          </a:solidFill>
                          <a:latin typeface="Arial"/>
                          <a:ea typeface="Arial"/>
                          <a:cs typeface="Arial"/>
                          <a:sym typeface="Arial"/>
                        </a:rPr>
                        <a:t>X-small title</a:t>
                      </a:r>
                      <a:endParaRPr sz="2700" b="1" i="0" u="none" strike="noStrike" cap="none">
                        <a:solidFill>
                          <a:schemeClr val="dk1"/>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US" sz="1900" u="none" strike="noStrike" cap="none">
                          <a:solidFill>
                            <a:schemeClr val="dk2"/>
                          </a:solidFill>
                          <a:latin typeface="Arial"/>
                          <a:ea typeface="Arial"/>
                          <a:cs typeface="Arial"/>
                          <a:sym typeface="Arial"/>
                        </a:rPr>
                        <a:t>Arial</a:t>
                      </a:r>
                      <a:r>
                        <a:rPr lang="en-US" sz="1900" i="0" u="none" strike="noStrike" cap="none">
                          <a:solidFill>
                            <a:schemeClr val="dk2"/>
                          </a:solidFill>
                          <a:latin typeface="Arial"/>
                          <a:ea typeface="Arial"/>
                          <a:cs typeface="Arial"/>
                          <a:sym typeface="Arial"/>
                        </a:rPr>
                        <a:t> Bold </a:t>
                      </a:r>
                      <a:r>
                        <a:rPr lang="en-US" sz="1900" u="none" strike="noStrike" cap="none">
                          <a:solidFill>
                            <a:schemeClr val="dk2"/>
                          </a:solidFill>
                          <a:latin typeface="Arial"/>
                          <a:ea typeface="Arial"/>
                          <a:cs typeface="Arial"/>
                          <a:sym typeface="Arial"/>
                        </a:rPr>
                        <a:t>20</a:t>
                      </a:r>
                      <a:r>
                        <a:rPr lang="en-US" sz="1900" i="0" u="none" strike="noStrike" cap="none">
                          <a:solidFill>
                            <a:schemeClr val="dk2"/>
                          </a:solidFill>
                          <a:latin typeface="Arial"/>
                          <a:ea typeface="Arial"/>
                          <a:cs typeface="Arial"/>
                          <a:sym typeface="Arial"/>
                        </a:rPr>
                        <a:t>pt</a:t>
                      </a:r>
                      <a:endParaRPr sz="70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4"/>
                  </a:ext>
                </a:extLst>
              </a:tr>
              <a:tr h="370857">
                <a:tc>
                  <a:txBody>
                    <a:bodyPr/>
                    <a:lstStyle/>
                    <a:p>
                      <a:pPr marL="0" marR="0" lvl="0" indent="0" algn="l" rtl="0">
                        <a:lnSpc>
                          <a:spcPct val="100000"/>
                        </a:lnSpc>
                        <a:spcBef>
                          <a:spcPts val="0"/>
                        </a:spcBef>
                        <a:spcAft>
                          <a:spcPts val="0"/>
                        </a:spcAft>
                        <a:buClr>
                          <a:srgbClr val="F0F6FC"/>
                        </a:buClr>
                        <a:buSzPts val="1700"/>
                        <a:buFont typeface="Arial"/>
                        <a:buNone/>
                      </a:pPr>
                      <a:r>
                        <a:rPr lang="en-US" sz="2100" b="0" i="0" u="none" strike="noStrike" cap="none">
                          <a:solidFill>
                            <a:srgbClr val="F0F6FC"/>
                          </a:solidFill>
                          <a:latin typeface="Arial"/>
                          <a:ea typeface="Arial"/>
                          <a:cs typeface="Arial"/>
                          <a:sym typeface="Arial"/>
                        </a:rPr>
                        <a:t>Large dates, usernames</a:t>
                      </a:r>
                      <a:endParaRPr sz="2100" b="0" i="0" u="none" strike="noStrike" cap="none">
                        <a:solidFill>
                          <a:schemeClr val="accent1"/>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US" sz="1900" b="0" i="0" u="none" strike="noStrike" cap="none">
                          <a:solidFill>
                            <a:schemeClr val="dk2"/>
                          </a:solidFill>
                          <a:latin typeface="Arial"/>
                          <a:ea typeface="Arial"/>
                          <a:cs typeface="Arial"/>
                          <a:sym typeface="Arial"/>
                        </a:rPr>
                        <a:t>SF Mono 16pt</a:t>
                      </a:r>
                      <a:endParaRPr sz="700" b="0" i="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5"/>
                  </a:ext>
                </a:extLst>
              </a:tr>
              <a:tr h="370857">
                <a:tc>
                  <a:txBody>
                    <a:bodyPr/>
                    <a:lstStyle/>
                    <a:p>
                      <a:pPr marL="0" marR="0" lvl="0" indent="0" algn="l" rtl="0">
                        <a:lnSpc>
                          <a:spcPct val="100000"/>
                        </a:lnSpc>
                        <a:spcBef>
                          <a:spcPts val="0"/>
                        </a:spcBef>
                        <a:spcAft>
                          <a:spcPts val="0"/>
                        </a:spcAft>
                        <a:buClr>
                          <a:schemeClr val="lt1"/>
                        </a:buClr>
                        <a:buSzPts val="1700"/>
                        <a:buFont typeface="Arial"/>
                        <a:buNone/>
                      </a:pPr>
                      <a:r>
                        <a:rPr lang="en-US" sz="2100" i="0" u="none" strike="noStrike" cap="none">
                          <a:solidFill>
                            <a:schemeClr val="dk1"/>
                          </a:solidFill>
                          <a:latin typeface="Arial"/>
                          <a:ea typeface="Arial"/>
                          <a:cs typeface="Arial"/>
                          <a:sym typeface="Arial"/>
                        </a:rPr>
                        <a:t>Information</a:t>
                      </a:r>
                      <a:endParaRPr sz="500" u="none" strike="noStrike" cap="none">
                        <a:solidFill>
                          <a:schemeClr val="dk1"/>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US" sz="1900" u="none" strike="noStrike" cap="none">
                          <a:solidFill>
                            <a:schemeClr val="dk2"/>
                          </a:solidFill>
                          <a:latin typeface="Arial"/>
                          <a:ea typeface="Arial"/>
                          <a:cs typeface="Arial"/>
                          <a:sym typeface="Arial"/>
                        </a:rPr>
                        <a:t>Arial</a:t>
                      </a:r>
                      <a:r>
                        <a:rPr lang="en-US" sz="1900" i="0" u="none" strike="noStrike" cap="none">
                          <a:solidFill>
                            <a:schemeClr val="dk2"/>
                          </a:solidFill>
                          <a:latin typeface="Arial"/>
                          <a:ea typeface="Arial"/>
                          <a:cs typeface="Arial"/>
                          <a:sym typeface="Arial"/>
                        </a:rPr>
                        <a:t> </a:t>
                      </a:r>
                      <a:r>
                        <a:rPr lang="en-US" sz="1900" u="none" strike="noStrike" cap="none">
                          <a:solidFill>
                            <a:schemeClr val="dk2"/>
                          </a:solidFill>
                          <a:latin typeface="Arial"/>
                          <a:ea typeface="Arial"/>
                          <a:cs typeface="Arial"/>
                          <a:sym typeface="Arial"/>
                        </a:rPr>
                        <a:t>Regular</a:t>
                      </a:r>
                      <a:r>
                        <a:rPr lang="en-US" sz="1900" i="0" u="none" strike="noStrike" cap="none">
                          <a:solidFill>
                            <a:schemeClr val="dk2"/>
                          </a:solidFill>
                          <a:latin typeface="Arial"/>
                          <a:ea typeface="Arial"/>
                          <a:cs typeface="Arial"/>
                          <a:sym typeface="Arial"/>
                        </a:rPr>
                        <a:t> </a:t>
                      </a:r>
                      <a:r>
                        <a:rPr lang="en-US" sz="1900" u="none" strike="noStrike" cap="none">
                          <a:solidFill>
                            <a:schemeClr val="dk2"/>
                          </a:solidFill>
                          <a:latin typeface="Arial"/>
                          <a:ea typeface="Arial"/>
                          <a:cs typeface="Arial"/>
                          <a:sym typeface="Arial"/>
                        </a:rPr>
                        <a:t>16</a:t>
                      </a:r>
                      <a:r>
                        <a:rPr lang="en-US" sz="1900" i="0" u="none" strike="noStrike" cap="none">
                          <a:solidFill>
                            <a:schemeClr val="dk2"/>
                          </a:solidFill>
                          <a:latin typeface="Arial"/>
                          <a:ea typeface="Arial"/>
                          <a:cs typeface="Arial"/>
                          <a:sym typeface="Arial"/>
                        </a:rPr>
                        <a:t>pt</a:t>
                      </a:r>
                      <a:endParaRPr sz="70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6"/>
                  </a:ext>
                </a:extLst>
              </a:tr>
              <a:tr h="333491">
                <a:tc>
                  <a:txBody>
                    <a:bodyPr/>
                    <a:lstStyle/>
                    <a:p>
                      <a:pPr marL="0" marR="0" lvl="0" indent="0" algn="l" rtl="0">
                        <a:lnSpc>
                          <a:spcPct val="100000"/>
                        </a:lnSpc>
                        <a:spcBef>
                          <a:spcPts val="0"/>
                        </a:spcBef>
                        <a:spcAft>
                          <a:spcPts val="0"/>
                        </a:spcAft>
                        <a:buClr>
                          <a:srgbClr val="8B949E"/>
                        </a:buClr>
                        <a:buSzPts val="1400"/>
                        <a:buFont typeface="Arial"/>
                        <a:buNone/>
                      </a:pPr>
                      <a:r>
                        <a:rPr lang="en-US" sz="1900" u="none" strike="noStrike" cap="none">
                          <a:solidFill>
                            <a:schemeClr val="dk2"/>
                          </a:solidFill>
                          <a:latin typeface="Arial"/>
                          <a:ea typeface="Arial"/>
                          <a:cs typeface="Arial"/>
                          <a:sym typeface="Arial"/>
                        </a:rPr>
                        <a:t>Small information, supporting descriptions</a:t>
                      </a:r>
                      <a:endParaRPr sz="1900" i="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US" sz="1900" u="none" strike="noStrike" cap="none">
                          <a:solidFill>
                            <a:schemeClr val="dk2"/>
                          </a:solidFill>
                          <a:latin typeface="Arial"/>
                          <a:ea typeface="Arial"/>
                          <a:cs typeface="Arial"/>
                          <a:sym typeface="Arial"/>
                        </a:rPr>
                        <a:t>Arial</a:t>
                      </a:r>
                      <a:r>
                        <a:rPr lang="en-US" sz="1900" i="0" u="none" strike="noStrike" cap="none">
                          <a:solidFill>
                            <a:schemeClr val="dk2"/>
                          </a:solidFill>
                          <a:latin typeface="Arial"/>
                          <a:ea typeface="Arial"/>
                          <a:cs typeface="Arial"/>
                          <a:sym typeface="Arial"/>
                        </a:rPr>
                        <a:t> </a:t>
                      </a:r>
                      <a:r>
                        <a:rPr lang="en-US" sz="1900" u="none" strike="noStrike" cap="none">
                          <a:solidFill>
                            <a:schemeClr val="dk2"/>
                          </a:solidFill>
                          <a:latin typeface="Arial"/>
                          <a:ea typeface="Arial"/>
                          <a:cs typeface="Arial"/>
                          <a:sym typeface="Arial"/>
                        </a:rPr>
                        <a:t>Regular</a:t>
                      </a:r>
                      <a:r>
                        <a:rPr lang="en-US" sz="1900" i="0" u="none" strike="noStrike" cap="none">
                          <a:solidFill>
                            <a:schemeClr val="dk2"/>
                          </a:solidFill>
                          <a:latin typeface="Arial"/>
                          <a:ea typeface="Arial"/>
                          <a:cs typeface="Arial"/>
                          <a:sym typeface="Arial"/>
                        </a:rPr>
                        <a:t> </a:t>
                      </a:r>
                      <a:r>
                        <a:rPr lang="en-US" sz="1900" u="none" strike="noStrike" cap="none">
                          <a:solidFill>
                            <a:schemeClr val="dk2"/>
                          </a:solidFill>
                          <a:latin typeface="Arial"/>
                          <a:ea typeface="Arial"/>
                          <a:cs typeface="Arial"/>
                          <a:sym typeface="Arial"/>
                        </a:rPr>
                        <a:t>14</a:t>
                      </a:r>
                      <a:r>
                        <a:rPr lang="en-US" sz="1900" i="0" u="none" strike="noStrike" cap="none">
                          <a:solidFill>
                            <a:schemeClr val="dk2"/>
                          </a:solidFill>
                          <a:latin typeface="Arial"/>
                          <a:ea typeface="Arial"/>
                          <a:cs typeface="Arial"/>
                          <a:sym typeface="Arial"/>
                        </a:rPr>
                        <a:t>pt</a:t>
                      </a:r>
                      <a:endParaRPr sz="70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7"/>
                  </a:ext>
                </a:extLst>
              </a:tr>
              <a:tr h="333491">
                <a:tc>
                  <a:txBody>
                    <a:bodyPr/>
                    <a:lstStyle/>
                    <a:p>
                      <a:pPr marL="0" marR="0" lvl="0" indent="0" algn="l" rtl="0">
                        <a:lnSpc>
                          <a:spcPct val="100000"/>
                        </a:lnSpc>
                        <a:spcBef>
                          <a:spcPts val="0"/>
                        </a:spcBef>
                        <a:spcAft>
                          <a:spcPts val="0"/>
                        </a:spcAft>
                        <a:buClr>
                          <a:schemeClr val="dk2"/>
                        </a:buClr>
                        <a:buSzPts val="1200"/>
                        <a:buFont typeface="Arial"/>
                        <a:buNone/>
                      </a:pPr>
                      <a:r>
                        <a:rPr lang="en-US" sz="1600" u="none" strike="noStrike" cap="none">
                          <a:solidFill>
                            <a:schemeClr val="dk2"/>
                          </a:solidFill>
                          <a:latin typeface="Arial"/>
                          <a:ea typeface="Arial"/>
                          <a:cs typeface="Arial"/>
                          <a:sym typeface="Arial"/>
                        </a:rPr>
                        <a:t>X-small information, supporting descriptions</a:t>
                      </a:r>
                      <a:endParaRPr sz="160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400"/>
                        <a:buFont typeface="Arial"/>
                        <a:buNone/>
                      </a:pPr>
                      <a:r>
                        <a:rPr lang="en-US" sz="1900" u="none" strike="noStrike" cap="none">
                          <a:solidFill>
                            <a:schemeClr val="dk2"/>
                          </a:solidFill>
                          <a:latin typeface="Arial"/>
                          <a:ea typeface="Arial"/>
                          <a:cs typeface="Arial"/>
                          <a:sym typeface="Arial"/>
                        </a:rPr>
                        <a:t>Arial Regular 12pt</a:t>
                      </a:r>
                      <a:endParaRPr sz="190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8"/>
                  </a:ext>
                </a:extLst>
              </a:tr>
              <a:tr h="333491">
                <a:tc>
                  <a:txBody>
                    <a:bodyPr/>
                    <a:lstStyle/>
                    <a:p>
                      <a:pPr marL="0" marR="0" lvl="0" indent="0" algn="l" rtl="0">
                        <a:lnSpc>
                          <a:spcPct val="100000"/>
                        </a:lnSpc>
                        <a:spcBef>
                          <a:spcPts val="0"/>
                        </a:spcBef>
                        <a:spcAft>
                          <a:spcPts val="0"/>
                        </a:spcAft>
                        <a:buClr>
                          <a:srgbClr val="8B949E"/>
                        </a:buClr>
                        <a:buSzPts val="1100"/>
                        <a:buFont typeface="Arial"/>
                        <a:buNone/>
                      </a:pPr>
                      <a:r>
                        <a:rPr lang="en-US" sz="1300" b="0" i="0" u="none" strike="noStrike" cap="none">
                          <a:solidFill>
                            <a:schemeClr val="dk2"/>
                          </a:solidFill>
                          <a:latin typeface="Arial"/>
                          <a:ea typeface="Arial"/>
                          <a:cs typeface="Arial"/>
                          <a:sym typeface="Arial"/>
                        </a:rPr>
                        <a:t>Small dates, usernames, information</a:t>
                      </a:r>
                      <a:endParaRPr sz="1300" b="0" i="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8B949E"/>
                        </a:buClr>
                        <a:buSzPts val="1400"/>
                        <a:buFont typeface="Arial"/>
                        <a:buNone/>
                      </a:pPr>
                      <a:r>
                        <a:rPr lang="en-US" sz="1900" u="none" strike="noStrike" cap="none">
                          <a:solidFill>
                            <a:schemeClr val="dk2"/>
                          </a:solidFill>
                          <a:latin typeface="Arial"/>
                          <a:ea typeface="Arial"/>
                          <a:cs typeface="Arial"/>
                          <a:sym typeface="Arial"/>
                        </a:rPr>
                        <a:t>Roboto Mono 10</a:t>
                      </a:r>
                      <a:r>
                        <a:rPr lang="en-US" sz="1900" i="0" u="none" strike="noStrike" cap="none">
                          <a:solidFill>
                            <a:schemeClr val="dk2"/>
                          </a:solidFill>
                          <a:latin typeface="Arial"/>
                          <a:ea typeface="Arial"/>
                          <a:cs typeface="Arial"/>
                          <a:sym typeface="Arial"/>
                        </a:rPr>
                        <a:t>pt</a:t>
                      </a:r>
                      <a:endParaRPr sz="700" u="none" strike="noStrike" cap="none">
                        <a:solidFill>
                          <a:schemeClr val="dk2"/>
                        </a:solidFill>
                        <a:latin typeface="Arial"/>
                        <a:ea typeface="Arial"/>
                        <a:cs typeface="Arial"/>
                        <a:sym typeface="Arial"/>
                      </a:endParaRPr>
                    </a:p>
                  </a:txBody>
                  <a:tcPr marL="45733" marR="45733" marT="22879" marB="2287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9"/>
                  </a:ext>
                </a:extLst>
              </a:tr>
            </a:tbl>
          </a:graphicData>
        </a:graphic>
      </p:graphicFrame>
      <p:sp>
        <p:nvSpPr>
          <p:cNvPr id="1440" name="Google Shape;1440;p118"/>
          <p:cNvSpPr txBox="1"/>
          <p:nvPr/>
        </p:nvSpPr>
        <p:spPr>
          <a:xfrm>
            <a:off x="388429" y="2481319"/>
            <a:ext cx="3314800" cy="789272"/>
          </a:xfrm>
          <a:prstGeom prst="rect">
            <a:avLst/>
          </a:prstGeom>
          <a:noFill/>
          <a:ln>
            <a:noFill/>
          </a:ln>
        </p:spPr>
        <p:txBody>
          <a:bodyPr spcFirstLastPara="1" wrap="square" lIns="25377" tIns="25377" rIns="25377" bIns="25377" anchor="ctr" anchorCtr="0">
            <a:spAutoFit/>
          </a:bodyPr>
          <a:lstStyle/>
          <a:p>
            <a:pPr marL="0" marR="0" lvl="0" indent="0" algn="ctr" rtl="0">
              <a:lnSpc>
                <a:spcPct val="100000"/>
              </a:lnSpc>
              <a:spcBef>
                <a:spcPts val="0"/>
              </a:spcBef>
              <a:spcAft>
                <a:spcPts val="0"/>
              </a:spcAft>
              <a:buClr>
                <a:srgbClr val="F0F6FC"/>
              </a:buClr>
              <a:buSzPts val="4100"/>
              <a:buFont typeface="Arial"/>
              <a:buNone/>
            </a:pPr>
            <a:r>
              <a:rPr lang="en-US" sz="4796" b="1" i="0">
                <a:solidFill>
                  <a:srgbClr val="F0F6FC"/>
                </a:solidFill>
                <a:latin typeface="Arial"/>
                <a:ea typeface="Arial"/>
                <a:cs typeface="Arial"/>
                <a:sym typeface="Arial"/>
              </a:rPr>
              <a:t>Font guide</a:t>
            </a:r>
            <a:endParaRPr sz="4796" b="1" i="0">
              <a:solidFill>
                <a:srgbClr val="F0F6FC"/>
              </a:solidFill>
              <a:latin typeface="Arial"/>
              <a:ea typeface="Arial"/>
              <a:cs typeface="Arial"/>
              <a:sym typeface="Arial"/>
            </a:endParaRPr>
          </a:p>
        </p:txBody>
      </p:sp>
      <p:sp>
        <p:nvSpPr>
          <p:cNvPr id="1441" name="Google Shape;1441;p118"/>
          <p:cNvSpPr txBox="1"/>
          <p:nvPr/>
        </p:nvSpPr>
        <p:spPr>
          <a:xfrm>
            <a:off x="388429" y="3429001"/>
            <a:ext cx="3314800" cy="983948"/>
          </a:xfrm>
          <a:prstGeom prst="rect">
            <a:avLst/>
          </a:prstGeom>
          <a:noFill/>
          <a:ln>
            <a:noFill/>
          </a:ln>
        </p:spPr>
        <p:txBody>
          <a:bodyPr spcFirstLastPara="1" wrap="square" lIns="121787" tIns="60877" rIns="121787" bIns="60877" anchor="t" anchorCtr="0">
            <a:spAutoFit/>
          </a:bodyPr>
          <a:lstStyle/>
          <a:p>
            <a:pPr marL="0" marR="0" lvl="0" indent="0" algn="l" rtl="0">
              <a:spcBef>
                <a:spcPts val="0"/>
              </a:spcBef>
              <a:spcAft>
                <a:spcPts val="0"/>
              </a:spcAft>
              <a:buNone/>
            </a:pPr>
            <a:r>
              <a:rPr lang="en-US" sz="1865" b="0" i="0" u="none" strike="noStrike" cap="none">
                <a:solidFill>
                  <a:schemeClr val="dk2"/>
                </a:solidFill>
                <a:latin typeface="Arial"/>
                <a:ea typeface="Arial"/>
                <a:cs typeface="Arial"/>
                <a:sym typeface="Arial"/>
              </a:rPr>
              <a:t>Are you missing any fonts? </a:t>
            </a:r>
            <a:br>
              <a:rPr lang="en-US" sz="1865" b="0" i="0" u="none" strike="noStrike" cap="none">
                <a:solidFill>
                  <a:schemeClr val="dk1"/>
                </a:solidFill>
                <a:latin typeface="Arial"/>
                <a:ea typeface="Arial"/>
                <a:cs typeface="Arial"/>
                <a:sym typeface="Arial"/>
              </a:rPr>
            </a:br>
            <a:r>
              <a:rPr lang="en-US" sz="1865" b="0" i="0" u="sng" strike="noStrike" cap="none">
                <a:solidFill>
                  <a:schemeClr val="hlink"/>
                </a:solidFill>
                <a:latin typeface="Arial"/>
                <a:ea typeface="Arial"/>
                <a:cs typeface="Arial"/>
                <a:sym typeface="Arial"/>
                <a:hlinkClick r:id="rId2"/>
              </a:rPr>
              <a:t>Download Alliance No. 1 </a:t>
            </a:r>
            <a:br>
              <a:rPr lang="en-US" sz="1865" b="0" i="0" u="sng" strike="noStrike" cap="none">
                <a:solidFill>
                  <a:schemeClr val="hlink"/>
                </a:solidFill>
                <a:latin typeface="Arial"/>
                <a:ea typeface="Arial"/>
                <a:cs typeface="Arial"/>
                <a:sym typeface="Arial"/>
                <a:hlinkClick r:id="rId2"/>
              </a:rPr>
            </a:br>
            <a:r>
              <a:rPr lang="en-US" sz="1865" b="0" i="0" u="sng" strike="noStrike" cap="none">
                <a:solidFill>
                  <a:schemeClr val="hlink"/>
                </a:solidFill>
                <a:latin typeface="Arial"/>
                <a:ea typeface="Arial"/>
                <a:cs typeface="Arial"/>
                <a:sym typeface="Arial"/>
                <a:hlinkClick r:id="rId2"/>
              </a:rPr>
              <a:t>and SF Mono here</a:t>
            </a:r>
            <a:endParaRPr sz="1865" b="0" i="0" u="none" strike="noStrike" cap="none">
              <a:solidFill>
                <a:schemeClr val="accent1"/>
              </a:solidFill>
              <a:latin typeface="Arial"/>
              <a:ea typeface="Arial"/>
              <a:cs typeface="Arial"/>
              <a:sym typeface="Arial"/>
            </a:endParaRPr>
          </a:p>
        </p:txBody>
      </p:sp>
    </p:spTree>
    <p:extLst>
      <p:ext uri="{BB962C8B-B14F-4D97-AF65-F5344CB8AC3E}">
        <p14:creationId xmlns:p14="http://schemas.microsoft.com/office/powerpoint/2010/main" val="95134227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matchingName="115. Template instructions (font guide) 1">
  <p:cSld name="115. Template instructions (font guide) 1">
    <p:spTree>
      <p:nvGrpSpPr>
        <p:cNvPr id="1" name="Shape 1442"/>
        <p:cNvGrpSpPr/>
        <p:nvPr/>
      </p:nvGrpSpPr>
      <p:grpSpPr>
        <a:xfrm>
          <a:off x="0" y="0"/>
          <a:ext cx="0" cy="0"/>
          <a:chOff x="0" y="0"/>
          <a:chExt cx="0" cy="0"/>
        </a:xfrm>
      </p:grpSpPr>
      <p:sp>
        <p:nvSpPr>
          <p:cNvPr id="1443" name="Google Shape;1443;p119"/>
          <p:cNvSpPr/>
          <p:nvPr/>
        </p:nvSpPr>
        <p:spPr>
          <a:xfrm>
            <a:off x="8353507" y="2696434"/>
            <a:ext cx="914400"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US" sz="1199" b="1" i="0" u="none" strike="noStrike" cap="none">
                <a:solidFill>
                  <a:schemeClr val="dk1"/>
                </a:solidFill>
                <a:latin typeface="Arial"/>
                <a:ea typeface="Arial"/>
                <a:cs typeface="Arial"/>
                <a:sym typeface="Arial"/>
              </a:rPr>
              <a:t>S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900"/>
              <a:buFont typeface="Arial"/>
              <a:buNone/>
            </a:pPr>
            <a:r>
              <a:rPr lang="en-US" sz="1199" b="0" i="0" u="none" strike="noStrike" cap="none">
                <a:solidFill>
                  <a:schemeClr val="dk1"/>
                </a:solidFill>
                <a:latin typeface="Arial"/>
                <a:ea typeface="Arial"/>
                <a:cs typeface="Arial"/>
                <a:sym typeface="Arial"/>
              </a:rPr>
              <a:t>Purple-06 #6E40C9</a:t>
            </a:r>
            <a:endParaRPr sz="1199" b="0" i="0">
              <a:solidFill>
                <a:schemeClr val="dk1"/>
              </a:solidFill>
              <a:latin typeface="Arial"/>
              <a:ea typeface="Arial"/>
              <a:cs typeface="Arial"/>
              <a:sym typeface="Arial"/>
            </a:endParaRPr>
          </a:p>
        </p:txBody>
      </p:sp>
      <p:sp>
        <p:nvSpPr>
          <p:cNvPr id="1444" name="Google Shape;1444;p119"/>
          <p:cNvSpPr/>
          <p:nvPr/>
        </p:nvSpPr>
        <p:spPr>
          <a:xfrm>
            <a:off x="7350167" y="3689328"/>
            <a:ext cx="914400"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a:solidFill>
                  <a:schemeClr val="dk1"/>
                </a:solidFill>
                <a:latin typeface="Arial"/>
                <a:ea typeface="Arial"/>
                <a:cs typeface="Arial"/>
                <a:sym typeface="Arial"/>
              </a:rPr>
              <a:t>S</a:t>
            </a:r>
            <a:r>
              <a:rPr lang="en-US" sz="1199" b="1" i="0" u="none" strike="noStrike" cap="none">
                <a:solidFill>
                  <a:schemeClr val="dk1"/>
                </a:solidFill>
                <a:latin typeface="Arial"/>
                <a:ea typeface="Arial"/>
                <a:cs typeface="Arial"/>
                <a:sym typeface="Arial"/>
              </a:rPr>
              <a:t>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Blue-04 #388BFD</a:t>
            </a:r>
            <a:endParaRPr sz="1199" b="0" i="0">
              <a:solidFill>
                <a:schemeClr val="dk1"/>
              </a:solidFill>
              <a:latin typeface="Arial"/>
              <a:ea typeface="Arial"/>
              <a:cs typeface="Arial"/>
              <a:sym typeface="Arial"/>
            </a:endParaRPr>
          </a:p>
        </p:txBody>
      </p:sp>
      <p:sp>
        <p:nvSpPr>
          <p:cNvPr id="1445" name="Google Shape;1445;p119"/>
          <p:cNvSpPr/>
          <p:nvPr/>
        </p:nvSpPr>
        <p:spPr>
          <a:xfrm>
            <a:off x="8354308" y="3689340"/>
            <a:ext cx="914400"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Blue-06 #1158C7</a:t>
            </a:r>
            <a:endParaRPr sz="1199" b="0" i="0">
              <a:solidFill>
                <a:schemeClr val="dk1"/>
              </a:solidFill>
              <a:latin typeface="Arial"/>
              <a:ea typeface="Arial"/>
              <a:cs typeface="Arial"/>
              <a:sym typeface="Arial"/>
            </a:endParaRPr>
          </a:p>
        </p:txBody>
      </p:sp>
      <p:sp>
        <p:nvSpPr>
          <p:cNvPr id="1446" name="Google Shape;1446;p119"/>
          <p:cNvSpPr/>
          <p:nvPr/>
        </p:nvSpPr>
        <p:spPr>
          <a:xfrm>
            <a:off x="7350167" y="4682231"/>
            <a:ext cx="914400"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a:solidFill>
                  <a:schemeClr val="dk1"/>
                </a:solidFill>
                <a:latin typeface="Arial"/>
                <a:ea typeface="Arial"/>
                <a:cs typeface="Arial"/>
                <a:sym typeface="Arial"/>
              </a:rPr>
              <a:t>S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Green-02 #56D364</a:t>
            </a:r>
            <a:endParaRPr sz="1199" b="0" i="0">
              <a:solidFill>
                <a:schemeClr val="dk1"/>
              </a:solidFill>
              <a:latin typeface="Arial"/>
              <a:ea typeface="Arial"/>
              <a:cs typeface="Arial"/>
              <a:sym typeface="Arial"/>
            </a:endParaRPr>
          </a:p>
        </p:txBody>
      </p:sp>
      <p:sp>
        <p:nvSpPr>
          <p:cNvPr id="1447" name="Google Shape;1447;p119"/>
          <p:cNvSpPr/>
          <p:nvPr/>
        </p:nvSpPr>
        <p:spPr>
          <a:xfrm>
            <a:off x="8354311" y="4682231"/>
            <a:ext cx="914400"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Green-04 #2EA043</a:t>
            </a:r>
            <a:endParaRPr sz="1199" b="0" i="0">
              <a:solidFill>
                <a:schemeClr val="dk1"/>
              </a:solidFill>
              <a:latin typeface="Arial"/>
              <a:ea typeface="Arial"/>
              <a:cs typeface="Arial"/>
              <a:sym typeface="Arial"/>
            </a:endParaRPr>
          </a:p>
        </p:txBody>
      </p:sp>
      <p:sp>
        <p:nvSpPr>
          <p:cNvPr id="1448" name="Google Shape;1448;p119"/>
          <p:cNvSpPr/>
          <p:nvPr/>
        </p:nvSpPr>
        <p:spPr>
          <a:xfrm>
            <a:off x="3100153" y="2705101"/>
            <a:ext cx="1898800" cy="1898800"/>
          </a:xfrm>
          <a:prstGeom prst="roundRect">
            <a:avLst>
              <a:gd name="adj" fmla="val 7073"/>
            </a:avLst>
          </a:prstGeom>
          <a:solidFill>
            <a:schemeClr val="dk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US" sz="1199" b="1" i="0">
                <a:solidFill>
                  <a:schemeClr val="lt1"/>
                </a:solidFill>
                <a:latin typeface="Arial"/>
                <a:ea typeface="Arial"/>
                <a:cs typeface="Arial"/>
                <a:sym typeface="Arial"/>
              </a:rPr>
              <a:t>Text</a:t>
            </a:r>
            <a:r>
              <a:rPr lang="en-US" sz="1199" b="1" i="0" u="none" strike="noStrike" cap="none">
                <a:solidFill>
                  <a:schemeClr val="lt1"/>
                </a:solidFill>
                <a:latin typeface="Arial"/>
                <a:ea typeface="Arial"/>
                <a:cs typeface="Arial"/>
                <a:sym typeface="Arial"/>
              </a:rPr>
              <a:t>, Shapes</a:t>
            </a:r>
            <a:endParaRPr sz="666" b="1" i="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A0C10"/>
              </a:buClr>
              <a:buSzPts val="900"/>
              <a:buFont typeface="Arial"/>
              <a:buNone/>
            </a:pPr>
            <a:r>
              <a:rPr lang="en-US" sz="1199" b="0" i="0" u="none" strike="noStrike" cap="none">
                <a:solidFill>
                  <a:schemeClr val="lt1"/>
                </a:solidFill>
                <a:latin typeface="Arial"/>
                <a:ea typeface="Arial"/>
                <a:cs typeface="Arial"/>
                <a:sym typeface="Arial"/>
              </a:rPr>
              <a:t>White #</a:t>
            </a:r>
            <a:r>
              <a:rPr lang="en-US" sz="1199" b="0" i="0">
                <a:solidFill>
                  <a:schemeClr val="lt1"/>
                </a:solidFill>
                <a:latin typeface="Arial"/>
                <a:ea typeface="Arial"/>
                <a:cs typeface="Arial"/>
                <a:sym typeface="Arial"/>
              </a:rPr>
              <a:t>FFFFFF</a:t>
            </a:r>
            <a:endParaRPr sz="666" b="0" i="0">
              <a:solidFill>
                <a:schemeClr val="lt1"/>
              </a:solidFill>
              <a:latin typeface="Arial"/>
              <a:ea typeface="Arial"/>
              <a:cs typeface="Arial"/>
              <a:sym typeface="Arial"/>
            </a:endParaRPr>
          </a:p>
        </p:txBody>
      </p:sp>
      <p:sp>
        <p:nvSpPr>
          <p:cNvPr id="1449" name="Google Shape;1449;p119"/>
          <p:cNvSpPr/>
          <p:nvPr/>
        </p:nvSpPr>
        <p:spPr>
          <a:xfrm>
            <a:off x="5100044" y="2705113"/>
            <a:ext cx="1898800" cy="18988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US" sz="1199" b="1" i="0" u="none" strike="noStrike" cap="none">
                <a:solidFill>
                  <a:schemeClr val="dk1"/>
                </a:solidFill>
                <a:latin typeface="Arial"/>
                <a:ea typeface="Arial"/>
                <a:cs typeface="Arial"/>
                <a:sym typeface="Arial"/>
              </a:rPr>
              <a:t>Text, Shapes</a:t>
            </a:r>
            <a:endParaRPr sz="666"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900"/>
              <a:buFont typeface="Arial"/>
              <a:buNone/>
            </a:pPr>
            <a:r>
              <a:rPr lang="en-US" sz="1199" b="0" i="0" u="none" strike="noStrike" cap="none">
                <a:solidFill>
                  <a:schemeClr val="dk1"/>
                </a:solidFill>
                <a:latin typeface="Arial"/>
                <a:ea typeface="Arial"/>
                <a:cs typeface="Arial"/>
                <a:sym typeface="Arial"/>
              </a:rPr>
              <a:t>Gray-03 #8B949E</a:t>
            </a:r>
            <a:endParaRPr sz="666" b="0" i="0">
              <a:solidFill>
                <a:schemeClr val="dk1"/>
              </a:solidFill>
              <a:latin typeface="Arial"/>
              <a:ea typeface="Arial"/>
              <a:cs typeface="Arial"/>
              <a:sym typeface="Arial"/>
            </a:endParaRPr>
          </a:p>
        </p:txBody>
      </p:sp>
      <p:sp>
        <p:nvSpPr>
          <p:cNvPr id="1450" name="Google Shape;1450;p119"/>
          <p:cNvSpPr/>
          <p:nvPr/>
        </p:nvSpPr>
        <p:spPr>
          <a:xfrm>
            <a:off x="9358048" y="2696434"/>
            <a:ext cx="914400"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Indigo-04</a:t>
            </a:r>
            <a:br>
              <a:rPr lang="en-US" sz="1199" b="0" i="0" u="none" strike="noStrike" cap="none">
                <a:solidFill>
                  <a:schemeClr val="dk1"/>
                </a:solidFill>
                <a:latin typeface="Arial"/>
                <a:ea typeface="Arial"/>
                <a:cs typeface="Arial"/>
                <a:sym typeface="Arial"/>
              </a:rPr>
            </a:br>
            <a:r>
              <a:rPr lang="en-US" sz="1199" b="0" i="0" u="none" strike="noStrike" cap="none">
                <a:solidFill>
                  <a:schemeClr val="dk1"/>
                </a:solidFill>
                <a:latin typeface="Arial"/>
                <a:ea typeface="Arial"/>
                <a:cs typeface="Arial"/>
                <a:sym typeface="Arial"/>
              </a:rPr>
              <a:t>#797EF9</a:t>
            </a:r>
            <a:endParaRPr sz="1199" b="0" i="0">
              <a:solidFill>
                <a:schemeClr val="dk1"/>
              </a:solidFill>
              <a:latin typeface="Arial"/>
              <a:ea typeface="Arial"/>
              <a:cs typeface="Arial"/>
              <a:sym typeface="Arial"/>
            </a:endParaRPr>
          </a:p>
        </p:txBody>
      </p:sp>
      <p:sp>
        <p:nvSpPr>
          <p:cNvPr id="1451" name="Google Shape;1451;p119"/>
          <p:cNvSpPr/>
          <p:nvPr/>
        </p:nvSpPr>
        <p:spPr>
          <a:xfrm>
            <a:off x="10362589" y="2696434"/>
            <a:ext cx="914400"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Indigo-06</a:t>
            </a:r>
            <a:br>
              <a:rPr lang="en-US" sz="1199" b="0" i="0" u="none" strike="noStrike" cap="none">
                <a:solidFill>
                  <a:schemeClr val="dk1"/>
                </a:solidFill>
                <a:latin typeface="Arial"/>
                <a:ea typeface="Arial"/>
                <a:cs typeface="Arial"/>
                <a:sym typeface="Arial"/>
              </a:rPr>
            </a:br>
            <a:r>
              <a:rPr lang="en-US" sz="1199" b="0" i="0" u="none" strike="noStrike" cap="none">
                <a:solidFill>
                  <a:schemeClr val="dk1"/>
                </a:solidFill>
                <a:latin typeface="Arial"/>
                <a:ea typeface="Arial"/>
                <a:cs typeface="Arial"/>
                <a:sym typeface="Arial"/>
              </a:rPr>
              <a:t>#464ED1</a:t>
            </a:r>
            <a:endParaRPr sz="1199" b="0" i="0">
              <a:solidFill>
                <a:schemeClr val="dk1"/>
              </a:solidFill>
              <a:latin typeface="Arial"/>
              <a:ea typeface="Arial"/>
              <a:cs typeface="Arial"/>
              <a:sym typeface="Arial"/>
            </a:endParaRPr>
          </a:p>
        </p:txBody>
      </p:sp>
      <p:sp>
        <p:nvSpPr>
          <p:cNvPr id="1452" name="Google Shape;1452;p119"/>
          <p:cNvSpPr/>
          <p:nvPr/>
        </p:nvSpPr>
        <p:spPr>
          <a:xfrm>
            <a:off x="9358451" y="3689319"/>
            <a:ext cx="914400"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Teal-02</a:t>
            </a:r>
            <a:br>
              <a:rPr lang="en-US" sz="1199" b="0" i="0" u="none" strike="noStrike" cap="none">
                <a:solidFill>
                  <a:schemeClr val="dk1"/>
                </a:solidFill>
                <a:latin typeface="Arial"/>
                <a:ea typeface="Arial"/>
                <a:cs typeface="Arial"/>
                <a:sym typeface="Arial"/>
              </a:rPr>
            </a:br>
            <a:r>
              <a:rPr lang="en-US" sz="1199" b="0" i="0" u="none" strike="noStrike" cap="none">
                <a:solidFill>
                  <a:schemeClr val="dk1"/>
                </a:solidFill>
                <a:latin typeface="Arial"/>
                <a:ea typeface="Arial"/>
                <a:cs typeface="Arial"/>
                <a:sym typeface="Arial"/>
              </a:rPr>
              <a:t>#57CCC5</a:t>
            </a:r>
            <a:endParaRPr sz="1199" b="0" i="0">
              <a:solidFill>
                <a:schemeClr val="dk1"/>
              </a:solidFill>
              <a:latin typeface="Arial"/>
              <a:ea typeface="Arial"/>
              <a:cs typeface="Arial"/>
              <a:sym typeface="Arial"/>
            </a:endParaRPr>
          </a:p>
        </p:txBody>
      </p:sp>
      <p:sp>
        <p:nvSpPr>
          <p:cNvPr id="1453" name="Google Shape;1453;p119"/>
          <p:cNvSpPr/>
          <p:nvPr/>
        </p:nvSpPr>
        <p:spPr>
          <a:xfrm>
            <a:off x="10362593" y="3689319"/>
            <a:ext cx="914400"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Teal-04</a:t>
            </a:r>
            <a:br>
              <a:rPr lang="en-US" sz="1199" b="0" i="0" u="none" strike="noStrike" cap="none">
                <a:solidFill>
                  <a:schemeClr val="dk1"/>
                </a:solidFill>
                <a:latin typeface="Arial"/>
                <a:ea typeface="Arial"/>
                <a:cs typeface="Arial"/>
                <a:sym typeface="Arial"/>
              </a:rPr>
            </a:br>
            <a:r>
              <a:rPr lang="en-US" sz="1199" b="0" i="0" u="none" strike="noStrike" cap="none">
                <a:solidFill>
                  <a:schemeClr val="dk1"/>
                </a:solidFill>
                <a:latin typeface="Arial"/>
                <a:ea typeface="Arial"/>
                <a:cs typeface="Arial"/>
                <a:sym typeface="Arial"/>
              </a:rPr>
              <a:t>#2A9D9A</a:t>
            </a:r>
            <a:endParaRPr sz="1199" b="0" i="0">
              <a:solidFill>
                <a:schemeClr val="dk1"/>
              </a:solidFill>
              <a:latin typeface="Arial"/>
              <a:ea typeface="Arial"/>
              <a:cs typeface="Arial"/>
              <a:sym typeface="Arial"/>
            </a:endParaRPr>
          </a:p>
        </p:txBody>
      </p:sp>
      <p:sp>
        <p:nvSpPr>
          <p:cNvPr id="1454" name="Google Shape;1454;p119"/>
          <p:cNvSpPr/>
          <p:nvPr/>
        </p:nvSpPr>
        <p:spPr>
          <a:xfrm>
            <a:off x="9358456" y="4682219"/>
            <a:ext cx="914400"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Pink-04</a:t>
            </a:r>
            <a:br>
              <a:rPr lang="en-US" sz="1199" b="0" i="0" u="none" strike="noStrike" cap="none">
                <a:solidFill>
                  <a:schemeClr val="dk1"/>
                </a:solidFill>
                <a:latin typeface="Arial"/>
                <a:ea typeface="Arial"/>
                <a:cs typeface="Arial"/>
                <a:sym typeface="Arial"/>
              </a:rPr>
            </a:br>
            <a:r>
              <a:rPr lang="en-US" sz="1199" b="0" i="0" u="none" strike="noStrike" cap="none">
                <a:solidFill>
                  <a:schemeClr val="dk1"/>
                </a:solidFill>
                <a:latin typeface="Arial"/>
                <a:ea typeface="Arial"/>
                <a:cs typeface="Arial"/>
                <a:sym typeface="Arial"/>
              </a:rPr>
              <a:t>#DB61A2</a:t>
            </a:r>
            <a:endParaRPr sz="1199" b="0" i="0">
              <a:solidFill>
                <a:schemeClr val="dk1"/>
              </a:solidFill>
              <a:latin typeface="Arial"/>
              <a:ea typeface="Arial"/>
              <a:cs typeface="Arial"/>
              <a:sym typeface="Arial"/>
            </a:endParaRPr>
          </a:p>
        </p:txBody>
      </p:sp>
      <p:sp>
        <p:nvSpPr>
          <p:cNvPr id="1455" name="Google Shape;1455;p119"/>
          <p:cNvSpPr/>
          <p:nvPr/>
        </p:nvSpPr>
        <p:spPr>
          <a:xfrm>
            <a:off x="10362601" y="4682219"/>
            <a:ext cx="914400"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Pink-06</a:t>
            </a:r>
            <a:br>
              <a:rPr lang="en-US" sz="1199" b="0" i="0" u="none" strike="noStrike" cap="none">
                <a:solidFill>
                  <a:schemeClr val="dk1"/>
                </a:solidFill>
                <a:latin typeface="Arial"/>
                <a:ea typeface="Arial"/>
                <a:cs typeface="Arial"/>
                <a:sym typeface="Arial"/>
              </a:rPr>
            </a:br>
            <a:r>
              <a:rPr lang="en-US" sz="1199" b="0" i="0" u="none" strike="noStrike" cap="none">
                <a:solidFill>
                  <a:schemeClr val="dk1"/>
                </a:solidFill>
                <a:latin typeface="Arial"/>
                <a:ea typeface="Arial"/>
                <a:cs typeface="Arial"/>
                <a:sym typeface="Arial"/>
              </a:rPr>
              <a:t>#9E3670</a:t>
            </a:r>
            <a:endParaRPr sz="1199" b="0" i="0">
              <a:solidFill>
                <a:schemeClr val="dk1"/>
              </a:solidFill>
              <a:latin typeface="Arial"/>
              <a:ea typeface="Arial"/>
              <a:cs typeface="Arial"/>
              <a:sym typeface="Arial"/>
            </a:endParaRPr>
          </a:p>
        </p:txBody>
      </p:sp>
      <p:sp>
        <p:nvSpPr>
          <p:cNvPr id="1456" name="Google Shape;1456;p119"/>
          <p:cNvSpPr/>
          <p:nvPr/>
        </p:nvSpPr>
        <p:spPr>
          <a:xfrm>
            <a:off x="803233" y="2705101"/>
            <a:ext cx="1898800" cy="1898800"/>
          </a:xfrm>
          <a:prstGeom prst="roundRect">
            <a:avLst>
              <a:gd name="adj" fmla="val 7073"/>
            </a:avLst>
          </a:prstGeom>
          <a:solidFill>
            <a:schemeClr val="lt1"/>
          </a:solidFill>
          <a:ln w="9525" cap="flat" cmpd="sng">
            <a:solidFill>
              <a:schemeClr val="lt2"/>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US" sz="1199" b="1" i="0">
                <a:solidFill>
                  <a:schemeClr val="dk1"/>
                </a:solidFill>
                <a:latin typeface="Arial"/>
                <a:ea typeface="Arial"/>
                <a:cs typeface="Arial"/>
                <a:sym typeface="Arial"/>
              </a:rPr>
              <a:t>Background</a:t>
            </a:r>
            <a:endParaRPr sz="666"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rgbClr val="0A0C10"/>
              </a:buClr>
              <a:buSzPts val="900"/>
              <a:buFont typeface="Arial"/>
              <a:buNone/>
            </a:pPr>
            <a:r>
              <a:rPr lang="en-US" sz="1199" b="0" i="0" u="none" strike="noStrike" cap="none">
                <a:solidFill>
                  <a:schemeClr val="dk1"/>
                </a:solidFill>
                <a:latin typeface="Arial"/>
                <a:ea typeface="Arial"/>
                <a:cs typeface="Arial"/>
                <a:sym typeface="Arial"/>
              </a:rPr>
              <a:t>#</a:t>
            </a:r>
            <a:r>
              <a:rPr lang="en-US" sz="1199" b="0" i="0">
                <a:solidFill>
                  <a:schemeClr val="dk1"/>
                </a:solidFill>
                <a:latin typeface="Arial"/>
                <a:ea typeface="Arial"/>
                <a:cs typeface="Arial"/>
                <a:sym typeface="Arial"/>
              </a:rPr>
              <a:t>0a0c10ff</a:t>
            </a:r>
            <a:endParaRPr sz="666" b="0" i="0">
              <a:solidFill>
                <a:schemeClr val="dk1"/>
              </a:solidFill>
              <a:latin typeface="Arial"/>
              <a:ea typeface="Arial"/>
              <a:cs typeface="Arial"/>
              <a:sym typeface="Arial"/>
            </a:endParaRPr>
          </a:p>
        </p:txBody>
      </p:sp>
      <p:sp>
        <p:nvSpPr>
          <p:cNvPr id="1457" name="Google Shape;1457;p119"/>
          <p:cNvSpPr txBox="1"/>
          <p:nvPr/>
        </p:nvSpPr>
        <p:spPr>
          <a:xfrm>
            <a:off x="803229" y="630553"/>
            <a:ext cx="6570800" cy="789272"/>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US" sz="4796" b="1" i="0">
                <a:solidFill>
                  <a:schemeClr val="dk1"/>
                </a:solidFill>
                <a:latin typeface="Arial"/>
                <a:ea typeface="Arial"/>
                <a:cs typeface="Arial"/>
                <a:sym typeface="Arial"/>
              </a:rPr>
              <a:t>Color palette</a:t>
            </a:r>
            <a:endParaRPr sz="4796" b="1" i="0">
              <a:solidFill>
                <a:schemeClr val="dk1"/>
              </a:solidFill>
              <a:latin typeface="Arial"/>
              <a:ea typeface="Arial"/>
              <a:cs typeface="Arial"/>
              <a:sym typeface="Arial"/>
            </a:endParaRPr>
          </a:p>
        </p:txBody>
      </p:sp>
      <p:sp>
        <p:nvSpPr>
          <p:cNvPr id="1458" name="Google Shape;1458;p119"/>
          <p:cNvSpPr txBox="1"/>
          <p:nvPr/>
        </p:nvSpPr>
        <p:spPr>
          <a:xfrm>
            <a:off x="803229" y="1972350"/>
            <a:ext cx="2194000" cy="461234"/>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US" sz="2664" b="1" i="0">
                <a:solidFill>
                  <a:schemeClr val="dk1"/>
                </a:solidFill>
                <a:latin typeface="Arial"/>
                <a:ea typeface="Arial"/>
                <a:cs typeface="Arial"/>
                <a:sym typeface="Arial"/>
              </a:rPr>
              <a:t>Background</a:t>
            </a:r>
            <a:endParaRPr sz="2664" b="1" i="0">
              <a:solidFill>
                <a:schemeClr val="dk1"/>
              </a:solidFill>
              <a:latin typeface="Arial"/>
              <a:ea typeface="Arial"/>
              <a:cs typeface="Arial"/>
              <a:sym typeface="Arial"/>
            </a:endParaRPr>
          </a:p>
        </p:txBody>
      </p:sp>
      <p:sp>
        <p:nvSpPr>
          <p:cNvPr id="1459" name="Google Shape;1459;p119"/>
          <p:cNvSpPr txBox="1"/>
          <p:nvPr/>
        </p:nvSpPr>
        <p:spPr>
          <a:xfrm>
            <a:off x="3126367" y="1972350"/>
            <a:ext cx="1828800" cy="461234"/>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US" sz="2664" b="1" i="0">
                <a:solidFill>
                  <a:schemeClr val="dk1"/>
                </a:solidFill>
                <a:latin typeface="Arial"/>
                <a:ea typeface="Arial"/>
                <a:cs typeface="Arial"/>
                <a:sym typeface="Arial"/>
              </a:rPr>
              <a:t>Text</a:t>
            </a:r>
            <a:endParaRPr sz="2664" b="1" i="0">
              <a:solidFill>
                <a:schemeClr val="dk1"/>
              </a:solidFill>
              <a:latin typeface="Arial"/>
              <a:ea typeface="Arial"/>
              <a:cs typeface="Arial"/>
              <a:sym typeface="Arial"/>
            </a:endParaRPr>
          </a:p>
        </p:txBody>
      </p:sp>
      <p:sp>
        <p:nvSpPr>
          <p:cNvPr id="1460" name="Google Shape;1460;p119"/>
          <p:cNvSpPr/>
          <p:nvPr/>
        </p:nvSpPr>
        <p:spPr>
          <a:xfrm>
            <a:off x="7351367" y="2696434"/>
            <a:ext cx="912000"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US" sz="1199" b="1" i="0" u="none" strike="noStrike" cap="none">
                <a:solidFill>
                  <a:schemeClr val="dk1"/>
                </a:solidFill>
                <a:latin typeface="Arial"/>
                <a:ea typeface="Arial"/>
                <a:cs typeface="Arial"/>
                <a:sym typeface="Arial"/>
              </a:rPr>
              <a:t>Shapes</a:t>
            </a:r>
            <a:endParaRPr sz="1199"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900"/>
              <a:buFont typeface="Arial"/>
              <a:buNone/>
            </a:pPr>
            <a:r>
              <a:rPr lang="en-US" sz="1199" b="0" i="0" u="none" strike="noStrike" cap="none">
                <a:solidFill>
                  <a:schemeClr val="dk1"/>
                </a:solidFill>
                <a:latin typeface="Arial"/>
                <a:ea typeface="Arial"/>
                <a:cs typeface="Arial"/>
                <a:sym typeface="Arial"/>
              </a:rPr>
              <a:t>Purple-04 #A371F7</a:t>
            </a:r>
            <a:endParaRPr sz="1199" b="0" i="0">
              <a:solidFill>
                <a:schemeClr val="dk1"/>
              </a:solidFill>
              <a:latin typeface="Arial"/>
              <a:ea typeface="Arial"/>
              <a:cs typeface="Arial"/>
              <a:sym typeface="Arial"/>
            </a:endParaRPr>
          </a:p>
        </p:txBody>
      </p:sp>
      <p:sp>
        <p:nvSpPr>
          <p:cNvPr id="1461" name="Google Shape;1461;p119"/>
          <p:cNvSpPr txBox="1"/>
          <p:nvPr/>
        </p:nvSpPr>
        <p:spPr>
          <a:xfrm>
            <a:off x="7331032" y="1972350"/>
            <a:ext cx="2194000" cy="461234"/>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US" sz="2664" b="1" i="0">
                <a:solidFill>
                  <a:schemeClr val="dk1"/>
                </a:solidFill>
                <a:latin typeface="Arial"/>
                <a:ea typeface="Arial"/>
                <a:cs typeface="Arial"/>
                <a:sym typeface="Arial"/>
              </a:rPr>
              <a:t>Shapes</a:t>
            </a:r>
            <a:endParaRPr sz="2664" b="1" i="0">
              <a:solidFill>
                <a:schemeClr val="dk1"/>
              </a:solidFill>
              <a:latin typeface="Arial"/>
              <a:ea typeface="Arial"/>
              <a:cs typeface="Arial"/>
              <a:sym typeface="Arial"/>
            </a:endParaRPr>
          </a:p>
        </p:txBody>
      </p:sp>
      <p:sp>
        <p:nvSpPr>
          <p:cNvPr id="1462" name="Google Shape;1462;p119"/>
          <p:cNvSpPr txBox="1"/>
          <p:nvPr/>
        </p:nvSpPr>
        <p:spPr>
          <a:xfrm>
            <a:off x="803229" y="4800224"/>
            <a:ext cx="2194000" cy="871218"/>
          </a:xfrm>
          <a:prstGeom prst="rect">
            <a:avLst/>
          </a:prstGeom>
          <a:noFill/>
          <a:ln>
            <a:noFill/>
          </a:ln>
        </p:spPr>
        <p:txBody>
          <a:bodyPr spcFirstLastPara="1" wrap="square" lIns="25377" tIns="25377" rIns="25377" bIns="25377" anchor="ctr" anchorCtr="0">
            <a:spAutoFit/>
          </a:bodyPr>
          <a:lstStyle/>
          <a:p>
            <a:pPr marL="0" marR="0" lvl="0" indent="0" algn="l" rtl="0">
              <a:lnSpc>
                <a:spcPct val="100000"/>
              </a:lnSpc>
              <a:spcBef>
                <a:spcPts val="0"/>
              </a:spcBef>
              <a:spcAft>
                <a:spcPts val="0"/>
              </a:spcAft>
              <a:buClr>
                <a:srgbClr val="F0F6FC"/>
              </a:buClr>
              <a:buSzPts val="4100"/>
              <a:buFont typeface="Arial"/>
              <a:buNone/>
            </a:pPr>
            <a:r>
              <a:rPr lang="en-US" sz="2664" b="1" i="0">
                <a:solidFill>
                  <a:schemeClr val="dk1"/>
                </a:solidFill>
                <a:latin typeface="Arial"/>
                <a:ea typeface="Arial"/>
                <a:cs typeface="Arial"/>
                <a:sym typeface="Arial"/>
              </a:rPr>
              <a:t>Shape</a:t>
            </a:r>
            <a:br>
              <a:rPr lang="en-US" sz="2664" b="1" i="0">
                <a:solidFill>
                  <a:schemeClr val="dk1"/>
                </a:solidFill>
                <a:latin typeface="Arial"/>
                <a:ea typeface="Arial"/>
                <a:cs typeface="Arial"/>
                <a:sym typeface="Arial"/>
              </a:rPr>
            </a:br>
            <a:r>
              <a:rPr lang="en-US" sz="2664" b="1" i="0">
                <a:solidFill>
                  <a:schemeClr val="dk1"/>
                </a:solidFill>
                <a:latin typeface="Arial"/>
                <a:ea typeface="Arial"/>
                <a:cs typeface="Arial"/>
                <a:sym typeface="Arial"/>
              </a:rPr>
              <a:t>Outline</a:t>
            </a:r>
            <a:endParaRPr sz="2664" b="1" i="0">
              <a:solidFill>
                <a:schemeClr val="dk1"/>
              </a:solidFill>
              <a:latin typeface="Arial"/>
              <a:ea typeface="Arial"/>
              <a:cs typeface="Arial"/>
              <a:sym typeface="Arial"/>
            </a:endParaRPr>
          </a:p>
        </p:txBody>
      </p:sp>
      <p:sp>
        <p:nvSpPr>
          <p:cNvPr id="1463" name="Google Shape;1463;p119"/>
          <p:cNvSpPr/>
          <p:nvPr/>
        </p:nvSpPr>
        <p:spPr>
          <a:xfrm>
            <a:off x="2225633" y="4875234"/>
            <a:ext cx="4773200" cy="721200"/>
          </a:xfrm>
          <a:prstGeom prst="roundRect">
            <a:avLst>
              <a:gd name="adj" fmla="val 11453"/>
            </a:avLst>
          </a:prstGeom>
          <a:solidFill>
            <a:schemeClr val="lt1"/>
          </a:solidFill>
          <a:ln w="9525" cap="flat" cmpd="sng">
            <a:solidFill>
              <a:schemeClr val="lt2"/>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US" sz="1199" b="1" i="0">
                <a:solidFill>
                  <a:schemeClr val="dk1"/>
                </a:solidFill>
                <a:latin typeface="Arial"/>
                <a:ea typeface="Arial"/>
                <a:cs typeface="Arial"/>
                <a:sym typeface="Arial"/>
              </a:rPr>
              <a:t>Shape outline</a:t>
            </a:r>
            <a:endParaRPr sz="666" b="1" i="0">
              <a:solidFill>
                <a:schemeClr val="dk1"/>
              </a:solidFill>
              <a:latin typeface="Arial"/>
              <a:ea typeface="Arial"/>
              <a:cs typeface="Arial"/>
              <a:sym typeface="Arial"/>
            </a:endParaRPr>
          </a:p>
          <a:p>
            <a:pPr marL="0" marR="0" lvl="0" indent="0" algn="ctr" rtl="0">
              <a:lnSpc>
                <a:spcPct val="100000"/>
              </a:lnSpc>
              <a:spcBef>
                <a:spcPts val="0"/>
              </a:spcBef>
              <a:spcAft>
                <a:spcPts val="0"/>
              </a:spcAft>
              <a:buClr>
                <a:srgbClr val="0A0C10"/>
              </a:buClr>
              <a:buSzPts val="900"/>
              <a:buFont typeface="Arial"/>
              <a:buNone/>
            </a:pPr>
            <a:r>
              <a:rPr lang="en-US" sz="1199" b="0" i="0">
                <a:solidFill>
                  <a:schemeClr val="dk1"/>
                </a:solidFill>
                <a:latin typeface="Arial"/>
                <a:ea typeface="Arial"/>
                <a:cs typeface="Arial"/>
                <a:sym typeface="Arial"/>
              </a:rPr>
              <a:t>Gray-07 #282828</a:t>
            </a:r>
            <a:endParaRPr sz="666" b="0" i="0">
              <a:solidFill>
                <a:schemeClr val="dk1"/>
              </a:solidFill>
              <a:latin typeface="Arial"/>
              <a:ea typeface="Arial"/>
              <a:cs typeface="Arial"/>
              <a:sym typeface="Arial"/>
            </a:endParaRPr>
          </a:p>
        </p:txBody>
      </p:sp>
      <p:sp>
        <p:nvSpPr>
          <p:cNvPr id="1464" name="Google Shape;1464;p119"/>
          <p:cNvSpPr/>
          <p:nvPr/>
        </p:nvSpPr>
        <p:spPr>
          <a:xfrm>
            <a:off x="7350167" y="709401"/>
            <a:ext cx="5084000" cy="631600"/>
          </a:xfrm>
          <a:prstGeom prst="roundRect">
            <a:avLst>
              <a:gd name="adj" fmla="val 15278"/>
            </a:avLst>
          </a:prstGeom>
          <a:gradFill>
            <a:gsLst>
              <a:gs pos="0">
                <a:srgbClr val="A371F7"/>
              </a:gs>
              <a:gs pos="100000">
                <a:srgbClr val="DB61A2"/>
              </a:gs>
            </a:gsLst>
            <a:lin ang="8099331" scaled="0"/>
          </a:gradFill>
          <a:ln>
            <a:noFill/>
          </a:ln>
          <a:effectLst>
            <a:reflection stA="20000" endPos="30000" dist="28575" dir="5400000" fadeDir="5400012" sy="-100000" algn="bl" rotWithShape="0"/>
          </a:effectLst>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lt1"/>
              </a:buClr>
              <a:buSzPts val="900"/>
              <a:buFont typeface="Arial"/>
              <a:buNone/>
            </a:pPr>
            <a:r>
              <a:rPr lang="en-US" sz="1599" b="1" i="0">
                <a:solidFill>
                  <a:schemeClr val="dk1"/>
                </a:solidFill>
                <a:latin typeface="Arial"/>
                <a:ea typeface="Arial"/>
                <a:cs typeface="Arial"/>
                <a:sym typeface="Arial"/>
              </a:rPr>
              <a:t>      </a:t>
            </a:r>
            <a:r>
              <a:rPr lang="en-US" sz="1332" b="1" i="0">
                <a:solidFill>
                  <a:schemeClr val="dk1"/>
                </a:solidFill>
                <a:latin typeface="Arial"/>
                <a:ea typeface="Arial"/>
                <a:cs typeface="Arial"/>
                <a:sym typeface="Arial"/>
              </a:rPr>
              <a:t>You can also always find the color palette here!  ➡️</a:t>
            </a:r>
            <a:endParaRPr sz="1332" b="1" i="0">
              <a:solidFill>
                <a:schemeClr val="dk1"/>
              </a:solidFill>
              <a:latin typeface="Arial"/>
              <a:ea typeface="Arial"/>
              <a:cs typeface="Arial"/>
              <a:sym typeface="Arial"/>
            </a:endParaRPr>
          </a:p>
        </p:txBody>
      </p:sp>
      <p:sp>
        <p:nvSpPr>
          <p:cNvPr id="1465" name="Google Shape;1465;p119"/>
          <p:cNvSpPr/>
          <p:nvPr/>
        </p:nvSpPr>
        <p:spPr>
          <a:xfrm>
            <a:off x="12192000" y="1"/>
            <a:ext cx="3543600" cy="4533600"/>
          </a:xfrm>
          <a:prstGeom prst="rect">
            <a:avLst/>
          </a:prstGeom>
          <a:solidFill>
            <a:schemeClr val="dk1"/>
          </a:solidFill>
          <a:ln>
            <a:noFill/>
          </a:ln>
        </p:spPr>
        <p:txBody>
          <a:bodyPr spcFirstLastPara="1" wrap="square" lIns="121787" tIns="121787" rIns="121787" bIns="121787" anchor="ctr" anchorCtr="0">
            <a:noAutofit/>
          </a:bodyPr>
          <a:lstStyle/>
          <a:p>
            <a:pPr marL="0" marR="0" lvl="0" indent="0" algn="l" rtl="0">
              <a:spcBef>
                <a:spcPts val="0"/>
              </a:spcBef>
              <a:spcAft>
                <a:spcPts val="0"/>
              </a:spcAft>
              <a:buClr>
                <a:schemeClr val="dk1"/>
              </a:buClr>
              <a:buSzPts val="1800"/>
              <a:buFont typeface="Calibri"/>
              <a:buNone/>
            </a:pPr>
            <a:endParaRPr sz="2398">
              <a:solidFill>
                <a:schemeClr val="dk1"/>
              </a:solidFill>
              <a:latin typeface="Calibri"/>
              <a:ea typeface="Calibri"/>
              <a:cs typeface="Calibri"/>
              <a:sym typeface="Calibri"/>
            </a:endParaRPr>
          </a:p>
        </p:txBody>
      </p:sp>
      <p:grpSp>
        <p:nvGrpSpPr>
          <p:cNvPr id="1466" name="Google Shape;1466;p119"/>
          <p:cNvGrpSpPr/>
          <p:nvPr/>
        </p:nvGrpSpPr>
        <p:grpSpPr>
          <a:xfrm>
            <a:off x="12253533" y="1"/>
            <a:ext cx="3438939" cy="4402386"/>
            <a:chOff x="9190150" y="0"/>
            <a:chExt cx="2579204" cy="3301789"/>
          </a:xfrm>
        </p:grpSpPr>
        <p:sp>
          <p:nvSpPr>
            <p:cNvPr id="1467" name="Google Shape;1467;p119"/>
            <p:cNvSpPr/>
            <p:nvPr/>
          </p:nvSpPr>
          <p:spPr>
            <a:xfrm>
              <a:off x="9190150" y="1473319"/>
              <a:ext cx="2579100" cy="3429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US" sz="1199" b="1" i="0" u="none" strike="noStrike" cap="none">
                  <a:solidFill>
                    <a:schemeClr val="dk1"/>
                  </a:solidFill>
                  <a:latin typeface="Calibri"/>
                  <a:ea typeface="Calibri"/>
                  <a:cs typeface="Calibri"/>
                  <a:sym typeface="Calibri"/>
                </a:rPr>
                <a:t>Shapes</a:t>
              </a:r>
              <a:endParaRPr sz="666"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900"/>
                <a:buFont typeface="Arial"/>
                <a:buNone/>
              </a:pPr>
              <a:r>
                <a:rPr lang="en-US" sz="1199" b="0" i="0" u="none" strike="noStrike" cap="none">
                  <a:solidFill>
                    <a:schemeClr val="dk1"/>
                  </a:solidFill>
                  <a:latin typeface="Arial"/>
                  <a:ea typeface="Arial"/>
                  <a:cs typeface="Arial"/>
                  <a:sym typeface="Arial"/>
                </a:rPr>
                <a:t>Purple-04 #A371F7</a:t>
              </a:r>
              <a:endParaRPr sz="666">
                <a:solidFill>
                  <a:schemeClr val="dk1"/>
                </a:solidFill>
                <a:latin typeface="Calibri"/>
                <a:ea typeface="Calibri"/>
                <a:cs typeface="Calibri"/>
                <a:sym typeface="Calibri"/>
              </a:endParaRPr>
            </a:p>
          </p:txBody>
        </p:sp>
        <p:sp>
          <p:nvSpPr>
            <p:cNvPr id="1468" name="Google Shape;1468;p119"/>
            <p:cNvSpPr/>
            <p:nvPr/>
          </p:nvSpPr>
          <p:spPr>
            <a:xfrm>
              <a:off x="9190150" y="1845012"/>
              <a:ext cx="2579100" cy="3429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US" sz="1199" b="1" i="0" u="none" strike="noStrike" cap="none">
                  <a:solidFill>
                    <a:schemeClr val="dk1"/>
                  </a:solidFill>
                  <a:latin typeface="Calibri"/>
                  <a:ea typeface="Calibri"/>
                  <a:cs typeface="Calibri"/>
                  <a:sym typeface="Calibri"/>
                </a:rPr>
                <a:t>Shapes</a:t>
              </a:r>
              <a:endParaRPr sz="666"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900"/>
                <a:buFont typeface="Arial"/>
                <a:buNone/>
              </a:pPr>
              <a:r>
                <a:rPr lang="en-US" sz="1199" b="0" i="0" u="none" strike="noStrike" cap="none">
                  <a:solidFill>
                    <a:schemeClr val="dk1"/>
                  </a:solidFill>
                  <a:latin typeface="Arial"/>
                  <a:ea typeface="Arial"/>
                  <a:cs typeface="Arial"/>
                  <a:sym typeface="Arial"/>
                </a:rPr>
                <a:t>Purple-06 #6E40C9</a:t>
              </a:r>
              <a:endParaRPr sz="666">
                <a:solidFill>
                  <a:schemeClr val="dk1"/>
                </a:solidFill>
                <a:latin typeface="Calibri"/>
                <a:ea typeface="Calibri"/>
                <a:cs typeface="Calibri"/>
                <a:sym typeface="Calibri"/>
              </a:endParaRPr>
            </a:p>
          </p:txBody>
        </p:sp>
        <p:sp>
          <p:nvSpPr>
            <p:cNvPr id="1469" name="Google Shape;1469;p119"/>
            <p:cNvSpPr/>
            <p:nvPr/>
          </p:nvSpPr>
          <p:spPr>
            <a:xfrm>
              <a:off x="9190150" y="2215980"/>
              <a:ext cx="1266000" cy="3429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a:solidFill>
                    <a:schemeClr val="dk1"/>
                  </a:solidFill>
                  <a:latin typeface="Calibri"/>
                  <a:ea typeface="Calibri"/>
                  <a:cs typeface="Calibri"/>
                  <a:sym typeface="Calibri"/>
                </a:rPr>
                <a:t>S</a:t>
              </a:r>
              <a:r>
                <a:rPr lang="en-US" sz="1199" b="1" i="0" u="none" strike="noStrike" cap="none">
                  <a:solidFill>
                    <a:schemeClr val="dk1"/>
                  </a:solidFill>
                  <a:latin typeface="Calibri"/>
                  <a:ea typeface="Calibri"/>
                  <a:cs typeface="Calibri"/>
                  <a:sym typeface="Calibri"/>
                </a:rPr>
                <a:t>hapes</a:t>
              </a:r>
              <a:endParaRPr sz="1199"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Blue-04 #388BFD</a:t>
              </a:r>
              <a:endParaRPr sz="1199">
                <a:solidFill>
                  <a:schemeClr val="dk1"/>
                </a:solidFill>
                <a:latin typeface="Calibri"/>
                <a:ea typeface="Calibri"/>
                <a:cs typeface="Calibri"/>
                <a:sym typeface="Calibri"/>
              </a:endParaRPr>
            </a:p>
          </p:txBody>
        </p:sp>
        <p:sp>
          <p:nvSpPr>
            <p:cNvPr id="1470" name="Google Shape;1470;p119"/>
            <p:cNvSpPr/>
            <p:nvPr/>
          </p:nvSpPr>
          <p:spPr>
            <a:xfrm>
              <a:off x="10493754" y="2215980"/>
              <a:ext cx="1275600" cy="3429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Calibri"/>
                  <a:ea typeface="Calibri"/>
                  <a:cs typeface="Calibri"/>
                  <a:sym typeface="Calibri"/>
                </a:rPr>
                <a:t>Shapes</a:t>
              </a:r>
              <a:endParaRPr sz="1199"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Blue-06 #1158C7</a:t>
              </a:r>
              <a:endParaRPr sz="1199">
                <a:solidFill>
                  <a:schemeClr val="dk1"/>
                </a:solidFill>
                <a:latin typeface="Calibri"/>
                <a:ea typeface="Calibri"/>
                <a:cs typeface="Calibri"/>
                <a:sym typeface="Calibri"/>
              </a:endParaRPr>
            </a:p>
          </p:txBody>
        </p:sp>
        <p:sp>
          <p:nvSpPr>
            <p:cNvPr id="1471" name="Google Shape;1471;p119"/>
            <p:cNvSpPr/>
            <p:nvPr/>
          </p:nvSpPr>
          <p:spPr>
            <a:xfrm>
              <a:off x="9190150" y="2586948"/>
              <a:ext cx="1266000" cy="3429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a:solidFill>
                    <a:schemeClr val="dk1"/>
                  </a:solidFill>
                  <a:latin typeface="Calibri"/>
                  <a:ea typeface="Calibri"/>
                  <a:cs typeface="Calibri"/>
                  <a:sym typeface="Calibri"/>
                </a:rPr>
                <a:t>S</a:t>
              </a:r>
              <a:r>
                <a:rPr lang="en-US" sz="1199" b="1" i="0" u="none" strike="noStrike" cap="none">
                  <a:solidFill>
                    <a:schemeClr val="dk1"/>
                  </a:solidFill>
                  <a:latin typeface="Calibri"/>
                  <a:ea typeface="Calibri"/>
                  <a:cs typeface="Calibri"/>
                  <a:sym typeface="Calibri"/>
                </a:rPr>
                <a:t>hapes</a:t>
              </a:r>
              <a:endParaRPr sz="1199"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Green-02 #56D364</a:t>
              </a:r>
              <a:endParaRPr sz="1199">
                <a:solidFill>
                  <a:schemeClr val="dk1"/>
                </a:solidFill>
                <a:latin typeface="Calibri"/>
                <a:ea typeface="Calibri"/>
                <a:cs typeface="Calibri"/>
                <a:sym typeface="Calibri"/>
              </a:endParaRPr>
            </a:p>
          </p:txBody>
        </p:sp>
        <p:sp>
          <p:nvSpPr>
            <p:cNvPr id="1472" name="Google Shape;1472;p119"/>
            <p:cNvSpPr/>
            <p:nvPr/>
          </p:nvSpPr>
          <p:spPr>
            <a:xfrm>
              <a:off x="10493754" y="2586948"/>
              <a:ext cx="1275600" cy="3429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Calibri"/>
                  <a:ea typeface="Calibri"/>
                  <a:cs typeface="Calibri"/>
                  <a:sym typeface="Calibri"/>
                </a:rPr>
                <a:t>Shapes</a:t>
              </a:r>
              <a:endParaRPr sz="1199"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Green-04 #2EA043</a:t>
              </a:r>
              <a:endParaRPr sz="1199">
                <a:solidFill>
                  <a:schemeClr val="dk1"/>
                </a:solidFill>
                <a:latin typeface="Calibri"/>
                <a:ea typeface="Calibri"/>
                <a:cs typeface="Calibri"/>
                <a:sym typeface="Calibri"/>
              </a:endParaRPr>
            </a:p>
          </p:txBody>
        </p:sp>
        <p:sp>
          <p:nvSpPr>
            <p:cNvPr id="1473" name="Google Shape;1473;p119"/>
            <p:cNvSpPr/>
            <p:nvPr/>
          </p:nvSpPr>
          <p:spPr>
            <a:xfrm>
              <a:off x="9190150" y="733450"/>
              <a:ext cx="2579100" cy="342900"/>
            </a:xfrm>
            <a:prstGeom prst="roundRect">
              <a:avLst>
                <a:gd name="adj" fmla="val 7073"/>
              </a:avLst>
            </a:prstGeom>
            <a:solidFill>
              <a:schemeClr val="dk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US" sz="1199" b="1">
                  <a:solidFill>
                    <a:schemeClr val="lt1"/>
                  </a:solidFill>
                  <a:latin typeface="Calibri"/>
                  <a:ea typeface="Calibri"/>
                  <a:cs typeface="Calibri"/>
                  <a:sym typeface="Calibri"/>
                </a:rPr>
                <a:t>Text</a:t>
              </a:r>
              <a:r>
                <a:rPr lang="en-US" sz="1199" b="1" i="0" u="none" strike="noStrike" cap="none">
                  <a:solidFill>
                    <a:schemeClr val="lt1"/>
                  </a:solidFill>
                  <a:latin typeface="Arial"/>
                  <a:ea typeface="Arial"/>
                  <a:cs typeface="Arial"/>
                  <a:sym typeface="Arial"/>
                </a:rPr>
                <a:t>, Shapes</a:t>
              </a:r>
              <a:endParaRPr sz="666">
                <a:solidFill>
                  <a:schemeClr val="lt1"/>
                </a:solidFill>
                <a:latin typeface="Calibri"/>
                <a:ea typeface="Calibri"/>
                <a:cs typeface="Calibri"/>
                <a:sym typeface="Calibri"/>
              </a:endParaRPr>
            </a:p>
            <a:p>
              <a:pPr marL="0" marR="0" lvl="0" indent="0" algn="ctr" rtl="0">
                <a:lnSpc>
                  <a:spcPct val="100000"/>
                </a:lnSpc>
                <a:spcBef>
                  <a:spcPts val="0"/>
                </a:spcBef>
                <a:spcAft>
                  <a:spcPts val="0"/>
                </a:spcAft>
                <a:buClr>
                  <a:srgbClr val="0A0C10"/>
                </a:buClr>
                <a:buSzPts val="900"/>
                <a:buFont typeface="Arial"/>
                <a:buNone/>
              </a:pPr>
              <a:r>
                <a:rPr lang="en-US" sz="1199" b="0" i="0" u="none" strike="noStrike" cap="none">
                  <a:solidFill>
                    <a:schemeClr val="lt1"/>
                  </a:solidFill>
                  <a:latin typeface="Arial"/>
                  <a:ea typeface="Arial"/>
                  <a:cs typeface="Arial"/>
                  <a:sym typeface="Arial"/>
                </a:rPr>
                <a:t>White #000000</a:t>
              </a:r>
              <a:endParaRPr sz="666">
                <a:solidFill>
                  <a:schemeClr val="lt1"/>
                </a:solidFill>
                <a:latin typeface="Calibri"/>
                <a:ea typeface="Calibri"/>
                <a:cs typeface="Calibri"/>
                <a:sym typeface="Calibri"/>
              </a:endParaRPr>
            </a:p>
          </p:txBody>
        </p:sp>
        <p:sp>
          <p:nvSpPr>
            <p:cNvPr id="1474" name="Google Shape;1474;p119"/>
            <p:cNvSpPr/>
            <p:nvPr/>
          </p:nvSpPr>
          <p:spPr>
            <a:xfrm>
              <a:off x="9190150" y="1103384"/>
              <a:ext cx="2579100" cy="3429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US" sz="1199" b="1" i="0" u="none" strike="noStrike" cap="none">
                  <a:solidFill>
                    <a:schemeClr val="dk1"/>
                  </a:solidFill>
                  <a:latin typeface="Arial"/>
                  <a:ea typeface="Arial"/>
                  <a:cs typeface="Arial"/>
                  <a:sym typeface="Arial"/>
                </a:rPr>
                <a:t>Text, Shapes</a:t>
              </a:r>
              <a:endParaRPr sz="666">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900"/>
                <a:buFont typeface="Arial"/>
                <a:buNone/>
              </a:pPr>
              <a:r>
                <a:rPr lang="en-US" sz="1199" b="0" i="0" u="none" strike="noStrike" cap="none">
                  <a:solidFill>
                    <a:schemeClr val="dk1"/>
                  </a:solidFill>
                  <a:latin typeface="Arial"/>
                  <a:ea typeface="Arial"/>
                  <a:cs typeface="Arial"/>
                  <a:sym typeface="Arial"/>
                </a:rPr>
                <a:t>Gray-03 #8B949E</a:t>
              </a:r>
              <a:endParaRPr sz="666">
                <a:solidFill>
                  <a:schemeClr val="dk1"/>
                </a:solidFill>
                <a:latin typeface="Calibri"/>
                <a:ea typeface="Calibri"/>
                <a:cs typeface="Calibri"/>
                <a:sym typeface="Calibri"/>
              </a:endParaRPr>
            </a:p>
          </p:txBody>
        </p:sp>
        <p:sp>
          <p:nvSpPr>
            <p:cNvPr id="1475" name="Google Shape;1475;p119"/>
            <p:cNvSpPr/>
            <p:nvPr/>
          </p:nvSpPr>
          <p:spPr>
            <a:xfrm>
              <a:off x="10054842" y="2958889"/>
              <a:ext cx="401100" cy="3429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Calibri"/>
                  <a:ea typeface="Calibri"/>
                  <a:cs typeface="Calibri"/>
                  <a:sym typeface="Calibri"/>
                </a:rPr>
                <a:t>Shapes</a:t>
              </a:r>
              <a:endParaRPr sz="666"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Indigo-04</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797EF9</a:t>
              </a:r>
              <a:endParaRPr sz="666">
                <a:solidFill>
                  <a:schemeClr val="dk1"/>
                </a:solidFill>
                <a:latin typeface="Calibri"/>
                <a:ea typeface="Calibri"/>
                <a:cs typeface="Calibri"/>
                <a:sym typeface="Calibri"/>
              </a:endParaRPr>
            </a:p>
          </p:txBody>
        </p:sp>
        <p:sp>
          <p:nvSpPr>
            <p:cNvPr id="1476" name="Google Shape;1476;p119"/>
            <p:cNvSpPr/>
            <p:nvPr/>
          </p:nvSpPr>
          <p:spPr>
            <a:xfrm>
              <a:off x="10493754" y="2958889"/>
              <a:ext cx="401100" cy="3429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Calibri"/>
                  <a:ea typeface="Calibri"/>
                  <a:cs typeface="Calibri"/>
                  <a:sym typeface="Calibri"/>
                </a:rPr>
                <a:t>Shapes</a:t>
              </a:r>
              <a:endParaRPr sz="666"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Indigo-06</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464ED1</a:t>
              </a:r>
              <a:endParaRPr sz="666">
                <a:solidFill>
                  <a:schemeClr val="dk1"/>
                </a:solidFill>
                <a:latin typeface="Calibri"/>
                <a:ea typeface="Calibri"/>
                <a:cs typeface="Calibri"/>
                <a:sym typeface="Calibri"/>
              </a:endParaRPr>
            </a:p>
          </p:txBody>
        </p:sp>
        <p:sp>
          <p:nvSpPr>
            <p:cNvPr id="1477" name="Google Shape;1477;p119"/>
            <p:cNvSpPr/>
            <p:nvPr/>
          </p:nvSpPr>
          <p:spPr>
            <a:xfrm>
              <a:off x="10929237" y="2958889"/>
              <a:ext cx="401100" cy="3429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Calibri"/>
                  <a:ea typeface="Calibri"/>
                  <a:cs typeface="Calibri"/>
                  <a:sym typeface="Calibri"/>
                </a:rPr>
                <a:t>Shapes</a:t>
              </a:r>
              <a:endParaRPr sz="666"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Teal-02</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57CCC5</a:t>
              </a:r>
              <a:endParaRPr sz="666">
                <a:solidFill>
                  <a:schemeClr val="dk1"/>
                </a:solidFill>
                <a:latin typeface="Calibri"/>
                <a:ea typeface="Calibri"/>
                <a:cs typeface="Calibri"/>
                <a:sym typeface="Calibri"/>
              </a:endParaRPr>
            </a:p>
          </p:txBody>
        </p:sp>
        <p:sp>
          <p:nvSpPr>
            <p:cNvPr id="1478" name="Google Shape;1478;p119"/>
            <p:cNvSpPr/>
            <p:nvPr/>
          </p:nvSpPr>
          <p:spPr>
            <a:xfrm>
              <a:off x="11364720" y="2958889"/>
              <a:ext cx="401100" cy="3429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Calibri"/>
                  <a:ea typeface="Calibri"/>
                  <a:cs typeface="Calibri"/>
                  <a:sym typeface="Calibri"/>
                </a:rPr>
                <a:t>Shapes</a:t>
              </a:r>
              <a:endParaRPr sz="666"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Teal-02</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2A9D9A</a:t>
              </a:r>
              <a:endParaRPr sz="666">
                <a:solidFill>
                  <a:schemeClr val="dk1"/>
                </a:solidFill>
                <a:latin typeface="Calibri"/>
                <a:ea typeface="Calibri"/>
                <a:cs typeface="Calibri"/>
                <a:sym typeface="Calibri"/>
              </a:endParaRPr>
            </a:p>
          </p:txBody>
        </p:sp>
        <p:sp>
          <p:nvSpPr>
            <p:cNvPr id="1479" name="Google Shape;1479;p119"/>
            <p:cNvSpPr/>
            <p:nvPr/>
          </p:nvSpPr>
          <p:spPr>
            <a:xfrm>
              <a:off x="9190150" y="2958889"/>
              <a:ext cx="401100" cy="3429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Calibri"/>
                  <a:ea typeface="Calibri"/>
                  <a:cs typeface="Calibri"/>
                  <a:sym typeface="Calibri"/>
                </a:rPr>
                <a:t>Shapes</a:t>
              </a:r>
              <a:endParaRPr sz="666"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Pink-04</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DB61A2</a:t>
              </a:r>
              <a:endParaRPr sz="666">
                <a:solidFill>
                  <a:schemeClr val="dk1"/>
                </a:solidFill>
                <a:latin typeface="Calibri"/>
                <a:ea typeface="Calibri"/>
                <a:cs typeface="Calibri"/>
                <a:sym typeface="Calibri"/>
              </a:endParaRPr>
            </a:p>
          </p:txBody>
        </p:sp>
        <p:sp>
          <p:nvSpPr>
            <p:cNvPr id="1480" name="Google Shape;1480;p119"/>
            <p:cNvSpPr/>
            <p:nvPr/>
          </p:nvSpPr>
          <p:spPr>
            <a:xfrm>
              <a:off x="9629062" y="2958889"/>
              <a:ext cx="401100" cy="3429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Calibri"/>
                  <a:ea typeface="Calibri"/>
                  <a:cs typeface="Calibri"/>
                  <a:sym typeface="Calibri"/>
                </a:rPr>
                <a:t>Shapes</a:t>
              </a:r>
              <a:endParaRPr sz="666" b="1">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Pink-06</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9E3670</a:t>
              </a:r>
              <a:endParaRPr sz="666">
                <a:solidFill>
                  <a:schemeClr val="dk1"/>
                </a:solidFill>
                <a:latin typeface="Calibri"/>
                <a:ea typeface="Calibri"/>
                <a:cs typeface="Calibri"/>
                <a:sym typeface="Calibri"/>
              </a:endParaRPr>
            </a:p>
          </p:txBody>
        </p:sp>
        <p:sp>
          <p:nvSpPr>
            <p:cNvPr id="1481" name="Google Shape;1481;p119"/>
            <p:cNvSpPr/>
            <p:nvPr/>
          </p:nvSpPr>
          <p:spPr>
            <a:xfrm>
              <a:off x="9190200" y="0"/>
              <a:ext cx="2579100" cy="3429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US" sz="1199" b="1">
                  <a:solidFill>
                    <a:schemeClr val="dk1"/>
                  </a:solidFill>
                  <a:latin typeface="Calibri"/>
                  <a:ea typeface="Calibri"/>
                  <a:cs typeface="Calibri"/>
                  <a:sym typeface="Calibri"/>
                </a:rPr>
                <a:t>Background</a:t>
              </a:r>
              <a:endParaRPr sz="666">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A0C10"/>
                </a:buClr>
                <a:buSzPts val="900"/>
                <a:buFont typeface="Arial"/>
                <a:buNone/>
              </a:pPr>
              <a:r>
                <a:rPr lang="en-US" sz="1199" b="0" i="0" u="none" strike="noStrike" cap="none">
                  <a:solidFill>
                    <a:schemeClr val="dk1"/>
                  </a:solidFill>
                  <a:latin typeface="Arial"/>
                  <a:ea typeface="Arial"/>
                  <a:cs typeface="Arial"/>
                  <a:sym typeface="Arial"/>
                </a:rPr>
                <a:t>#</a:t>
              </a:r>
              <a:r>
                <a:rPr lang="en-US" sz="1199">
                  <a:solidFill>
                    <a:schemeClr val="dk1"/>
                  </a:solidFill>
                  <a:latin typeface="Calibri"/>
                  <a:ea typeface="Calibri"/>
                  <a:cs typeface="Calibri"/>
                  <a:sym typeface="Calibri"/>
                </a:rPr>
                <a:t>0a0c10ff</a:t>
              </a:r>
              <a:endParaRPr sz="666">
                <a:solidFill>
                  <a:schemeClr val="dk1"/>
                </a:solidFill>
                <a:latin typeface="Calibri"/>
                <a:ea typeface="Calibri"/>
                <a:cs typeface="Calibri"/>
                <a:sym typeface="Calibri"/>
              </a:endParaRPr>
            </a:p>
          </p:txBody>
        </p:sp>
        <p:sp>
          <p:nvSpPr>
            <p:cNvPr id="1482" name="Google Shape;1482;p119"/>
            <p:cNvSpPr/>
            <p:nvPr/>
          </p:nvSpPr>
          <p:spPr>
            <a:xfrm>
              <a:off x="9190200" y="366725"/>
              <a:ext cx="2579100" cy="342900"/>
            </a:xfrm>
            <a:prstGeom prst="roundRect">
              <a:avLst>
                <a:gd name="adj" fmla="val 7073"/>
              </a:avLst>
            </a:prstGeom>
            <a:solidFill>
              <a:srgbClr val="434343"/>
            </a:solidFill>
            <a:ln w="9525" cap="flat" cmpd="sng">
              <a:solidFill>
                <a:schemeClr val="lt2"/>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US" sz="1199" b="1">
                  <a:solidFill>
                    <a:schemeClr val="dk1"/>
                  </a:solidFill>
                  <a:latin typeface="Calibri"/>
                  <a:ea typeface="Calibri"/>
                  <a:cs typeface="Calibri"/>
                  <a:sym typeface="Calibri"/>
                </a:rPr>
                <a:t>Shape outline</a:t>
              </a:r>
              <a:endParaRPr sz="666">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A0C10"/>
                </a:buClr>
                <a:buSzPts val="900"/>
                <a:buFont typeface="Arial"/>
                <a:buNone/>
              </a:pPr>
              <a:r>
                <a:rPr lang="en-US" sz="1199">
                  <a:solidFill>
                    <a:schemeClr val="dk1"/>
                  </a:solidFill>
                  <a:latin typeface="Calibri"/>
                  <a:ea typeface="Calibri"/>
                  <a:cs typeface="Calibri"/>
                  <a:sym typeface="Calibri"/>
                </a:rPr>
                <a:t>#282828</a:t>
              </a:r>
              <a:endParaRPr sz="666">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30372167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2"/>
          <a:srcRect l="36395" t="26971" r="15004"/>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AD945E0B-7E78-40CB-B44B-4DC93BF7A0B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3595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32EAC6F0-4205-479A-AAB2-512F9303F0ED}"/>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3757282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09E2B28A-AA4E-46CE-8F7A-F3088F96A21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Woman wearing HoloLens working on an engine.">
            <a:extLst>
              <a:ext uri="{FF2B5EF4-FFF2-40B4-BE49-F238E27FC236}">
                <a16:creationId xmlns:a16="http://schemas.microsoft.com/office/drawing/2014/main" id="{E331A9D4-97A9-494D-A328-96D5F63CEE2A}"/>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168715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a:srcRect l="6962" r="26388"/>
          <a:stretch/>
        </p:blipFill>
        <p:spPr bwMode="ltGray">
          <a:xfrm>
            <a:off x="5334000" y="0"/>
            <a:ext cx="6858000" cy="6858000"/>
          </a:xfrm>
          <a:prstGeom prst="rect">
            <a:avLst/>
          </a:prstGeom>
        </p:spPr>
      </p:pic>
    </p:spTree>
    <p:extLst>
      <p:ext uri="{BB962C8B-B14F-4D97-AF65-F5344CB8AC3E}">
        <p14:creationId xmlns:p14="http://schemas.microsoft.com/office/powerpoint/2010/main" val="219990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2"/>
          <a:srcRect l="6962" r="2638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D59BA99-58EE-4191-92A6-40DE9237E89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5968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a:srcRect l="24645" r="8705"/>
          <a:stretch/>
        </p:blipFill>
        <p:spPr bwMode="ltGray">
          <a:xfrm>
            <a:off x="5334000" y="0"/>
            <a:ext cx="6858000" cy="6858000"/>
          </a:xfrm>
          <a:prstGeom prst="rect">
            <a:avLst/>
          </a:prstGeom>
        </p:spPr>
      </p:pic>
    </p:spTree>
    <p:extLst>
      <p:ext uri="{BB962C8B-B14F-4D97-AF65-F5344CB8AC3E}">
        <p14:creationId xmlns:p14="http://schemas.microsoft.com/office/powerpoint/2010/main" val="2805376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2"/>
          <a:srcRect l="24645" r="870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BB987B22-7D52-4FB8-9B0B-6BED879C862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1599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a:srcRect l="14983" r="18368"/>
          <a:stretch/>
        </p:blipFill>
        <p:spPr bwMode="ltGray">
          <a:xfrm>
            <a:off x="5334000" y="0"/>
            <a:ext cx="6858000" cy="6858000"/>
          </a:xfrm>
          <a:prstGeom prst="rect">
            <a:avLst/>
          </a:prstGeom>
        </p:spPr>
      </p:pic>
    </p:spTree>
    <p:extLst>
      <p:ext uri="{BB962C8B-B14F-4D97-AF65-F5344CB8AC3E}">
        <p14:creationId xmlns:p14="http://schemas.microsoft.com/office/powerpoint/2010/main" val="2982859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2"/>
          <a:srcRect l="14983" r="1836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4F78EA6-C415-4F5F-B38D-DA3D72FB9C7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768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a:srcRect l="32882" r="469"/>
          <a:stretch/>
        </p:blipFill>
        <p:spPr bwMode="ltGray">
          <a:xfrm>
            <a:off x="5334000" y="0"/>
            <a:ext cx="6858000" cy="6858000"/>
          </a:xfrm>
          <a:prstGeom prst="rect">
            <a:avLst/>
          </a:prstGeom>
        </p:spPr>
      </p:pic>
    </p:spTree>
    <p:extLst>
      <p:ext uri="{BB962C8B-B14F-4D97-AF65-F5344CB8AC3E}">
        <p14:creationId xmlns:p14="http://schemas.microsoft.com/office/powerpoint/2010/main" val="1549880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2"/>
          <a:srcRect l="32882" r="46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899F533A-A26D-490D-8772-90A63E1C935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8899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992868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MS logo white - EMF" descr="Microsoft logo white text version">
            <a:extLst>
              <a:ext uri="{FF2B5EF4-FFF2-40B4-BE49-F238E27FC236}">
                <a16:creationId xmlns:a16="http://schemas.microsoft.com/office/drawing/2014/main" id="{9E098FB9-B1FD-485A-9AC7-D9BB7370A2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people meeting in a conference room with masks.">
            <a:extLst>
              <a:ext uri="{FF2B5EF4-FFF2-40B4-BE49-F238E27FC236}">
                <a16:creationId xmlns:a16="http://schemas.microsoft.com/office/drawing/2014/main" id="{6AB2B030-363A-4070-93A2-026970BCEE65}"/>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1040909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White_NoBreak">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tx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tx1"/>
                </a:solidFill>
              </a:defRPr>
            </a:lvl1pPr>
          </a:lstStyle>
          <a:p>
            <a:r>
              <a:rPr lang="en-US"/>
              <a:t>Microsoft Confidential</a:t>
            </a:r>
          </a:p>
        </p:txBody>
      </p:sp>
      <p:pic>
        <p:nvPicPr>
          <p:cNvPr id="9" name="MS logo gray - EMF" descr="Microsoft logo, gray text version">
            <a:extLst>
              <a:ext uri="{FF2B5EF4-FFF2-40B4-BE49-F238E27FC236}">
                <a16:creationId xmlns:a16="http://schemas.microsoft.com/office/drawing/2014/main" id="{F4EC7EC5-3DE3-2CB4-7AB0-8522148E3D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sp>
        <p:nvSpPr>
          <p:cNvPr id="3" name="Text Placeholder 9">
            <a:extLst>
              <a:ext uri="{FF2B5EF4-FFF2-40B4-BE49-F238E27FC236}">
                <a16:creationId xmlns:a16="http://schemas.microsoft.com/office/drawing/2014/main" id="{9AF400F6-F5AC-2B39-EEC9-301A2C740E23}"/>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tx1"/>
                </a:solidFill>
              </a:defRPr>
            </a:lvl1pPr>
          </a:lstStyle>
          <a:p>
            <a:pPr lvl="0"/>
            <a:r>
              <a:rPr lang="en-US"/>
              <a:t>MCAPS Academy Presents</a:t>
            </a:r>
          </a:p>
        </p:txBody>
      </p:sp>
    </p:spTree>
    <p:extLst>
      <p:ext uri="{BB962C8B-B14F-4D97-AF65-F5344CB8AC3E}">
        <p14:creationId xmlns:p14="http://schemas.microsoft.com/office/powerpoint/2010/main" val="10212376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57373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024430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28825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68015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82116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3146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48488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9853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860152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1029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32463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0078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570183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106045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17258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22926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03677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8245967"/>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85469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1264478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_Gradient_Dark">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1DCD9B43-714C-2FF2-432D-9FD044DC4EDF}"/>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CA712EDF-3A9B-23E2-ACC4-CAAFBD2EF6FC}"/>
              </a:ext>
            </a:extLst>
          </p:cNvPr>
          <p:cNvSpPr>
            <a:spLocks noGrp="1"/>
          </p:cNvSpPr>
          <p:nvPr>
            <p:ph type="body" sz="quarter" idx="11" hasCustomPrompt="1"/>
          </p:nvPr>
        </p:nvSpPr>
        <p:spPr>
          <a:xfrm>
            <a:off x="584201" y="675179"/>
            <a:ext cx="11128187" cy="763655"/>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a:t>
            </a:r>
          </a:p>
        </p:txBody>
      </p:sp>
    </p:spTree>
    <p:extLst>
      <p:ext uri="{BB962C8B-B14F-4D97-AF65-F5344CB8AC3E}">
        <p14:creationId xmlns:p14="http://schemas.microsoft.com/office/powerpoint/2010/main" val="2295720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946344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7086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556872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89454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01743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81965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798611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90014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55029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73034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354.xml"/><Relationship Id="rId117" Type="http://schemas.openxmlformats.org/officeDocument/2006/relationships/slideLayout" Target="../slideLayouts/slideLayout445.xml"/><Relationship Id="rId21" Type="http://schemas.openxmlformats.org/officeDocument/2006/relationships/slideLayout" Target="../slideLayouts/slideLayout349.xml"/><Relationship Id="rId42" Type="http://schemas.openxmlformats.org/officeDocument/2006/relationships/slideLayout" Target="../slideLayouts/slideLayout370.xml"/><Relationship Id="rId47" Type="http://schemas.openxmlformats.org/officeDocument/2006/relationships/slideLayout" Target="../slideLayouts/slideLayout375.xml"/><Relationship Id="rId63" Type="http://schemas.openxmlformats.org/officeDocument/2006/relationships/slideLayout" Target="../slideLayouts/slideLayout391.xml"/><Relationship Id="rId68" Type="http://schemas.openxmlformats.org/officeDocument/2006/relationships/slideLayout" Target="../slideLayouts/slideLayout396.xml"/><Relationship Id="rId84" Type="http://schemas.openxmlformats.org/officeDocument/2006/relationships/slideLayout" Target="../slideLayouts/slideLayout412.xml"/><Relationship Id="rId89" Type="http://schemas.openxmlformats.org/officeDocument/2006/relationships/slideLayout" Target="../slideLayouts/slideLayout417.xml"/><Relationship Id="rId112" Type="http://schemas.openxmlformats.org/officeDocument/2006/relationships/slideLayout" Target="../slideLayouts/slideLayout440.xml"/><Relationship Id="rId16" Type="http://schemas.openxmlformats.org/officeDocument/2006/relationships/slideLayout" Target="../slideLayouts/slideLayout344.xml"/><Relationship Id="rId107" Type="http://schemas.openxmlformats.org/officeDocument/2006/relationships/slideLayout" Target="../slideLayouts/slideLayout435.xml"/><Relationship Id="rId11" Type="http://schemas.openxmlformats.org/officeDocument/2006/relationships/slideLayout" Target="../slideLayouts/slideLayout339.xml"/><Relationship Id="rId32" Type="http://schemas.openxmlformats.org/officeDocument/2006/relationships/slideLayout" Target="../slideLayouts/slideLayout360.xml"/><Relationship Id="rId37" Type="http://schemas.openxmlformats.org/officeDocument/2006/relationships/slideLayout" Target="../slideLayouts/slideLayout365.xml"/><Relationship Id="rId53" Type="http://schemas.openxmlformats.org/officeDocument/2006/relationships/slideLayout" Target="../slideLayouts/slideLayout381.xml"/><Relationship Id="rId58" Type="http://schemas.openxmlformats.org/officeDocument/2006/relationships/slideLayout" Target="../slideLayouts/slideLayout386.xml"/><Relationship Id="rId74" Type="http://schemas.openxmlformats.org/officeDocument/2006/relationships/slideLayout" Target="../slideLayouts/slideLayout402.xml"/><Relationship Id="rId79" Type="http://schemas.openxmlformats.org/officeDocument/2006/relationships/slideLayout" Target="../slideLayouts/slideLayout407.xml"/><Relationship Id="rId102" Type="http://schemas.openxmlformats.org/officeDocument/2006/relationships/slideLayout" Target="../slideLayouts/slideLayout430.xml"/><Relationship Id="rId5" Type="http://schemas.openxmlformats.org/officeDocument/2006/relationships/slideLayout" Target="../slideLayouts/slideLayout333.xml"/><Relationship Id="rId90" Type="http://schemas.openxmlformats.org/officeDocument/2006/relationships/slideLayout" Target="../slideLayouts/slideLayout418.xml"/><Relationship Id="rId95" Type="http://schemas.openxmlformats.org/officeDocument/2006/relationships/slideLayout" Target="../slideLayouts/slideLayout423.xml"/><Relationship Id="rId22" Type="http://schemas.openxmlformats.org/officeDocument/2006/relationships/slideLayout" Target="../slideLayouts/slideLayout350.xml"/><Relationship Id="rId27" Type="http://schemas.openxmlformats.org/officeDocument/2006/relationships/slideLayout" Target="../slideLayouts/slideLayout355.xml"/><Relationship Id="rId43" Type="http://schemas.openxmlformats.org/officeDocument/2006/relationships/slideLayout" Target="../slideLayouts/slideLayout371.xml"/><Relationship Id="rId48" Type="http://schemas.openxmlformats.org/officeDocument/2006/relationships/slideLayout" Target="../slideLayouts/slideLayout376.xml"/><Relationship Id="rId64" Type="http://schemas.openxmlformats.org/officeDocument/2006/relationships/slideLayout" Target="../slideLayouts/slideLayout392.xml"/><Relationship Id="rId69" Type="http://schemas.openxmlformats.org/officeDocument/2006/relationships/slideLayout" Target="../slideLayouts/slideLayout397.xml"/><Relationship Id="rId113" Type="http://schemas.openxmlformats.org/officeDocument/2006/relationships/slideLayout" Target="../slideLayouts/slideLayout441.xml"/><Relationship Id="rId118" Type="http://schemas.openxmlformats.org/officeDocument/2006/relationships/theme" Target="../theme/theme10.xml"/><Relationship Id="rId80" Type="http://schemas.openxmlformats.org/officeDocument/2006/relationships/slideLayout" Target="../slideLayouts/slideLayout408.xml"/><Relationship Id="rId85" Type="http://schemas.openxmlformats.org/officeDocument/2006/relationships/slideLayout" Target="../slideLayouts/slideLayout413.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33" Type="http://schemas.openxmlformats.org/officeDocument/2006/relationships/slideLayout" Target="../slideLayouts/slideLayout361.xml"/><Relationship Id="rId38" Type="http://schemas.openxmlformats.org/officeDocument/2006/relationships/slideLayout" Target="../slideLayouts/slideLayout366.xml"/><Relationship Id="rId59" Type="http://schemas.openxmlformats.org/officeDocument/2006/relationships/slideLayout" Target="../slideLayouts/slideLayout387.xml"/><Relationship Id="rId103" Type="http://schemas.openxmlformats.org/officeDocument/2006/relationships/slideLayout" Target="../slideLayouts/slideLayout431.xml"/><Relationship Id="rId108" Type="http://schemas.openxmlformats.org/officeDocument/2006/relationships/slideLayout" Target="../slideLayouts/slideLayout436.xml"/><Relationship Id="rId54" Type="http://schemas.openxmlformats.org/officeDocument/2006/relationships/slideLayout" Target="../slideLayouts/slideLayout382.xml"/><Relationship Id="rId70" Type="http://schemas.openxmlformats.org/officeDocument/2006/relationships/slideLayout" Target="../slideLayouts/slideLayout398.xml"/><Relationship Id="rId75" Type="http://schemas.openxmlformats.org/officeDocument/2006/relationships/slideLayout" Target="../slideLayouts/slideLayout403.xml"/><Relationship Id="rId91" Type="http://schemas.openxmlformats.org/officeDocument/2006/relationships/slideLayout" Target="../slideLayouts/slideLayout419.xml"/><Relationship Id="rId96" Type="http://schemas.openxmlformats.org/officeDocument/2006/relationships/slideLayout" Target="../slideLayouts/slideLayout424.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23" Type="http://schemas.openxmlformats.org/officeDocument/2006/relationships/slideLayout" Target="../slideLayouts/slideLayout351.xml"/><Relationship Id="rId28" Type="http://schemas.openxmlformats.org/officeDocument/2006/relationships/slideLayout" Target="../slideLayouts/slideLayout356.xml"/><Relationship Id="rId49" Type="http://schemas.openxmlformats.org/officeDocument/2006/relationships/slideLayout" Target="../slideLayouts/slideLayout377.xml"/><Relationship Id="rId114" Type="http://schemas.openxmlformats.org/officeDocument/2006/relationships/slideLayout" Target="../slideLayouts/slideLayout442.xml"/><Relationship Id="rId119" Type="http://schemas.openxmlformats.org/officeDocument/2006/relationships/image" Target="../media/image71.png"/><Relationship Id="rId10" Type="http://schemas.openxmlformats.org/officeDocument/2006/relationships/slideLayout" Target="../slideLayouts/slideLayout338.xml"/><Relationship Id="rId31" Type="http://schemas.openxmlformats.org/officeDocument/2006/relationships/slideLayout" Target="../slideLayouts/slideLayout359.xml"/><Relationship Id="rId44" Type="http://schemas.openxmlformats.org/officeDocument/2006/relationships/slideLayout" Target="../slideLayouts/slideLayout372.xml"/><Relationship Id="rId52" Type="http://schemas.openxmlformats.org/officeDocument/2006/relationships/slideLayout" Target="../slideLayouts/slideLayout380.xml"/><Relationship Id="rId60" Type="http://schemas.openxmlformats.org/officeDocument/2006/relationships/slideLayout" Target="../slideLayouts/slideLayout388.xml"/><Relationship Id="rId65" Type="http://schemas.openxmlformats.org/officeDocument/2006/relationships/slideLayout" Target="../slideLayouts/slideLayout393.xml"/><Relationship Id="rId73" Type="http://schemas.openxmlformats.org/officeDocument/2006/relationships/slideLayout" Target="../slideLayouts/slideLayout401.xml"/><Relationship Id="rId78" Type="http://schemas.openxmlformats.org/officeDocument/2006/relationships/slideLayout" Target="../slideLayouts/slideLayout406.xml"/><Relationship Id="rId81" Type="http://schemas.openxmlformats.org/officeDocument/2006/relationships/slideLayout" Target="../slideLayouts/slideLayout409.xml"/><Relationship Id="rId86" Type="http://schemas.openxmlformats.org/officeDocument/2006/relationships/slideLayout" Target="../slideLayouts/slideLayout414.xml"/><Relationship Id="rId94" Type="http://schemas.openxmlformats.org/officeDocument/2006/relationships/slideLayout" Target="../slideLayouts/slideLayout422.xml"/><Relationship Id="rId99" Type="http://schemas.openxmlformats.org/officeDocument/2006/relationships/slideLayout" Target="../slideLayouts/slideLayout427.xml"/><Relationship Id="rId101" Type="http://schemas.openxmlformats.org/officeDocument/2006/relationships/slideLayout" Target="../slideLayouts/slideLayout429.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39" Type="http://schemas.openxmlformats.org/officeDocument/2006/relationships/slideLayout" Target="../slideLayouts/slideLayout367.xml"/><Relationship Id="rId109" Type="http://schemas.openxmlformats.org/officeDocument/2006/relationships/slideLayout" Target="../slideLayouts/slideLayout437.xml"/><Relationship Id="rId34" Type="http://schemas.openxmlformats.org/officeDocument/2006/relationships/slideLayout" Target="../slideLayouts/slideLayout362.xml"/><Relationship Id="rId50" Type="http://schemas.openxmlformats.org/officeDocument/2006/relationships/slideLayout" Target="../slideLayouts/slideLayout378.xml"/><Relationship Id="rId55" Type="http://schemas.openxmlformats.org/officeDocument/2006/relationships/slideLayout" Target="../slideLayouts/slideLayout383.xml"/><Relationship Id="rId76" Type="http://schemas.openxmlformats.org/officeDocument/2006/relationships/slideLayout" Target="../slideLayouts/slideLayout404.xml"/><Relationship Id="rId97" Type="http://schemas.openxmlformats.org/officeDocument/2006/relationships/slideLayout" Target="../slideLayouts/slideLayout425.xml"/><Relationship Id="rId104" Type="http://schemas.openxmlformats.org/officeDocument/2006/relationships/slideLayout" Target="../slideLayouts/slideLayout432.xml"/><Relationship Id="rId7" Type="http://schemas.openxmlformats.org/officeDocument/2006/relationships/slideLayout" Target="../slideLayouts/slideLayout335.xml"/><Relationship Id="rId71" Type="http://schemas.openxmlformats.org/officeDocument/2006/relationships/slideLayout" Target="../slideLayouts/slideLayout399.xml"/><Relationship Id="rId92" Type="http://schemas.openxmlformats.org/officeDocument/2006/relationships/slideLayout" Target="../slideLayouts/slideLayout420.xml"/><Relationship Id="rId2" Type="http://schemas.openxmlformats.org/officeDocument/2006/relationships/slideLayout" Target="../slideLayouts/slideLayout330.xml"/><Relationship Id="rId29" Type="http://schemas.openxmlformats.org/officeDocument/2006/relationships/slideLayout" Target="../slideLayouts/slideLayout357.xml"/><Relationship Id="rId24" Type="http://schemas.openxmlformats.org/officeDocument/2006/relationships/slideLayout" Target="../slideLayouts/slideLayout352.xml"/><Relationship Id="rId40" Type="http://schemas.openxmlformats.org/officeDocument/2006/relationships/slideLayout" Target="../slideLayouts/slideLayout368.xml"/><Relationship Id="rId45" Type="http://schemas.openxmlformats.org/officeDocument/2006/relationships/slideLayout" Target="../slideLayouts/slideLayout373.xml"/><Relationship Id="rId66" Type="http://schemas.openxmlformats.org/officeDocument/2006/relationships/slideLayout" Target="../slideLayouts/slideLayout394.xml"/><Relationship Id="rId87" Type="http://schemas.openxmlformats.org/officeDocument/2006/relationships/slideLayout" Target="../slideLayouts/slideLayout415.xml"/><Relationship Id="rId110" Type="http://schemas.openxmlformats.org/officeDocument/2006/relationships/slideLayout" Target="../slideLayouts/slideLayout438.xml"/><Relationship Id="rId115" Type="http://schemas.openxmlformats.org/officeDocument/2006/relationships/slideLayout" Target="../slideLayouts/slideLayout443.xml"/><Relationship Id="rId61" Type="http://schemas.openxmlformats.org/officeDocument/2006/relationships/slideLayout" Target="../slideLayouts/slideLayout389.xml"/><Relationship Id="rId82" Type="http://schemas.openxmlformats.org/officeDocument/2006/relationships/slideLayout" Target="../slideLayouts/slideLayout410.xml"/><Relationship Id="rId19" Type="http://schemas.openxmlformats.org/officeDocument/2006/relationships/slideLayout" Target="../slideLayouts/slideLayout347.xml"/><Relationship Id="rId14" Type="http://schemas.openxmlformats.org/officeDocument/2006/relationships/slideLayout" Target="../slideLayouts/slideLayout342.xml"/><Relationship Id="rId30" Type="http://schemas.openxmlformats.org/officeDocument/2006/relationships/slideLayout" Target="../slideLayouts/slideLayout358.xml"/><Relationship Id="rId35" Type="http://schemas.openxmlformats.org/officeDocument/2006/relationships/slideLayout" Target="../slideLayouts/slideLayout363.xml"/><Relationship Id="rId56" Type="http://schemas.openxmlformats.org/officeDocument/2006/relationships/slideLayout" Target="../slideLayouts/slideLayout384.xml"/><Relationship Id="rId77" Type="http://schemas.openxmlformats.org/officeDocument/2006/relationships/slideLayout" Target="../slideLayouts/slideLayout405.xml"/><Relationship Id="rId100" Type="http://schemas.openxmlformats.org/officeDocument/2006/relationships/slideLayout" Target="../slideLayouts/slideLayout428.xml"/><Relationship Id="rId105" Type="http://schemas.openxmlformats.org/officeDocument/2006/relationships/slideLayout" Target="../slideLayouts/slideLayout433.xml"/><Relationship Id="rId8" Type="http://schemas.openxmlformats.org/officeDocument/2006/relationships/slideLayout" Target="../slideLayouts/slideLayout336.xml"/><Relationship Id="rId51" Type="http://schemas.openxmlformats.org/officeDocument/2006/relationships/slideLayout" Target="../slideLayouts/slideLayout379.xml"/><Relationship Id="rId72" Type="http://schemas.openxmlformats.org/officeDocument/2006/relationships/slideLayout" Target="../slideLayouts/slideLayout400.xml"/><Relationship Id="rId93" Type="http://schemas.openxmlformats.org/officeDocument/2006/relationships/slideLayout" Target="../slideLayouts/slideLayout421.xml"/><Relationship Id="rId98" Type="http://schemas.openxmlformats.org/officeDocument/2006/relationships/slideLayout" Target="../slideLayouts/slideLayout426.xml"/><Relationship Id="rId3" Type="http://schemas.openxmlformats.org/officeDocument/2006/relationships/slideLayout" Target="../slideLayouts/slideLayout331.xml"/><Relationship Id="rId25" Type="http://schemas.openxmlformats.org/officeDocument/2006/relationships/slideLayout" Target="../slideLayouts/slideLayout353.xml"/><Relationship Id="rId46" Type="http://schemas.openxmlformats.org/officeDocument/2006/relationships/slideLayout" Target="../slideLayouts/slideLayout374.xml"/><Relationship Id="rId67" Type="http://schemas.openxmlformats.org/officeDocument/2006/relationships/slideLayout" Target="../slideLayouts/slideLayout395.xml"/><Relationship Id="rId116" Type="http://schemas.openxmlformats.org/officeDocument/2006/relationships/slideLayout" Target="../slideLayouts/slideLayout444.xml"/><Relationship Id="rId20" Type="http://schemas.openxmlformats.org/officeDocument/2006/relationships/slideLayout" Target="../slideLayouts/slideLayout348.xml"/><Relationship Id="rId41" Type="http://schemas.openxmlformats.org/officeDocument/2006/relationships/slideLayout" Target="../slideLayouts/slideLayout369.xml"/><Relationship Id="rId62" Type="http://schemas.openxmlformats.org/officeDocument/2006/relationships/slideLayout" Target="../slideLayouts/slideLayout390.xml"/><Relationship Id="rId83" Type="http://schemas.openxmlformats.org/officeDocument/2006/relationships/slideLayout" Target="../slideLayouts/slideLayout411.xml"/><Relationship Id="rId88" Type="http://schemas.openxmlformats.org/officeDocument/2006/relationships/slideLayout" Target="../slideLayouts/slideLayout416.xml"/><Relationship Id="rId111" Type="http://schemas.openxmlformats.org/officeDocument/2006/relationships/slideLayout" Target="../slideLayouts/slideLayout439.xml"/><Relationship Id="rId15" Type="http://schemas.openxmlformats.org/officeDocument/2006/relationships/slideLayout" Target="../slideLayouts/slideLayout343.xml"/><Relationship Id="rId36" Type="http://schemas.openxmlformats.org/officeDocument/2006/relationships/slideLayout" Target="../slideLayouts/slideLayout364.xml"/><Relationship Id="rId57" Type="http://schemas.openxmlformats.org/officeDocument/2006/relationships/slideLayout" Target="../slideLayouts/slideLayout385.xml"/><Relationship Id="rId106" Type="http://schemas.openxmlformats.org/officeDocument/2006/relationships/slideLayout" Target="../slideLayouts/slideLayout434.x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471.xml"/><Relationship Id="rId117" Type="http://schemas.openxmlformats.org/officeDocument/2006/relationships/slideLayout" Target="../slideLayouts/slideLayout562.xml"/><Relationship Id="rId21" Type="http://schemas.openxmlformats.org/officeDocument/2006/relationships/slideLayout" Target="../slideLayouts/slideLayout466.xml"/><Relationship Id="rId42" Type="http://schemas.openxmlformats.org/officeDocument/2006/relationships/slideLayout" Target="../slideLayouts/slideLayout487.xml"/><Relationship Id="rId47" Type="http://schemas.openxmlformats.org/officeDocument/2006/relationships/slideLayout" Target="../slideLayouts/slideLayout492.xml"/><Relationship Id="rId63" Type="http://schemas.openxmlformats.org/officeDocument/2006/relationships/slideLayout" Target="../slideLayouts/slideLayout508.xml"/><Relationship Id="rId68" Type="http://schemas.openxmlformats.org/officeDocument/2006/relationships/slideLayout" Target="../slideLayouts/slideLayout513.xml"/><Relationship Id="rId84" Type="http://schemas.openxmlformats.org/officeDocument/2006/relationships/slideLayout" Target="../slideLayouts/slideLayout529.xml"/><Relationship Id="rId89" Type="http://schemas.openxmlformats.org/officeDocument/2006/relationships/slideLayout" Target="../slideLayouts/slideLayout534.xml"/><Relationship Id="rId112" Type="http://schemas.openxmlformats.org/officeDocument/2006/relationships/slideLayout" Target="../slideLayouts/slideLayout557.xml"/><Relationship Id="rId16" Type="http://schemas.openxmlformats.org/officeDocument/2006/relationships/slideLayout" Target="../slideLayouts/slideLayout461.xml"/><Relationship Id="rId107" Type="http://schemas.openxmlformats.org/officeDocument/2006/relationships/slideLayout" Target="../slideLayouts/slideLayout552.xml"/><Relationship Id="rId11" Type="http://schemas.openxmlformats.org/officeDocument/2006/relationships/slideLayout" Target="../slideLayouts/slideLayout456.xml"/><Relationship Id="rId32" Type="http://schemas.openxmlformats.org/officeDocument/2006/relationships/slideLayout" Target="../slideLayouts/slideLayout477.xml"/><Relationship Id="rId37" Type="http://schemas.openxmlformats.org/officeDocument/2006/relationships/slideLayout" Target="../slideLayouts/slideLayout482.xml"/><Relationship Id="rId53" Type="http://schemas.openxmlformats.org/officeDocument/2006/relationships/slideLayout" Target="../slideLayouts/slideLayout498.xml"/><Relationship Id="rId58" Type="http://schemas.openxmlformats.org/officeDocument/2006/relationships/slideLayout" Target="../slideLayouts/slideLayout503.xml"/><Relationship Id="rId74" Type="http://schemas.openxmlformats.org/officeDocument/2006/relationships/slideLayout" Target="../slideLayouts/slideLayout519.xml"/><Relationship Id="rId79" Type="http://schemas.openxmlformats.org/officeDocument/2006/relationships/slideLayout" Target="../slideLayouts/slideLayout524.xml"/><Relationship Id="rId102" Type="http://schemas.openxmlformats.org/officeDocument/2006/relationships/slideLayout" Target="../slideLayouts/slideLayout547.xml"/><Relationship Id="rId5" Type="http://schemas.openxmlformats.org/officeDocument/2006/relationships/slideLayout" Target="../slideLayouts/slideLayout450.xml"/><Relationship Id="rId90" Type="http://schemas.openxmlformats.org/officeDocument/2006/relationships/slideLayout" Target="../slideLayouts/slideLayout535.xml"/><Relationship Id="rId95" Type="http://schemas.openxmlformats.org/officeDocument/2006/relationships/slideLayout" Target="../slideLayouts/slideLayout540.xml"/><Relationship Id="rId22" Type="http://schemas.openxmlformats.org/officeDocument/2006/relationships/slideLayout" Target="../slideLayouts/slideLayout467.xml"/><Relationship Id="rId27" Type="http://schemas.openxmlformats.org/officeDocument/2006/relationships/slideLayout" Target="../slideLayouts/slideLayout472.xml"/><Relationship Id="rId43" Type="http://schemas.openxmlformats.org/officeDocument/2006/relationships/slideLayout" Target="../slideLayouts/slideLayout488.xml"/><Relationship Id="rId48" Type="http://schemas.openxmlformats.org/officeDocument/2006/relationships/slideLayout" Target="../slideLayouts/slideLayout493.xml"/><Relationship Id="rId64" Type="http://schemas.openxmlformats.org/officeDocument/2006/relationships/slideLayout" Target="../slideLayouts/slideLayout509.xml"/><Relationship Id="rId69" Type="http://schemas.openxmlformats.org/officeDocument/2006/relationships/slideLayout" Target="../slideLayouts/slideLayout514.xml"/><Relationship Id="rId113" Type="http://schemas.openxmlformats.org/officeDocument/2006/relationships/slideLayout" Target="../slideLayouts/slideLayout558.xml"/><Relationship Id="rId118" Type="http://schemas.openxmlformats.org/officeDocument/2006/relationships/slideLayout" Target="../slideLayouts/slideLayout563.xml"/><Relationship Id="rId80" Type="http://schemas.openxmlformats.org/officeDocument/2006/relationships/slideLayout" Target="../slideLayouts/slideLayout525.xml"/><Relationship Id="rId85" Type="http://schemas.openxmlformats.org/officeDocument/2006/relationships/slideLayout" Target="../slideLayouts/slideLayout530.xml"/><Relationship Id="rId12" Type="http://schemas.openxmlformats.org/officeDocument/2006/relationships/slideLayout" Target="../slideLayouts/slideLayout457.xml"/><Relationship Id="rId17" Type="http://schemas.openxmlformats.org/officeDocument/2006/relationships/slideLayout" Target="../slideLayouts/slideLayout462.xml"/><Relationship Id="rId33" Type="http://schemas.openxmlformats.org/officeDocument/2006/relationships/slideLayout" Target="../slideLayouts/slideLayout478.xml"/><Relationship Id="rId38" Type="http://schemas.openxmlformats.org/officeDocument/2006/relationships/slideLayout" Target="../slideLayouts/slideLayout483.xml"/><Relationship Id="rId59" Type="http://schemas.openxmlformats.org/officeDocument/2006/relationships/slideLayout" Target="../slideLayouts/slideLayout504.xml"/><Relationship Id="rId103" Type="http://schemas.openxmlformats.org/officeDocument/2006/relationships/slideLayout" Target="../slideLayouts/slideLayout548.xml"/><Relationship Id="rId108" Type="http://schemas.openxmlformats.org/officeDocument/2006/relationships/slideLayout" Target="../slideLayouts/slideLayout553.xml"/><Relationship Id="rId54" Type="http://schemas.openxmlformats.org/officeDocument/2006/relationships/slideLayout" Target="../slideLayouts/slideLayout499.xml"/><Relationship Id="rId70" Type="http://schemas.openxmlformats.org/officeDocument/2006/relationships/slideLayout" Target="../slideLayouts/slideLayout515.xml"/><Relationship Id="rId75" Type="http://schemas.openxmlformats.org/officeDocument/2006/relationships/slideLayout" Target="../slideLayouts/slideLayout520.xml"/><Relationship Id="rId91" Type="http://schemas.openxmlformats.org/officeDocument/2006/relationships/slideLayout" Target="../slideLayouts/slideLayout536.xml"/><Relationship Id="rId96" Type="http://schemas.openxmlformats.org/officeDocument/2006/relationships/slideLayout" Target="../slideLayouts/slideLayout541.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23" Type="http://schemas.openxmlformats.org/officeDocument/2006/relationships/slideLayout" Target="../slideLayouts/slideLayout468.xml"/><Relationship Id="rId28" Type="http://schemas.openxmlformats.org/officeDocument/2006/relationships/slideLayout" Target="../slideLayouts/slideLayout473.xml"/><Relationship Id="rId49" Type="http://schemas.openxmlformats.org/officeDocument/2006/relationships/slideLayout" Target="../slideLayouts/slideLayout494.xml"/><Relationship Id="rId114" Type="http://schemas.openxmlformats.org/officeDocument/2006/relationships/slideLayout" Target="../slideLayouts/slideLayout559.xml"/><Relationship Id="rId119" Type="http://schemas.openxmlformats.org/officeDocument/2006/relationships/theme" Target="../theme/theme11.xml"/><Relationship Id="rId10" Type="http://schemas.openxmlformats.org/officeDocument/2006/relationships/slideLayout" Target="../slideLayouts/slideLayout455.xml"/><Relationship Id="rId31" Type="http://schemas.openxmlformats.org/officeDocument/2006/relationships/slideLayout" Target="../slideLayouts/slideLayout476.xml"/><Relationship Id="rId44" Type="http://schemas.openxmlformats.org/officeDocument/2006/relationships/slideLayout" Target="../slideLayouts/slideLayout489.xml"/><Relationship Id="rId52" Type="http://schemas.openxmlformats.org/officeDocument/2006/relationships/slideLayout" Target="../slideLayouts/slideLayout497.xml"/><Relationship Id="rId60" Type="http://schemas.openxmlformats.org/officeDocument/2006/relationships/slideLayout" Target="../slideLayouts/slideLayout505.xml"/><Relationship Id="rId65" Type="http://schemas.openxmlformats.org/officeDocument/2006/relationships/slideLayout" Target="../slideLayouts/slideLayout510.xml"/><Relationship Id="rId73" Type="http://schemas.openxmlformats.org/officeDocument/2006/relationships/slideLayout" Target="../slideLayouts/slideLayout518.xml"/><Relationship Id="rId78" Type="http://schemas.openxmlformats.org/officeDocument/2006/relationships/slideLayout" Target="../slideLayouts/slideLayout523.xml"/><Relationship Id="rId81" Type="http://schemas.openxmlformats.org/officeDocument/2006/relationships/slideLayout" Target="../slideLayouts/slideLayout526.xml"/><Relationship Id="rId86" Type="http://schemas.openxmlformats.org/officeDocument/2006/relationships/slideLayout" Target="../slideLayouts/slideLayout531.xml"/><Relationship Id="rId94" Type="http://schemas.openxmlformats.org/officeDocument/2006/relationships/slideLayout" Target="../slideLayouts/slideLayout539.xml"/><Relationship Id="rId99" Type="http://schemas.openxmlformats.org/officeDocument/2006/relationships/slideLayout" Target="../slideLayouts/slideLayout544.xml"/><Relationship Id="rId101" Type="http://schemas.openxmlformats.org/officeDocument/2006/relationships/slideLayout" Target="../slideLayouts/slideLayout546.xml"/><Relationship Id="rId4" Type="http://schemas.openxmlformats.org/officeDocument/2006/relationships/slideLayout" Target="../slideLayouts/slideLayout449.xml"/><Relationship Id="rId9" Type="http://schemas.openxmlformats.org/officeDocument/2006/relationships/slideLayout" Target="../slideLayouts/slideLayout454.xml"/><Relationship Id="rId13" Type="http://schemas.openxmlformats.org/officeDocument/2006/relationships/slideLayout" Target="../slideLayouts/slideLayout458.xml"/><Relationship Id="rId18" Type="http://schemas.openxmlformats.org/officeDocument/2006/relationships/slideLayout" Target="../slideLayouts/slideLayout463.xml"/><Relationship Id="rId39" Type="http://schemas.openxmlformats.org/officeDocument/2006/relationships/slideLayout" Target="../slideLayouts/slideLayout484.xml"/><Relationship Id="rId109" Type="http://schemas.openxmlformats.org/officeDocument/2006/relationships/slideLayout" Target="../slideLayouts/slideLayout554.xml"/><Relationship Id="rId34" Type="http://schemas.openxmlformats.org/officeDocument/2006/relationships/slideLayout" Target="../slideLayouts/slideLayout479.xml"/><Relationship Id="rId50" Type="http://schemas.openxmlformats.org/officeDocument/2006/relationships/slideLayout" Target="../slideLayouts/slideLayout495.xml"/><Relationship Id="rId55" Type="http://schemas.openxmlformats.org/officeDocument/2006/relationships/slideLayout" Target="../slideLayouts/slideLayout500.xml"/><Relationship Id="rId76" Type="http://schemas.openxmlformats.org/officeDocument/2006/relationships/slideLayout" Target="../slideLayouts/slideLayout521.xml"/><Relationship Id="rId97" Type="http://schemas.openxmlformats.org/officeDocument/2006/relationships/slideLayout" Target="../slideLayouts/slideLayout542.xml"/><Relationship Id="rId104" Type="http://schemas.openxmlformats.org/officeDocument/2006/relationships/slideLayout" Target="../slideLayouts/slideLayout549.xml"/><Relationship Id="rId120" Type="http://schemas.openxmlformats.org/officeDocument/2006/relationships/image" Target="../media/image71.png"/><Relationship Id="rId7" Type="http://schemas.openxmlformats.org/officeDocument/2006/relationships/slideLayout" Target="../slideLayouts/slideLayout452.xml"/><Relationship Id="rId71" Type="http://schemas.openxmlformats.org/officeDocument/2006/relationships/slideLayout" Target="../slideLayouts/slideLayout516.xml"/><Relationship Id="rId92" Type="http://schemas.openxmlformats.org/officeDocument/2006/relationships/slideLayout" Target="../slideLayouts/slideLayout537.xml"/><Relationship Id="rId2" Type="http://schemas.openxmlformats.org/officeDocument/2006/relationships/slideLayout" Target="../slideLayouts/slideLayout447.xml"/><Relationship Id="rId29" Type="http://schemas.openxmlformats.org/officeDocument/2006/relationships/slideLayout" Target="../slideLayouts/slideLayout474.xml"/><Relationship Id="rId24" Type="http://schemas.openxmlformats.org/officeDocument/2006/relationships/slideLayout" Target="../slideLayouts/slideLayout469.xml"/><Relationship Id="rId40" Type="http://schemas.openxmlformats.org/officeDocument/2006/relationships/slideLayout" Target="../slideLayouts/slideLayout485.xml"/><Relationship Id="rId45" Type="http://schemas.openxmlformats.org/officeDocument/2006/relationships/slideLayout" Target="../slideLayouts/slideLayout490.xml"/><Relationship Id="rId66" Type="http://schemas.openxmlformats.org/officeDocument/2006/relationships/slideLayout" Target="../slideLayouts/slideLayout511.xml"/><Relationship Id="rId87" Type="http://schemas.openxmlformats.org/officeDocument/2006/relationships/slideLayout" Target="../slideLayouts/slideLayout532.xml"/><Relationship Id="rId110" Type="http://schemas.openxmlformats.org/officeDocument/2006/relationships/slideLayout" Target="../slideLayouts/slideLayout555.xml"/><Relationship Id="rId115" Type="http://schemas.openxmlformats.org/officeDocument/2006/relationships/slideLayout" Target="../slideLayouts/slideLayout560.xml"/><Relationship Id="rId61" Type="http://schemas.openxmlformats.org/officeDocument/2006/relationships/slideLayout" Target="../slideLayouts/slideLayout506.xml"/><Relationship Id="rId82" Type="http://schemas.openxmlformats.org/officeDocument/2006/relationships/slideLayout" Target="../slideLayouts/slideLayout527.xml"/><Relationship Id="rId19" Type="http://schemas.openxmlformats.org/officeDocument/2006/relationships/slideLayout" Target="../slideLayouts/slideLayout464.xml"/><Relationship Id="rId14" Type="http://schemas.openxmlformats.org/officeDocument/2006/relationships/slideLayout" Target="../slideLayouts/slideLayout459.xml"/><Relationship Id="rId30" Type="http://schemas.openxmlformats.org/officeDocument/2006/relationships/slideLayout" Target="../slideLayouts/slideLayout475.xml"/><Relationship Id="rId35" Type="http://schemas.openxmlformats.org/officeDocument/2006/relationships/slideLayout" Target="../slideLayouts/slideLayout480.xml"/><Relationship Id="rId56" Type="http://schemas.openxmlformats.org/officeDocument/2006/relationships/slideLayout" Target="../slideLayouts/slideLayout501.xml"/><Relationship Id="rId77" Type="http://schemas.openxmlformats.org/officeDocument/2006/relationships/slideLayout" Target="../slideLayouts/slideLayout522.xml"/><Relationship Id="rId100" Type="http://schemas.openxmlformats.org/officeDocument/2006/relationships/slideLayout" Target="../slideLayouts/slideLayout545.xml"/><Relationship Id="rId105" Type="http://schemas.openxmlformats.org/officeDocument/2006/relationships/slideLayout" Target="../slideLayouts/slideLayout550.xml"/><Relationship Id="rId8" Type="http://schemas.openxmlformats.org/officeDocument/2006/relationships/slideLayout" Target="../slideLayouts/slideLayout453.xml"/><Relationship Id="rId51" Type="http://schemas.openxmlformats.org/officeDocument/2006/relationships/slideLayout" Target="../slideLayouts/slideLayout496.xml"/><Relationship Id="rId72" Type="http://schemas.openxmlformats.org/officeDocument/2006/relationships/slideLayout" Target="../slideLayouts/slideLayout517.xml"/><Relationship Id="rId93" Type="http://schemas.openxmlformats.org/officeDocument/2006/relationships/slideLayout" Target="../slideLayouts/slideLayout538.xml"/><Relationship Id="rId98" Type="http://schemas.openxmlformats.org/officeDocument/2006/relationships/slideLayout" Target="../slideLayouts/slideLayout543.xml"/><Relationship Id="rId3" Type="http://schemas.openxmlformats.org/officeDocument/2006/relationships/slideLayout" Target="../slideLayouts/slideLayout448.xml"/><Relationship Id="rId25" Type="http://schemas.openxmlformats.org/officeDocument/2006/relationships/slideLayout" Target="../slideLayouts/slideLayout470.xml"/><Relationship Id="rId46" Type="http://schemas.openxmlformats.org/officeDocument/2006/relationships/slideLayout" Target="../slideLayouts/slideLayout491.xml"/><Relationship Id="rId67" Type="http://schemas.openxmlformats.org/officeDocument/2006/relationships/slideLayout" Target="../slideLayouts/slideLayout512.xml"/><Relationship Id="rId116" Type="http://schemas.openxmlformats.org/officeDocument/2006/relationships/slideLayout" Target="../slideLayouts/slideLayout561.xml"/><Relationship Id="rId20" Type="http://schemas.openxmlformats.org/officeDocument/2006/relationships/slideLayout" Target="../slideLayouts/slideLayout465.xml"/><Relationship Id="rId41" Type="http://schemas.openxmlformats.org/officeDocument/2006/relationships/slideLayout" Target="../slideLayouts/slideLayout486.xml"/><Relationship Id="rId62" Type="http://schemas.openxmlformats.org/officeDocument/2006/relationships/slideLayout" Target="../slideLayouts/slideLayout507.xml"/><Relationship Id="rId83" Type="http://schemas.openxmlformats.org/officeDocument/2006/relationships/slideLayout" Target="../slideLayouts/slideLayout528.xml"/><Relationship Id="rId88" Type="http://schemas.openxmlformats.org/officeDocument/2006/relationships/slideLayout" Target="../slideLayouts/slideLayout533.xml"/><Relationship Id="rId111" Type="http://schemas.openxmlformats.org/officeDocument/2006/relationships/slideLayout" Target="../slideLayouts/slideLayout556.xml"/><Relationship Id="rId15" Type="http://schemas.openxmlformats.org/officeDocument/2006/relationships/slideLayout" Target="../slideLayouts/slideLayout460.xml"/><Relationship Id="rId36" Type="http://schemas.openxmlformats.org/officeDocument/2006/relationships/slideLayout" Target="../slideLayouts/slideLayout481.xml"/><Relationship Id="rId57" Type="http://schemas.openxmlformats.org/officeDocument/2006/relationships/slideLayout" Target="../slideLayouts/slideLayout502.xml"/><Relationship Id="rId106" Type="http://schemas.openxmlformats.org/officeDocument/2006/relationships/slideLayout" Target="../slideLayouts/slideLayout55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5.xml"/><Relationship Id="rId21" Type="http://schemas.openxmlformats.org/officeDocument/2006/relationships/slideLayout" Target="../slideLayouts/slideLayout60.xml"/><Relationship Id="rId42" Type="http://schemas.openxmlformats.org/officeDocument/2006/relationships/slideLayout" Target="../slideLayouts/slideLayout81.xml"/><Relationship Id="rId47" Type="http://schemas.openxmlformats.org/officeDocument/2006/relationships/slideLayout" Target="../slideLayouts/slideLayout86.xml"/><Relationship Id="rId63" Type="http://schemas.openxmlformats.org/officeDocument/2006/relationships/slideLayout" Target="../slideLayouts/slideLayout102.xml"/><Relationship Id="rId68" Type="http://schemas.openxmlformats.org/officeDocument/2006/relationships/slideLayout" Target="../slideLayouts/slideLayout107.xml"/><Relationship Id="rId84" Type="http://schemas.openxmlformats.org/officeDocument/2006/relationships/image" Target="../media/image9.emf"/><Relationship Id="rId16" Type="http://schemas.openxmlformats.org/officeDocument/2006/relationships/slideLayout" Target="../slideLayouts/slideLayout55.xml"/><Relationship Id="rId11" Type="http://schemas.openxmlformats.org/officeDocument/2006/relationships/slideLayout" Target="../slideLayouts/slideLayout50.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53" Type="http://schemas.openxmlformats.org/officeDocument/2006/relationships/slideLayout" Target="../slideLayouts/slideLayout92.xml"/><Relationship Id="rId58" Type="http://schemas.openxmlformats.org/officeDocument/2006/relationships/slideLayout" Target="../slideLayouts/slideLayout97.xml"/><Relationship Id="rId74" Type="http://schemas.openxmlformats.org/officeDocument/2006/relationships/slideLayout" Target="../slideLayouts/slideLayout113.xml"/><Relationship Id="rId79" Type="http://schemas.openxmlformats.org/officeDocument/2006/relationships/slideLayout" Target="../slideLayouts/slideLayout118.xml"/><Relationship Id="rId5" Type="http://schemas.openxmlformats.org/officeDocument/2006/relationships/slideLayout" Target="../slideLayouts/slideLayout44.xml"/><Relationship Id="rId61" Type="http://schemas.openxmlformats.org/officeDocument/2006/relationships/slideLayout" Target="../slideLayouts/slideLayout100.xml"/><Relationship Id="rId82" Type="http://schemas.openxmlformats.org/officeDocument/2006/relationships/slideLayout" Target="../slideLayouts/slideLayout121.xml"/><Relationship Id="rId19" Type="http://schemas.openxmlformats.org/officeDocument/2006/relationships/slideLayout" Target="../slideLayouts/slideLayout5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slideLayout" Target="../slideLayouts/slideLayout82.xml"/><Relationship Id="rId48" Type="http://schemas.openxmlformats.org/officeDocument/2006/relationships/slideLayout" Target="../slideLayouts/slideLayout87.xml"/><Relationship Id="rId56" Type="http://schemas.openxmlformats.org/officeDocument/2006/relationships/slideLayout" Target="../slideLayouts/slideLayout95.xml"/><Relationship Id="rId64" Type="http://schemas.openxmlformats.org/officeDocument/2006/relationships/slideLayout" Target="../slideLayouts/slideLayout103.xml"/><Relationship Id="rId69" Type="http://schemas.openxmlformats.org/officeDocument/2006/relationships/slideLayout" Target="../slideLayouts/slideLayout108.xml"/><Relationship Id="rId77" Type="http://schemas.openxmlformats.org/officeDocument/2006/relationships/slideLayout" Target="../slideLayouts/slideLayout116.xml"/><Relationship Id="rId8" Type="http://schemas.openxmlformats.org/officeDocument/2006/relationships/slideLayout" Target="../slideLayouts/slideLayout47.xml"/><Relationship Id="rId51" Type="http://schemas.openxmlformats.org/officeDocument/2006/relationships/slideLayout" Target="../slideLayouts/slideLayout90.xml"/><Relationship Id="rId72" Type="http://schemas.openxmlformats.org/officeDocument/2006/relationships/slideLayout" Target="../slideLayouts/slideLayout111.xml"/><Relationship Id="rId80" Type="http://schemas.openxmlformats.org/officeDocument/2006/relationships/slideLayout" Target="../slideLayouts/slideLayout119.xml"/><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slideLayout" Target="../slideLayouts/slideLayout85.xml"/><Relationship Id="rId59" Type="http://schemas.openxmlformats.org/officeDocument/2006/relationships/slideLayout" Target="../slideLayouts/slideLayout98.xml"/><Relationship Id="rId67" Type="http://schemas.openxmlformats.org/officeDocument/2006/relationships/slideLayout" Target="../slideLayouts/slideLayout106.xml"/><Relationship Id="rId20" Type="http://schemas.openxmlformats.org/officeDocument/2006/relationships/slideLayout" Target="../slideLayouts/slideLayout59.xml"/><Relationship Id="rId41" Type="http://schemas.openxmlformats.org/officeDocument/2006/relationships/slideLayout" Target="../slideLayouts/slideLayout80.xml"/><Relationship Id="rId54" Type="http://schemas.openxmlformats.org/officeDocument/2006/relationships/slideLayout" Target="../slideLayouts/slideLayout93.xml"/><Relationship Id="rId62" Type="http://schemas.openxmlformats.org/officeDocument/2006/relationships/slideLayout" Target="../slideLayouts/slideLayout101.xml"/><Relationship Id="rId70" Type="http://schemas.openxmlformats.org/officeDocument/2006/relationships/slideLayout" Target="../slideLayouts/slideLayout109.xml"/><Relationship Id="rId75" Type="http://schemas.openxmlformats.org/officeDocument/2006/relationships/slideLayout" Target="../slideLayouts/slideLayout114.xml"/><Relationship Id="rId83" Type="http://schemas.openxmlformats.org/officeDocument/2006/relationships/theme" Target="../theme/theme2.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49" Type="http://schemas.openxmlformats.org/officeDocument/2006/relationships/slideLayout" Target="../slideLayouts/slideLayout88.xml"/><Relationship Id="rId57" Type="http://schemas.openxmlformats.org/officeDocument/2006/relationships/slideLayout" Target="../slideLayouts/slideLayout96.xml"/><Relationship Id="rId10" Type="http://schemas.openxmlformats.org/officeDocument/2006/relationships/slideLayout" Target="../slideLayouts/slideLayout49.xml"/><Relationship Id="rId31" Type="http://schemas.openxmlformats.org/officeDocument/2006/relationships/slideLayout" Target="../slideLayouts/slideLayout70.xml"/><Relationship Id="rId44" Type="http://schemas.openxmlformats.org/officeDocument/2006/relationships/slideLayout" Target="../slideLayouts/slideLayout83.xml"/><Relationship Id="rId52" Type="http://schemas.openxmlformats.org/officeDocument/2006/relationships/slideLayout" Target="../slideLayouts/slideLayout91.xml"/><Relationship Id="rId60" Type="http://schemas.openxmlformats.org/officeDocument/2006/relationships/slideLayout" Target="../slideLayouts/slideLayout99.xml"/><Relationship Id="rId65" Type="http://schemas.openxmlformats.org/officeDocument/2006/relationships/slideLayout" Target="../slideLayouts/slideLayout104.xml"/><Relationship Id="rId73" Type="http://schemas.openxmlformats.org/officeDocument/2006/relationships/slideLayout" Target="../slideLayouts/slideLayout112.xml"/><Relationship Id="rId78" Type="http://schemas.openxmlformats.org/officeDocument/2006/relationships/slideLayout" Target="../slideLayouts/slideLayout117.xml"/><Relationship Id="rId81" Type="http://schemas.openxmlformats.org/officeDocument/2006/relationships/slideLayout" Target="../slideLayouts/slideLayout12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9" Type="http://schemas.openxmlformats.org/officeDocument/2006/relationships/slideLayout" Target="../slideLayouts/slideLayout78.xml"/><Relationship Id="rId34" Type="http://schemas.openxmlformats.org/officeDocument/2006/relationships/slideLayout" Target="../slideLayouts/slideLayout73.xml"/><Relationship Id="rId50" Type="http://schemas.openxmlformats.org/officeDocument/2006/relationships/slideLayout" Target="../slideLayouts/slideLayout89.xml"/><Relationship Id="rId55" Type="http://schemas.openxmlformats.org/officeDocument/2006/relationships/slideLayout" Target="../slideLayouts/slideLayout94.xml"/><Relationship Id="rId76" Type="http://schemas.openxmlformats.org/officeDocument/2006/relationships/slideLayout" Target="../slideLayouts/slideLayout115.xml"/><Relationship Id="rId7" Type="http://schemas.openxmlformats.org/officeDocument/2006/relationships/slideLayout" Target="../slideLayouts/slideLayout46.xml"/><Relationship Id="rId71" Type="http://schemas.openxmlformats.org/officeDocument/2006/relationships/slideLayout" Target="../slideLayouts/slideLayout110.xml"/><Relationship Id="rId2" Type="http://schemas.openxmlformats.org/officeDocument/2006/relationships/slideLayout" Target="../slideLayouts/slideLayout41.xml"/><Relationship Id="rId29" Type="http://schemas.openxmlformats.org/officeDocument/2006/relationships/slideLayout" Target="../slideLayouts/slideLayout68.xml"/><Relationship Id="rId24" Type="http://schemas.openxmlformats.org/officeDocument/2006/relationships/slideLayout" Target="../slideLayouts/slideLayout63.xml"/><Relationship Id="rId40" Type="http://schemas.openxmlformats.org/officeDocument/2006/relationships/slideLayout" Target="../slideLayouts/slideLayout79.xml"/><Relationship Id="rId45" Type="http://schemas.openxmlformats.org/officeDocument/2006/relationships/slideLayout" Target="../slideLayouts/slideLayout84.xml"/><Relationship Id="rId66" Type="http://schemas.openxmlformats.org/officeDocument/2006/relationships/slideLayout" Target="../slideLayouts/slideLayout10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9" Type="http://schemas.openxmlformats.org/officeDocument/2006/relationships/slideLayout" Target="../slideLayouts/slideLayout160.xml"/><Relationship Id="rId21" Type="http://schemas.openxmlformats.org/officeDocument/2006/relationships/slideLayout" Target="../slideLayouts/slideLayout142.xml"/><Relationship Id="rId34" Type="http://schemas.openxmlformats.org/officeDocument/2006/relationships/slideLayout" Target="../slideLayouts/slideLayout155.xml"/><Relationship Id="rId42" Type="http://schemas.openxmlformats.org/officeDocument/2006/relationships/slideLayout" Target="../slideLayouts/slideLayout163.xml"/><Relationship Id="rId7" Type="http://schemas.openxmlformats.org/officeDocument/2006/relationships/slideLayout" Target="../slideLayouts/slideLayout12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9" Type="http://schemas.openxmlformats.org/officeDocument/2006/relationships/slideLayout" Target="../slideLayouts/slideLayout150.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40" Type="http://schemas.openxmlformats.org/officeDocument/2006/relationships/slideLayout" Target="../slideLayouts/slideLayout161.xml"/><Relationship Id="rId45" Type="http://schemas.openxmlformats.org/officeDocument/2006/relationships/image" Target="../media/image9.emf"/><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4" Type="http://schemas.openxmlformats.org/officeDocument/2006/relationships/theme" Target="../theme/theme3.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43" Type="http://schemas.openxmlformats.org/officeDocument/2006/relationships/slideLayout" Target="../slideLayouts/slideLayout164.xml"/><Relationship Id="rId8" Type="http://schemas.openxmlformats.org/officeDocument/2006/relationships/slideLayout" Target="../slideLayouts/slideLayout129.xml"/><Relationship Id="rId3" Type="http://schemas.openxmlformats.org/officeDocument/2006/relationships/slideLayout" Target="../slideLayouts/slideLayout124.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slideLayout" Target="../slideLayouts/slideLayout159.xml"/><Relationship Id="rId20" Type="http://schemas.openxmlformats.org/officeDocument/2006/relationships/slideLayout" Target="../slideLayouts/slideLayout141.xml"/><Relationship Id="rId41" Type="http://schemas.openxmlformats.org/officeDocument/2006/relationships/slideLayout" Target="../slideLayouts/slideLayout1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image" Target="../media/image9.emf"/><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theme" Target="../theme/theme4.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image" Target="../media/image1.emf"/><Relationship Id="rId5" Type="http://schemas.openxmlformats.org/officeDocument/2006/relationships/slideLayout" Target="../slideLayouts/slideLayout199.xml"/><Relationship Id="rId10" Type="http://schemas.openxmlformats.org/officeDocument/2006/relationships/oleObject" Target="../embeddings/oleObject2.bin"/><Relationship Id="rId4" Type="http://schemas.openxmlformats.org/officeDocument/2006/relationships/slideLayout" Target="../slideLayouts/slideLayout198.xml"/><Relationship Id="rId9"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26" Type="http://schemas.openxmlformats.org/officeDocument/2006/relationships/slideLayout" Target="../slideLayouts/slideLayout227.xml"/><Relationship Id="rId39" Type="http://schemas.openxmlformats.org/officeDocument/2006/relationships/slideLayout" Target="../slideLayouts/slideLayout240.xml"/><Relationship Id="rId21" Type="http://schemas.openxmlformats.org/officeDocument/2006/relationships/slideLayout" Target="../slideLayouts/slideLayout222.xml"/><Relationship Id="rId34" Type="http://schemas.openxmlformats.org/officeDocument/2006/relationships/slideLayout" Target="../slideLayouts/slideLayout235.xml"/><Relationship Id="rId42" Type="http://schemas.openxmlformats.org/officeDocument/2006/relationships/slideLayout" Target="../slideLayouts/slideLayout243.xml"/><Relationship Id="rId7" Type="http://schemas.openxmlformats.org/officeDocument/2006/relationships/slideLayout" Target="../slideLayouts/slideLayout208.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9" Type="http://schemas.openxmlformats.org/officeDocument/2006/relationships/slideLayout" Target="../slideLayouts/slideLayout230.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24" Type="http://schemas.openxmlformats.org/officeDocument/2006/relationships/slideLayout" Target="../slideLayouts/slideLayout225.xml"/><Relationship Id="rId32" Type="http://schemas.openxmlformats.org/officeDocument/2006/relationships/slideLayout" Target="../slideLayouts/slideLayout233.xml"/><Relationship Id="rId37" Type="http://schemas.openxmlformats.org/officeDocument/2006/relationships/slideLayout" Target="../slideLayouts/slideLayout238.xml"/><Relationship Id="rId40" Type="http://schemas.openxmlformats.org/officeDocument/2006/relationships/slideLayout" Target="../slideLayouts/slideLayout241.xml"/><Relationship Id="rId45" Type="http://schemas.openxmlformats.org/officeDocument/2006/relationships/oleObject" Target="../embeddings/oleObject1.bin"/><Relationship Id="rId5" Type="http://schemas.openxmlformats.org/officeDocument/2006/relationships/slideLayout" Target="../slideLayouts/slideLayout206.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28" Type="http://schemas.openxmlformats.org/officeDocument/2006/relationships/slideLayout" Target="../slideLayouts/slideLayout229.xml"/><Relationship Id="rId36" Type="http://schemas.openxmlformats.org/officeDocument/2006/relationships/slideLayout" Target="../slideLayouts/slideLayout237.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31" Type="http://schemas.openxmlformats.org/officeDocument/2006/relationships/slideLayout" Target="../slideLayouts/slideLayout232.xml"/><Relationship Id="rId44" Type="http://schemas.openxmlformats.org/officeDocument/2006/relationships/tags" Target="../tags/tag6.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 Id="rId22" Type="http://schemas.openxmlformats.org/officeDocument/2006/relationships/slideLayout" Target="../slideLayouts/slideLayout223.xml"/><Relationship Id="rId27" Type="http://schemas.openxmlformats.org/officeDocument/2006/relationships/slideLayout" Target="../slideLayouts/slideLayout228.xml"/><Relationship Id="rId30" Type="http://schemas.openxmlformats.org/officeDocument/2006/relationships/slideLayout" Target="../slideLayouts/slideLayout231.xml"/><Relationship Id="rId35" Type="http://schemas.openxmlformats.org/officeDocument/2006/relationships/slideLayout" Target="../slideLayouts/slideLayout236.xml"/><Relationship Id="rId43" Type="http://schemas.openxmlformats.org/officeDocument/2006/relationships/theme" Target="../theme/theme6.xml"/><Relationship Id="rId8" Type="http://schemas.openxmlformats.org/officeDocument/2006/relationships/slideLayout" Target="../slideLayouts/slideLayout209.xml"/><Relationship Id="rId3" Type="http://schemas.openxmlformats.org/officeDocument/2006/relationships/slideLayout" Target="../slideLayouts/slideLayout204.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slideLayout" Target="../slideLayouts/slideLayout226.xml"/><Relationship Id="rId33" Type="http://schemas.openxmlformats.org/officeDocument/2006/relationships/slideLayout" Target="../slideLayouts/slideLayout234.xml"/><Relationship Id="rId38" Type="http://schemas.openxmlformats.org/officeDocument/2006/relationships/slideLayout" Target="../slideLayouts/slideLayout239.xml"/><Relationship Id="rId46" Type="http://schemas.openxmlformats.org/officeDocument/2006/relationships/image" Target="../media/image1.emf"/><Relationship Id="rId20" Type="http://schemas.openxmlformats.org/officeDocument/2006/relationships/slideLayout" Target="../slideLayouts/slideLayout221.xml"/><Relationship Id="rId41" Type="http://schemas.openxmlformats.org/officeDocument/2006/relationships/slideLayout" Target="../slideLayouts/slideLayout24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29" Type="http://schemas.openxmlformats.org/officeDocument/2006/relationships/theme" Target="../theme/theme7.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26" Type="http://schemas.openxmlformats.org/officeDocument/2006/relationships/slideLayout" Target="../slideLayouts/slideLayout297.xml"/><Relationship Id="rId3" Type="http://schemas.openxmlformats.org/officeDocument/2006/relationships/slideLayout" Target="../slideLayouts/slideLayout274.xml"/><Relationship Id="rId21" Type="http://schemas.openxmlformats.org/officeDocument/2006/relationships/slideLayout" Target="../slideLayouts/slideLayout292.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5" Type="http://schemas.openxmlformats.org/officeDocument/2006/relationships/slideLayout" Target="../slideLayouts/slideLayout296.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29" Type="http://schemas.openxmlformats.org/officeDocument/2006/relationships/slideLayout" Target="../slideLayouts/slideLayout300.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24" Type="http://schemas.openxmlformats.org/officeDocument/2006/relationships/slideLayout" Target="../slideLayouts/slideLayout295.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slideLayout" Target="../slideLayouts/slideLayout294.xml"/><Relationship Id="rId28" Type="http://schemas.openxmlformats.org/officeDocument/2006/relationships/slideLayout" Target="../slideLayouts/slideLayout299.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31" Type="http://schemas.openxmlformats.org/officeDocument/2006/relationships/theme" Target="../theme/theme8.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 Id="rId27" Type="http://schemas.openxmlformats.org/officeDocument/2006/relationships/slideLayout" Target="../slideLayouts/slideLayout298.xml"/><Relationship Id="rId30" Type="http://schemas.openxmlformats.org/officeDocument/2006/relationships/slideLayout" Target="../slideLayouts/slideLayout30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slideLayout" Target="../slideLayouts/slideLayout327.xml"/><Relationship Id="rId3" Type="http://schemas.openxmlformats.org/officeDocument/2006/relationships/slideLayout" Target="../slideLayouts/slideLayout304.xml"/><Relationship Id="rId21" Type="http://schemas.openxmlformats.org/officeDocument/2006/relationships/slideLayout" Target="../slideLayouts/slideLayout322.xml"/><Relationship Id="rId7" Type="http://schemas.openxmlformats.org/officeDocument/2006/relationships/slideLayout" Target="../slideLayouts/slideLayout308.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0" Type="http://schemas.openxmlformats.org/officeDocument/2006/relationships/slideLayout" Target="../slideLayouts/slideLayout321.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5" Type="http://schemas.openxmlformats.org/officeDocument/2006/relationships/slideLayout" Target="../slideLayouts/slideLayout306.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theme" Target="../theme/theme9.xml"/><Relationship Id="rId10" Type="http://schemas.openxmlformats.org/officeDocument/2006/relationships/slideLayout" Target="../slideLayouts/slideLayout311.xml"/><Relationship Id="rId19" Type="http://schemas.openxmlformats.org/officeDocument/2006/relationships/slideLayout" Target="../slideLayouts/slideLayout320.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slideLayout" Target="../slideLayouts/slideLayout315.xml"/><Relationship Id="rId22" Type="http://schemas.openxmlformats.org/officeDocument/2006/relationships/slideLayout" Target="../slideLayouts/slideLayout323.xml"/><Relationship Id="rId27" Type="http://schemas.openxmlformats.org/officeDocument/2006/relationships/slideLayout" Target="../slideLayouts/slideLayout3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41"/>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25" imgH="424" progId="TCLayout.ActiveDocument.1">
                  <p:embed/>
                </p:oleObj>
              </mc:Choice>
              <mc:Fallback>
                <p:oleObj name="think-cell Slide" r:id="rId42"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4007" r:id="rId1"/>
    <p:sldLayoutId id="2147483894" r:id="rId2"/>
    <p:sldLayoutId id="2147483895" r:id="rId3"/>
    <p:sldLayoutId id="2147483896" r:id="rId4"/>
    <p:sldLayoutId id="2147484008" r:id="rId5"/>
    <p:sldLayoutId id="2147484009"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 id="2147483919" r:id="rId29"/>
    <p:sldLayoutId id="2147483920" r:id="rId30"/>
    <p:sldLayoutId id="2147484010" r:id="rId31"/>
    <p:sldLayoutId id="2147484011" r:id="rId32"/>
    <p:sldLayoutId id="2147483988" r:id="rId33"/>
    <p:sldLayoutId id="2147484132" r:id="rId34"/>
    <p:sldLayoutId id="2147483990" r:id="rId35"/>
    <p:sldLayoutId id="2147483991" r:id="rId36"/>
    <p:sldLayoutId id="2147483992" r:id="rId37"/>
    <p:sldLayoutId id="2147483995" r:id="rId38"/>
    <p:sldLayoutId id="2147483997" r:id="rId39"/>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0A0C10"/>
        </a:solidFill>
        <a:effectLst/>
      </p:bgPr>
    </p:bg>
    <p:spTree>
      <p:nvGrpSpPr>
        <p:cNvPr id="1" name="Shape 2522"/>
        <p:cNvGrpSpPr/>
        <p:nvPr/>
      </p:nvGrpSpPr>
      <p:grpSpPr>
        <a:xfrm>
          <a:off x="0" y="0"/>
          <a:ext cx="0" cy="0"/>
          <a:chOff x="0" y="0"/>
          <a:chExt cx="0" cy="0"/>
        </a:xfrm>
      </p:grpSpPr>
      <p:sp>
        <p:nvSpPr>
          <p:cNvPr id="2523" name="Google Shape;2523;p129"/>
          <p:cNvSpPr txBox="1"/>
          <p:nvPr/>
        </p:nvSpPr>
        <p:spPr>
          <a:xfrm>
            <a:off x="238857" y="6252903"/>
            <a:ext cx="2402800" cy="365600"/>
          </a:xfrm>
          <a:prstGeom prst="rect">
            <a:avLst/>
          </a:prstGeom>
          <a:noFill/>
          <a:ln>
            <a:noFill/>
          </a:ln>
        </p:spPr>
        <p:txBody>
          <a:bodyPr spcFirstLastPara="1" wrap="square" lIns="25400" tIns="25400" rIns="25400" bIns="25400" anchor="ctr" anchorCtr="0">
            <a:noAutofit/>
          </a:bodyPr>
          <a:lstStyle/>
          <a:p>
            <a:pPr marL="0" marR="0" lvl="0" indent="0" algn="l" rtl="0">
              <a:lnSpc>
                <a:spcPct val="100000"/>
              </a:lnSpc>
              <a:spcBef>
                <a:spcPts val="0"/>
              </a:spcBef>
              <a:spcAft>
                <a:spcPts val="0"/>
              </a:spcAft>
              <a:buClr>
                <a:schemeClr val="dk2"/>
              </a:buClr>
              <a:buSzPts val="700"/>
              <a:buFont typeface="Arial"/>
              <a:buNone/>
            </a:pPr>
            <a:r>
              <a:rPr lang="en" sz="933" i="0" u="none" strike="noStrike" cap="none">
                <a:solidFill>
                  <a:schemeClr val="dk2"/>
                </a:solidFill>
                <a:latin typeface="Roboto Mono"/>
                <a:ea typeface="Roboto Mono"/>
                <a:cs typeface="Roboto Mono"/>
                <a:sym typeface="Roboto Mono"/>
              </a:rPr>
              <a:t>Month day, year</a:t>
            </a:r>
            <a:endParaRPr sz="933">
              <a:latin typeface="Roboto Mono"/>
              <a:ea typeface="Roboto Mono"/>
              <a:cs typeface="Roboto Mono"/>
              <a:sym typeface="Roboto Mono"/>
            </a:endParaRPr>
          </a:p>
        </p:txBody>
      </p:sp>
      <p:pic>
        <p:nvPicPr>
          <p:cNvPr id="2524" name="Google Shape;2524;p129" descr="Image"/>
          <p:cNvPicPr preferRelativeResize="0"/>
          <p:nvPr/>
        </p:nvPicPr>
        <p:blipFill rotWithShape="1">
          <a:blip r:embed="rId119">
            <a:alphaModFix amt="50000"/>
          </a:blip>
          <a:srcRect/>
          <a:stretch/>
        </p:blipFill>
        <p:spPr>
          <a:xfrm>
            <a:off x="11532500" y="6237283"/>
            <a:ext cx="406400" cy="396367"/>
          </a:xfrm>
          <a:prstGeom prst="rect">
            <a:avLst/>
          </a:prstGeom>
          <a:noFill/>
          <a:ln>
            <a:noFill/>
          </a:ln>
          <a:effectLst>
            <a:outerShdw blurRad="304800" dist="152400" dir="2700000" rotWithShape="0">
              <a:srgbClr val="451E4C">
                <a:alpha val="24710"/>
              </a:srgbClr>
            </a:outerShdw>
          </a:effectLst>
        </p:spPr>
      </p:pic>
      <p:sp>
        <p:nvSpPr>
          <p:cNvPr id="2525" name="Google Shape;2525;p129"/>
          <p:cNvSpPr txBox="1"/>
          <p:nvPr/>
        </p:nvSpPr>
        <p:spPr>
          <a:xfrm>
            <a:off x="4894593" y="6252903"/>
            <a:ext cx="2402800" cy="365600"/>
          </a:xfrm>
          <a:prstGeom prst="rect">
            <a:avLst/>
          </a:prstGeom>
          <a:noFill/>
          <a:ln>
            <a:noFill/>
          </a:ln>
        </p:spPr>
        <p:txBody>
          <a:bodyPr spcFirstLastPara="1" wrap="square" lIns="25400" tIns="25400" rIns="25400" bIns="25400" anchor="ctr" anchorCtr="0">
            <a:noAutofit/>
          </a:bodyPr>
          <a:lstStyle/>
          <a:p>
            <a:pPr marL="0" marR="0" lvl="0" indent="0" algn="ctr" rtl="0">
              <a:lnSpc>
                <a:spcPct val="100000"/>
              </a:lnSpc>
              <a:spcBef>
                <a:spcPts val="0"/>
              </a:spcBef>
              <a:spcAft>
                <a:spcPts val="0"/>
              </a:spcAft>
              <a:buClr>
                <a:schemeClr val="dk2"/>
              </a:buClr>
              <a:buSzPts val="700"/>
              <a:buFont typeface="Arial"/>
              <a:buNone/>
            </a:pPr>
            <a:r>
              <a:rPr lang="en" sz="933">
                <a:solidFill>
                  <a:schemeClr val="dk2"/>
                </a:solidFill>
                <a:latin typeface="Roboto Mono"/>
                <a:ea typeface="Roboto Mono"/>
                <a:cs typeface="Roboto Mono"/>
                <a:sym typeface="Roboto Mono"/>
              </a:rPr>
              <a:t>Presentation title</a:t>
            </a:r>
            <a:endParaRPr sz="933">
              <a:latin typeface="Roboto Mono"/>
              <a:ea typeface="Roboto Mono"/>
              <a:cs typeface="Roboto Mono"/>
              <a:sym typeface="Roboto Mono"/>
            </a:endParaRPr>
          </a:p>
        </p:txBody>
      </p:sp>
      <p:sp>
        <p:nvSpPr>
          <p:cNvPr id="2526" name="Google Shape;2526;p129"/>
          <p:cNvSpPr txBox="1"/>
          <p:nvPr/>
        </p:nvSpPr>
        <p:spPr>
          <a:xfrm>
            <a:off x="8989076" y="6252903"/>
            <a:ext cx="2402800" cy="365600"/>
          </a:xfrm>
          <a:prstGeom prst="rect">
            <a:avLst/>
          </a:prstGeom>
          <a:noFill/>
          <a:ln>
            <a:noFill/>
          </a:ln>
        </p:spPr>
        <p:txBody>
          <a:bodyPr spcFirstLastPara="1" wrap="square" lIns="25400" tIns="25400" rIns="25400" bIns="25400" anchor="ctr" anchorCtr="0">
            <a:noAutofit/>
          </a:bodyPr>
          <a:lstStyle/>
          <a:p>
            <a:pPr marL="0" marR="0" lvl="0" indent="0" algn="r" rtl="0">
              <a:lnSpc>
                <a:spcPct val="100000"/>
              </a:lnSpc>
              <a:spcBef>
                <a:spcPts val="0"/>
              </a:spcBef>
              <a:spcAft>
                <a:spcPts val="0"/>
              </a:spcAft>
              <a:buClr>
                <a:schemeClr val="dk2"/>
              </a:buClr>
              <a:buSzPts val="700"/>
              <a:buFont typeface="Arial"/>
              <a:buNone/>
            </a:pPr>
            <a:r>
              <a:rPr lang="en" sz="933" i="0" u="none" strike="noStrike" cap="none">
                <a:solidFill>
                  <a:schemeClr val="dk2"/>
                </a:solidFill>
                <a:latin typeface="Roboto Mono"/>
                <a:ea typeface="Roboto Mono"/>
                <a:cs typeface="Roboto Mono"/>
                <a:sym typeface="Roboto Mono"/>
              </a:rPr>
              <a:t>@author</a:t>
            </a:r>
            <a:endParaRPr sz="933">
              <a:latin typeface="Roboto Mono"/>
              <a:ea typeface="Roboto Mono"/>
              <a:cs typeface="Roboto Mono"/>
              <a:sym typeface="Roboto Mono"/>
            </a:endParaRPr>
          </a:p>
        </p:txBody>
      </p:sp>
    </p:spTree>
    <p:extLst>
      <p:ext uri="{BB962C8B-B14F-4D97-AF65-F5344CB8AC3E}">
        <p14:creationId xmlns:p14="http://schemas.microsoft.com/office/powerpoint/2010/main" val="3878289399"/>
      </p:ext>
    </p:extLst>
  </p:cSld>
  <p:clrMap bg1="lt1" tx1="dk1" bg2="dk2" tx2="lt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 id="2147484266" r:id="rId22"/>
    <p:sldLayoutId id="2147484267" r:id="rId23"/>
    <p:sldLayoutId id="2147484268" r:id="rId24"/>
    <p:sldLayoutId id="2147484269" r:id="rId25"/>
    <p:sldLayoutId id="2147484270" r:id="rId26"/>
    <p:sldLayoutId id="2147484271" r:id="rId27"/>
    <p:sldLayoutId id="2147484272" r:id="rId28"/>
    <p:sldLayoutId id="2147484273" r:id="rId29"/>
    <p:sldLayoutId id="2147484274" r:id="rId30"/>
    <p:sldLayoutId id="2147484275" r:id="rId31"/>
    <p:sldLayoutId id="2147484276" r:id="rId32"/>
    <p:sldLayoutId id="2147484277" r:id="rId33"/>
    <p:sldLayoutId id="2147484278" r:id="rId34"/>
    <p:sldLayoutId id="2147484280" r:id="rId35"/>
    <p:sldLayoutId id="2147484281" r:id="rId36"/>
    <p:sldLayoutId id="2147484282" r:id="rId37"/>
    <p:sldLayoutId id="2147484283" r:id="rId38"/>
    <p:sldLayoutId id="2147484284" r:id="rId39"/>
    <p:sldLayoutId id="2147484285" r:id="rId40"/>
    <p:sldLayoutId id="2147484286" r:id="rId41"/>
    <p:sldLayoutId id="2147484287" r:id="rId42"/>
    <p:sldLayoutId id="2147484288" r:id="rId43"/>
    <p:sldLayoutId id="2147484289" r:id="rId44"/>
    <p:sldLayoutId id="2147484290" r:id="rId45"/>
    <p:sldLayoutId id="2147484291" r:id="rId46"/>
    <p:sldLayoutId id="2147484292" r:id="rId47"/>
    <p:sldLayoutId id="2147484293" r:id="rId48"/>
    <p:sldLayoutId id="2147484294" r:id="rId49"/>
    <p:sldLayoutId id="2147484295" r:id="rId50"/>
    <p:sldLayoutId id="2147484296" r:id="rId51"/>
    <p:sldLayoutId id="2147484297" r:id="rId52"/>
    <p:sldLayoutId id="2147484298" r:id="rId53"/>
    <p:sldLayoutId id="2147484299" r:id="rId54"/>
    <p:sldLayoutId id="2147484300" r:id="rId55"/>
    <p:sldLayoutId id="2147484301" r:id="rId56"/>
    <p:sldLayoutId id="2147484302" r:id="rId57"/>
    <p:sldLayoutId id="2147484303" r:id="rId58"/>
    <p:sldLayoutId id="2147484304" r:id="rId59"/>
    <p:sldLayoutId id="2147484305" r:id="rId60"/>
    <p:sldLayoutId id="2147484306" r:id="rId61"/>
    <p:sldLayoutId id="2147484307" r:id="rId62"/>
    <p:sldLayoutId id="2147484308" r:id="rId63"/>
    <p:sldLayoutId id="2147484309" r:id="rId64"/>
    <p:sldLayoutId id="2147484310" r:id="rId65"/>
    <p:sldLayoutId id="2147484311" r:id="rId66"/>
    <p:sldLayoutId id="2147484312" r:id="rId67"/>
    <p:sldLayoutId id="2147484313" r:id="rId68"/>
    <p:sldLayoutId id="2147484314" r:id="rId69"/>
    <p:sldLayoutId id="2147484315" r:id="rId70"/>
    <p:sldLayoutId id="2147484316" r:id="rId71"/>
    <p:sldLayoutId id="2147484317" r:id="rId72"/>
    <p:sldLayoutId id="2147484318" r:id="rId73"/>
    <p:sldLayoutId id="2147484319" r:id="rId74"/>
    <p:sldLayoutId id="2147484320" r:id="rId75"/>
    <p:sldLayoutId id="2147484321" r:id="rId76"/>
    <p:sldLayoutId id="2147484322" r:id="rId77"/>
    <p:sldLayoutId id="2147484323" r:id="rId78"/>
    <p:sldLayoutId id="2147484324" r:id="rId79"/>
    <p:sldLayoutId id="2147484325" r:id="rId80"/>
    <p:sldLayoutId id="2147484326" r:id="rId81"/>
    <p:sldLayoutId id="2147484327" r:id="rId82"/>
    <p:sldLayoutId id="2147484328" r:id="rId83"/>
    <p:sldLayoutId id="2147484329" r:id="rId84"/>
    <p:sldLayoutId id="2147484330" r:id="rId85"/>
    <p:sldLayoutId id="2147484331" r:id="rId86"/>
    <p:sldLayoutId id="2147484332" r:id="rId87"/>
    <p:sldLayoutId id="2147484333" r:id="rId88"/>
    <p:sldLayoutId id="2147484334" r:id="rId89"/>
    <p:sldLayoutId id="2147484335" r:id="rId90"/>
    <p:sldLayoutId id="2147484336" r:id="rId91"/>
    <p:sldLayoutId id="2147484337" r:id="rId92"/>
    <p:sldLayoutId id="2147484338" r:id="rId93"/>
    <p:sldLayoutId id="2147484339" r:id="rId94"/>
    <p:sldLayoutId id="2147484340" r:id="rId95"/>
    <p:sldLayoutId id="2147484341" r:id="rId96"/>
    <p:sldLayoutId id="2147484342" r:id="rId97"/>
    <p:sldLayoutId id="2147484343" r:id="rId98"/>
    <p:sldLayoutId id="2147484344" r:id="rId99"/>
    <p:sldLayoutId id="2147484345" r:id="rId100"/>
    <p:sldLayoutId id="2147484346" r:id="rId101"/>
    <p:sldLayoutId id="2147484347" r:id="rId102"/>
    <p:sldLayoutId id="2147484348" r:id="rId103"/>
    <p:sldLayoutId id="2147484349" r:id="rId104"/>
    <p:sldLayoutId id="2147484350" r:id="rId105"/>
    <p:sldLayoutId id="2147484351" r:id="rId106"/>
    <p:sldLayoutId id="2147484352" r:id="rId107"/>
    <p:sldLayoutId id="2147484353" r:id="rId108"/>
    <p:sldLayoutId id="2147484354" r:id="rId109"/>
    <p:sldLayoutId id="2147484355" r:id="rId110"/>
    <p:sldLayoutId id="2147484356" r:id="rId111"/>
    <p:sldLayoutId id="2147484357" r:id="rId112"/>
    <p:sldLayoutId id="2147484358" r:id="rId113"/>
    <p:sldLayoutId id="2147484359" r:id="rId114"/>
    <p:sldLayoutId id="2147484360" r:id="rId115"/>
    <p:sldLayoutId id="2147484361" r:id="rId116"/>
    <p:sldLayoutId id="2147484362" r:id="rId11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7"/>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3600"/>
              <a:buFont typeface="Arial"/>
              <a:buNone/>
              <a:defRPr sz="36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4"/>
            <a:ext cx="10515600" cy="4351339"/>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75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375"/>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2pPr>
            <a:lvl3pPr marL="1371600" marR="0" lvl="2" indent="-228600" algn="l" rtl="0">
              <a:lnSpc>
                <a:spcPct val="90000"/>
              </a:lnSpc>
              <a:spcBef>
                <a:spcPts val="375"/>
              </a:spcBef>
              <a:spcAft>
                <a:spcPts val="0"/>
              </a:spcAft>
              <a:buClr>
                <a:schemeClr val="dk2"/>
              </a:buClr>
              <a:buSzPts val="1200"/>
              <a:buFont typeface="Arial"/>
              <a:buNone/>
              <a:defRPr sz="1200" b="0" i="0" u="none" strike="noStrike" cap="none">
                <a:solidFill>
                  <a:schemeClr val="dk2"/>
                </a:solidFill>
                <a:latin typeface="Arial"/>
                <a:ea typeface="Arial"/>
                <a:cs typeface="Arial"/>
                <a:sym typeface="Arial"/>
              </a:defRPr>
            </a:lvl3pPr>
            <a:lvl4pPr marL="1828800" marR="0" lvl="3" indent="-228600" algn="l" rtl="0">
              <a:lnSpc>
                <a:spcPct val="90000"/>
              </a:lnSpc>
              <a:spcBef>
                <a:spcPts val="375"/>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4pPr>
            <a:lvl5pPr marL="2286000" marR="0" lvl="4" indent="-228600" algn="l" rtl="0">
              <a:lnSpc>
                <a:spcPct val="90000"/>
              </a:lnSpc>
              <a:spcBef>
                <a:spcPts val="375"/>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12" name="Google Shape;12;p1"/>
          <p:cNvSpPr txBox="1"/>
          <p:nvPr/>
        </p:nvSpPr>
        <p:spPr>
          <a:xfrm>
            <a:off x="298330" y="6247117"/>
            <a:ext cx="2402813" cy="365422"/>
          </a:xfrm>
          <a:prstGeom prst="rect">
            <a:avLst/>
          </a:prstGeom>
          <a:noFill/>
          <a:ln>
            <a:noFill/>
          </a:ln>
        </p:spPr>
        <p:txBody>
          <a:bodyPr spcFirstLastPara="1" wrap="square" lIns="25377" tIns="25377" rIns="25377" bIns="25377" anchor="ctr" anchorCtr="0">
            <a:noAutofit/>
          </a:bodyPr>
          <a:lstStyle/>
          <a:p>
            <a:pPr marL="0" marR="0" lvl="0" indent="0" algn="l" rtl="0">
              <a:lnSpc>
                <a:spcPct val="100000"/>
              </a:lnSpc>
              <a:spcBef>
                <a:spcPts val="0"/>
              </a:spcBef>
              <a:spcAft>
                <a:spcPts val="0"/>
              </a:spcAft>
              <a:buClr>
                <a:schemeClr val="dk2"/>
              </a:buClr>
              <a:buSzPts val="700"/>
              <a:buFont typeface="Arial"/>
              <a:buNone/>
            </a:pPr>
            <a:r>
              <a:rPr lang="en-US" sz="932" i="0" u="none" strike="noStrike" cap="none">
                <a:solidFill>
                  <a:srgbClr val="D4DAE0"/>
                </a:solidFill>
                <a:latin typeface="Roboto Mono"/>
                <a:ea typeface="Roboto Mono"/>
                <a:cs typeface="Roboto Mono"/>
                <a:sym typeface="Roboto Mono"/>
              </a:rPr>
              <a:t>December</a:t>
            </a:r>
            <a:r>
              <a:rPr lang="en-US" sz="932">
                <a:solidFill>
                  <a:srgbClr val="D4DAE0"/>
                </a:solidFill>
                <a:latin typeface="Roboto Mono"/>
                <a:ea typeface="Roboto Mono"/>
                <a:cs typeface="Roboto Mono"/>
                <a:sym typeface="Roboto Mono"/>
              </a:rPr>
              <a:t> </a:t>
            </a:r>
            <a:r>
              <a:rPr lang="en-US" sz="932" i="0" u="none" strike="noStrike" cap="none">
                <a:solidFill>
                  <a:srgbClr val="D4DAE0"/>
                </a:solidFill>
                <a:latin typeface="Roboto Mono"/>
                <a:ea typeface="Roboto Mono"/>
                <a:cs typeface="Roboto Mono"/>
                <a:sym typeface="Roboto Mono"/>
              </a:rPr>
              <a:t>2022</a:t>
            </a:r>
            <a:endParaRPr sz="932" i="0" u="none" strike="noStrike" cap="none">
              <a:solidFill>
                <a:srgbClr val="D4DAE0"/>
              </a:solidFill>
              <a:latin typeface="Roboto Mono"/>
              <a:ea typeface="Roboto Mono"/>
              <a:cs typeface="Roboto Mono"/>
              <a:sym typeface="Roboto Mono"/>
            </a:endParaRPr>
          </a:p>
        </p:txBody>
      </p:sp>
      <p:pic>
        <p:nvPicPr>
          <p:cNvPr id="13" name="Google Shape;13;p1" descr="Image"/>
          <p:cNvPicPr preferRelativeResize="0"/>
          <p:nvPr/>
        </p:nvPicPr>
        <p:blipFill rotWithShape="1">
          <a:blip r:embed="rId120">
            <a:alphaModFix amt="50000"/>
          </a:blip>
          <a:srcRect/>
          <a:stretch/>
        </p:blipFill>
        <p:spPr>
          <a:xfrm>
            <a:off x="11532500" y="6231513"/>
            <a:ext cx="406400" cy="396000"/>
          </a:xfrm>
          <a:prstGeom prst="rect">
            <a:avLst/>
          </a:prstGeom>
          <a:noFill/>
          <a:ln>
            <a:noFill/>
          </a:ln>
          <a:effectLst>
            <a:outerShdw blurRad="304800" dist="152400" dir="2700000" rotWithShape="0">
              <a:srgbClr val="451E4C">
                <a:alpha val="24313"/>
              </a:srgbClr>
            </a:outerShdw>
          </a:effectLst>
        </p:spPr>
      </p:pic>
      <p:sp>
        <p:nvSpPr>
          <p:cNvPr id="14" name="Google Shape;14;p1"/>
          <p:cNvSpPr txBox="1"/>
          <p:nvPr/>
        </p:nvSpPr>
        <p:spPr>
          <a:xfrm>
            <a:off x="4392211" y="6247118"/>
            <a:ext cx="3407600" cy="365262"/>
          </a:xfrm>
          <a:prstGeom prst="rect">
            <a:avLst/>
          </a:prstGeom>
          <a:noFill/>
          <a:ln>
            <a:noFill/>
          </a:ln>
        </p:spPr>
        <p:txBody>
          <a:bodyPr spcFirstLastPara="1" wrap="square" lIns="25377" tIns="25377" rIns="25377" bIns="25377" anchor="ctr" anchorCtr="0">
            <a:noAutofit/>
          </a:bodyPr>
          <a:lstStyle/>
          <a:p>
            <a:pPr marL="0" marR="0" lvl="0" indent="0" algn="ctr" rtl="0">
              <a:lnSpc>
                <a:spcPct val="100000"/>
              </a:lnSpc>
              <a:spcBef>
                <a:spcPts val="0"/>
              </a:spcBef>
              <a:spcAft>
                <a:spcPts val="0"/>
              </a:spcAft>
              <a:buClr>
                <a:schemeClr val="dk2"/>
              </a:buClr>
              <a:buSzPts val="700"/>
              <a:buFont typeface="Arial"/>
              <a:buNone/>
            </a:pPr>
            <a:r>
              <a:rPr lang="en-US" sz="932" i="0" u="none" strike="noStrike" cap="none">
                <a:solidFill>
                  <a:srgbClr val="D4DAE0"/>
                </a:solidFill>
                <a:latin typeface="Roboto Mono"/>
                <a:ea typeface="Roboto Mono"/>
                <a:cs typeface="Roboto Mono"/>
                <a:sym typeface="Roboto Mono"/>
              </a:rPr>
              <a:t>GitHub Copilot</a:t>
            </a:r>
            <a:endParaRPr sz="932" i="0" u="none" strike="noStrike" cap="none">
              <a:solidFill>
                <a:srgbClr val="D4DAE0"/>
              </a:solidFill>
              <a:latin typeface="Roboto Mono"/>
              <a:ea typeface="Roboto Mono"/>
              <a:cs typeface="Roboto Mono"/>
              <a:sym typeface="Roboto Mono"/>
            </a:endParaRPr>
          </a:p>
        </p:txBody>
      </p:sp>
      <p:sp>
        <p:nvSpPr>
          <p:cNvPr id="15" name="Google Shape;15;p1"/>
          <p:cNvSpPr txBox="1"/>
          <p:nvPr/>
        </p:nvSpPr>
        <p:spPr>
          <a:xfrm>
            <a:off x="8989076" y="6247117"/>
            <a:ext cx="2402813" cy="365422"/>
          </a:xfrm>
          <a:prstGeom prst="rect">
            <a:avLst/>
          </a:prstGeom>
          <a:noFill/>
          <a:ln>
            <a:noFill/>
          </a:ln>
        </p:spPr>
        <p:txBody>
          <a:bodyPr spcFirstLastPara="1" wrap="square" lIns="25377" tIns="25377" rIns="25377" bIns="25377" anchor="ctr" anchorCtr="0">
            <a:noAutofit/>
          </a:bodyPr>
          <a:lstStyle/>
          <a:p>
            <a:pPr marL="0" marR="0" lvl="0" indent="0" algn="r" rtl="0">
              <a:lnSpc>
                <a:spcPct val="100000"/>
              </a:lnSpc>
              <a:spcBef>
                <a:spcPts val="0"/>
              </a:spcBef>
              <a:spcAft>
                <a:spcPts val="0"/>
              </a:spcAft>
              <a:buClr>
                <a:schemeClr val="dk2"/>
              </a:buClr>
              <a:buSzPts val="700"/>
              <a:buFont typeface="Arial"/>
              <a:buNone/>
            </a:pPr>
            <a:endParaRPr sz="932" b="0" i="0" u="none" strike="noStrike" cap="none">
              <a:solidFill>
                <a:srgbClr val="D4DAE0"/>
              </a:solidFill>
              <a:latin typeface="Arial"/>
              <a:ea typeface="Arial"/>
              <a:cs typeface="Arial"/>
              <a:sym typeface="Arial"/>
            </a:endParaRPr>
          </a:p>
        </p:txBody>
      </p:sp>
      <p:grpSp>
        <p:nvGrpSpPr>
          <p:cNvPr id="16" name="Google Shape;16;p1"/>
          <p:cNvGrpSpPr/>
          <p:nvPr/>
        </p:nvGrpSpPr>
        <p:grpSpPr>
          <a:xfrm>
            <a:off x="12253533" y="1"/>
            <a:ext cx="3438939" cy="4402386"/>
            <a:chOff x="9190150" y="0"/>
            <a:chExt cx="2579204" cy="3301789"/>
          </a:xfrm>
        </p:grpSpPr>
        <p:sp>
          <p:nvSpPr>
            <p:cNvPr id="17" name="Google Shape;17;p1"/>
            <p:cNvSpPr/>
            <p:nvPr/>
          </p:nvSpPr>
          <p:spPr>
            <a:xfrm>
              <a:off x="9190150" y="1473319"/>
              <a:ext cx="2579100" cy="3429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US" sz="1199" b="1" i="0" u="none" strike="noStrike" cap="none">
                  <a:solidFill>
                    <a:schemeClr val="dk1"/>
                  </a:solidFill>
                  <a:latin typeface="Arial"/>
                  <a:ea typeface="Arial"/>
                  <a:cs typeface="Arial"/>
                  <a:sym typeface="Arial"/>
                </a:rPr>
                <a:t>Shapes</a:t>
              </a:r>
              <a:endParaRPr sz="666"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900"/>
                <a:buFont typeface="Arial"/>
                <a:buNone/>
              </a:pPr>
              <a:r>
                <a:rPr lang="en-US" sz="1199" b="0" i="0" u="none" strike="noStrike" cap="none">
                  <a:solidFill>
                    <a:schemeClr val="dk1"/>
                  </a:solidFill>
                  <a:latin typeface="Arial"/>
                  <a:ea typeface="Arial"/>
                  <a:cs typeface="Arial"/>
                  <a:sym typeface="Arial"/>
                </a:rPr>
                <a:t>Purple-04 #A371F7</a:t>
              </a:r>
              <a:endParaRPr sz="666" b="0" i="0" u="none" strike="noStrike" cap="none">
                <a:solidFill>
                  <a:schemeClr val="dk1"/>
                </a:solidFill>
                <a:latin typeface="Arial"/>
                <a:ea typeface="Arial"/>
                <a:cs typeface="Arial"/>
                <a:sym typeface="Arial"/>
              </a:endParaRPr>
            </a:p>
          </p:txBody>
        </p:sp>
        <p:sp>
          <p:nvSpPr>
            <p:cNvPr id="18" name="Google Shape;18;p1"/>
            <p:cNvSpPr/>
            <p:nvPr/>
          </p:nvSpPr>
          <p:spPr>
            <a:xfrm>
              <a:off x="9190150" y="1845012"/>
              <a:ext cx="2579100" cy="3429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US" sz="1199" b="1" i="0" u="none" strike="noStrike" cap="none">
                  <a:solidFill>
                    <a:schemeClr val="dk1"/>
                  </a:solidFill>
                  <a:latin typeface="Arial"/>
                  <a:ea typeface="Arial"/>
                  <a:cs typeface="Arial"/>
                  <a:sym typeface="Arial"/>
                </a:rPr>
                <a:t>Shapes</a:t>
              </a:r>
              <a:endParaRPr sz="666"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900"/>
                <a:buFont typeface="Arial"/>
                <a:buNone/>
              </a:pPr>
              <a:r>
                <a:rPr lang="en-US" sz="1199" b="0" i="0" u="none" strike="noStrike" cap="none">
                  <a:solidFill>
                    <a:schemeClr val="dk1"/>
                  </a:solidFill>
                  <a:latin typeface="Arial"/>
                  <a:ea typeface="Arial"/>
                  <a:cs typeface="Arial"/>
                  <a:sym typeface="Arial"/>
                </a:rPr>
                <a:t>Purple-06 #6E40C9</a:t>
              </a:r>
              <a:endParaRPr sz="666" b="0" i="0" u="none" strike="noStrike" cap="none">
                <a:solidFill>
                  <a:schemeClr val="dk1"/>
                </a:solidFill>
                <a:latin typeface="Arial"/>
                <a:ea typeface="Arial"/>
                <a:cs typeface="Arial"/>
                <a:sym typeface="Arial"/>
              </a:endParaRPr>
            </a:p>
          </p:txBody>
        </p:sp>
        <p:sp>
          <p:nvSpPr>
            <p:cNvPr id="19" name="Google Shape;19;p1"/>
            <p:cNvSpPr/>
            <p:nvPr/>
          </p:nvSpPr>
          <p:spPr>
            <a:xfrm>
              <a:off x="9190150" y="2215980"/>
              <a:ext cx="1266000" cy="3429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Blue-04 #388BFD</a:t>
              </a:r>
              <a:endParaRPr sz="1199" b="0" i="0" u="none" strike="noStrike" cap="none">
                <a:solidFill>
                  <a:schemeClr val="dk1"/>
                </a:solidFill>
                <a:latin typeface="Arial"/>
                <a:ea typeface="Arial"/>
                <a:cs typeface="Arial"/>
                <a:sym typeface="Arial"/>
              </a:endParaRPr>
            </a:p>
          </p:txBody>
        </p:sp>
        <p:sp>
          <p:nvSpPr>
            <p:cNvPr id="20" name="Google Shape;20;p1"/>
            <p:cNvSpPr/>
            <p:nvPr/>
          </p:nvSpPr>
          <p:spPr>
            <a:xfrm>
              <a:off x="10493754" y="2215980"/>
              <a:ext cx="1275600" cy="3429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Blue-06 #1158C7</a:t>
              </a:r>
              <a:endParaRPr sz="1199" b="0" i="0" u="none" strike="noStrike" cap="none">
                <a:solidFill>
                  <a:schemeClr val="dk1"/>
                </a:solidFill>
                <a:latin typeface="Arial"/>
                <a:ea typeface="Arial"/>
                <a:cs typeface="Arial"/>
                <a:sym typeface="Arial"/>
              </a:endParaRPr>
            </a:p>
          </p:txBody>
        </p:sp>
        <p:sp>
          <p:nvSpPr>
            <p:cNvPr id="21" name="Google Shape;21;p1"/>
            <p:cNvSpPr/>
            <p:nvPr/>
          </p:nvSpPr>
          <p:spPr>
            <a:xfrm>
              <a:off x="9190150" y="2586948"/>
              <a:ext cx="1266000" cy="3429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Green-02 #56D364</a:t>
              </a:r>
              <a:endParaRPr sz="1199" b="0" i="0" u="none" strike="noStrike" cap="none">
                <a:solidFill>
                  <a:schemeClr val="dk1"/>
                </a:solidFill>
                <a:latin typeface="Arial"/>
                <a:ea typeface="Arial"/>
                <a:cs typeface="Arial"/>
                <a:sym typeface="Arial"/>
              </a:endParaRPr>
            </a:p>
          </p:txBody>
        </p:sp>
        <p:sp>
          <p:nvSpPr>
            <p:cNvPr id="22" name="Google Shape;22;p1"/>
            <p:cNvSpPr/>
            <p:nvPr/>
          </p:nvSpPr>
          <p:spPr>
            <a:xfrm>
              <a:off x="10493754" y="2586948"/>
              <a:ext cx="1275600" cy="3429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1199" b="1" i="0" u="none" strike="noStrike" cap="none">
                  <a:solidFill>
                    <a:schemeClr val="dk1"/>
                  </a:solidFill>
                  <a:latin typeface="Arial"/>
                  <a:ea typeface="Arial"/>
                  <a:cs typeface="Arial"/>
                  <a:sym typeface="Arial"/>
                </a:rPr>
                <a:t>Shapes</a:t>
              </a:r>
              <a:endParaRPr sz="1199"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1199" b="0" i="0" u="none" strike="noStrike" cap="none">
                  <a:solidFill>
                    <a:schemeClr val="dk1"/>
                  </a:solidFill>
                  <a:latin typeface="Arial"/>
                  <a:ea typeface="Arial"/>
                  <a:cs typeface="Arial"/>
                  <a:sym typeface="Arial"/>
                </a:rPr>
                <a:t>Green-04 #2EA043</a:t>
              </a:r>
              <a:endParaRPr sz="1199" b="0" i="0" u="none" strike="noStrike" cap="none">
                <a:solidFill>
                  <a:schemeClr val="dk1"/>
                </a:solidFill>
                <a:latin typeface="Arial"/>
                <a:ea typeface="Arial"/>
                <a:cs typeface="Arial"/>
                <a:sym typeface="Arial"/>
              </a:endParaRPr>
            </a:p>
          </p:txBody>
        </p:sp>
        <p:sp>
          <p:nvSpPr>
            <p:cNvPr id="23" name="Google Shape;23;p1"/>
            <p:cNvSpPr/>
            <p:nvPr/>
          </p:nvSpPr>
          <p:spPr>
            <a:xfrm>
              <a:off x="9190150" y="733450"/>
              <a:ext cx="2579100" cy="342900"/>
            </a:xfrm>
            <a:prstGeom prst="roundRect">
              <a:avLst>
                <a:gd name="adj" fmla="val 7073"/>
              </a:avLst>
            </a:prstGeom>
            <a:solidFill>
              <a:schemeClr val="dk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US" sz="1199" b="1" i="0" u="none" strike="noStrike" cap="none">
                  <a:solidFill>
                    <a:schemeClr val="lt1"/>
                  </a:solidFill>
                  <a:latin typeface="Arial"/>
                  <a:ea typeface="Arial"/>
                  <a:cs typeface="Arial"/>
                  <a:sym typeface="Arial"/>
                </a:rPr>
                <a:t>Text, Shapes</a:t>
              </a:r>
              <a:endParaRPr sz="666"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A0C10"/>
                </a:buClr>
                <a:buSzPts val="900"/>
                <a:buFont typeface="Arial"/>
                <a:buNone/>
              </a:pPr>
              <a:r>
                <a:rPr lang="en-US" sz="1199" b="0" i="0" u="none" strike="noStrike" cap="none">
                  <a:solidFill>
                    <a:schemeClr val="lt1"/>
                  </a:solidFill>
                  <a:latin typeface="Arial"/>
                  <a:ea typeface="Arial"/>
                  <a:cs typeface="Arial"/>
                  <a:sym typeface="Arial"/>
                </a:rPr>
                <a:t>White #000000</a:t>
              </a:r>
              <a:endParaRPr sz="666" b="0" i="0" u="none" strike="noStrike" cap="none">
                <a:solidFill>
                  <a:schemeClr val="lt1"/>
                </a:solidFill>
                <a:latin typeface="Arial"/>
                <a:ea typeface="Arial"/>
                <a:cs typeface="Arial"/>
                <a:sym typeface="Arial"/>
              </a:endParaRPr>
            </a:p>
          </p:txBody>
        </p:sp>
        <p:sp>
          <p:nvSpPr>
            <p:cNvPr id="24" name="Google Shape;24;p1"/>
            <p:cNvSpPr/>
            <p:nvPr/>
          </p:nvSpPr>
          <p:spPr>
            <a:xfrm>
              <a:off x="9190150" y="1103384"/>
              <a:ext cx="2579100" cy="3429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US" sz="1199" b="1" i="0" u="none" strike="noStrike" cap="none">
                  <a:solidFill>
                    <a:schemeClr val="dk1"/>
                  </a:solidFill>
                  <a:latin typeface="Arial"/>
                  <a:ea typeface="Arial"/>
                  <a:cs typeface="Arial"/>
                  <a:sym typeface="Arial"/>
                </a:rPr>
                <a:t>Text, Shapes</a:t>
              </a:r>
              <a:endParaRPr sz="666" b="0"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900"/>
                <a:buFont typeface="Arial"/>
                <a:buNone/>
              </a:pPr>
              <a:r>
                <a:rPr lang="en-US" sz="1199" b="0" i="0" u="none" strike="noStrike" cap="none">
                  <a:solidFill>
                    <a:schemeClr val="dk1"/>
                  </a:solidFill>
                  <a:latin typeface="Arial"/>
                  <a:ea typeface="Arial"/>
                  <a:cs typeface="Arial"/>
                  <a:sym typeface="Arial"/>
                </a:rPr>
                <a:t>Gray-03 #8B949E</a:t>
              </a:r>
              <a:endParaRPr sz="666" b="0" i="0" u="none" strike="noStrike" cap="none">
                <a:solidFill>
                  <a:schemeClr val="dk1"/>
                </a:solidFill>
                <a:latin typeface="Arial"/>
                <a:ea typeface="Arial"/>
                <a:cs typeface="Arial"/>
                <a:sym typeface="Arial"/>
              </a:endParaRPr>
            </a:p>
          </p:txBody>
        </p:sp>
        <p:sp>
          <p:nvSpPr>
            <p:cNvPr id="25" name="Google Shape;25;p1"/>
            <p:cNvSpPr/>
            <p:nvPr/>
          </p:nvSpPr>
          <p:spPr>
            <a:xfrm>
              <a:off x="10054842" y="2958889"/>
              <a:ext cx="401100" cy="3429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Arial"/>
                  <a:ea typeface="Arial"/>
                  <a:cs typeface="Arial"/>
                  <a:sym typeface="Arial"/>
                </a:rPr>
                <a:t>Shapes</a:t>
              </a:r>
              <a:endParaRPr sz="666"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Indigo-04</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797EF9</a:t>
              </a:r>
              <a:endParaRPr sz="666" b="0" i="0" u="none" strike="noStrike" cap="none">
                <a:solidFill>
                  <a:schemeClr val="dk1"/>
                </a:solidFill>
                <a:latin typeface="Arial"/>
                <a:ea typeface="Arial"/>
                <a:cs typeface="Arial"/>
                <a:sym typeface="Arial"/>
              </a:endParaRPr>
            </a:p>
          </p:txBody>
        </p:sp>
        <p:sp>
          <p:nvSpPr>
            <p:cNvPr id="26" name="Google Shape;26;p1"/>
            <p:cNvSpPr/>
            <p:nvPr/>
          </p:nvSpPr>
          <p:spPr>
            <a:xfrm>
              <a:off x="10493754" y="2958889"/>
              <a:ext cx="401100" cy="3429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Arial"/>
                  <a:ea typeface="Arial"/>
                  <a:cs typeface="Arial"/>
                  <a:sym typeface="Arial"/>
                </a:rPr>
                <a:t>Shapes</a:t>
              </a:r>
              <a:endParaRPr sz="666"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Indigo-06</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464ED1</a:t>
              </a:r>
              <a:endParaRPr sz="666" b="0" i="0" u="none" strike="noStrike" cap="none">
                <a:solidFill>
                  <a:schemeClr val="dk1"/>
                </a:solidFill>
                <a:latin typeface="Arial"/>
                <a:ea typeface="Arial"/>
                <a:cs typeface="Arial"/>
                <a:sym typeface="Arial"/>
              </a:endParaRPr>
            </a:p>
          </p:txBody>
        </p:sp>
        <p:sp>
          <p:nvSpPr>
            <p:cNvPr id="27" name="Google Shape;27;p1"/>
            <p:cNvSpPr/>
            <p:nvPr/>
          </p:nvSpPr>
          <p:spPr>
            <a:xfrm>
              <a:off x="10929237" y="2958889"/>
              <a:ext cx="401100" cy="3429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Arial"/>
                  <a:ea typeface="Arial"/>
                  <a:cs typeface="Arial"/>
                  <a:sym typeface="Arial"/>
                </a:rPr>
                <a:t>Shapes</a:t>
              </a:r>
              <a:endParaRPr sz="666"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Teal-02</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57CCC5</a:t>
              </a:r>
              <a:endParaRPr sz="666" b="0" i="0" u="none" strike="noStrike" cap="none">
                <a:solidFill>
                  <a:schemeClr val="dk1"/>
                </a:solidFill>
                <a:latin typeface="Arial"/>
                <a:ea typeface="Arial"/>
                <a:cs typeface="Arial"/>
                <a:sym typeface="Arial"/>
              </a:endParaRPr>
            </a:p>
          </p:txBody>
        </p:sp>
        <p:sp>
          <p:nvSpPr>
            <p:cNvPr id="28" name="Google Shape;28;p1"/>
            <p:cNvSpPr/>
            <p:nvPr/>
          </p:nvSpPr>
          <p:spPr>
            <a:xfrm>
              <a:off x="11364720" y="2958889"/>
              <a:ext cx="401100" cy="3429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Arial"/>
                  <a:ea typeface="Arial"/>
                  <a:cs typeface="Arial"/>
                  <a:sym typeface="Arial"/>
                </a:rPr>
                <a:t>Shapes</a:t>
              </a:r>
              <a:endParaRPr sz="666"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Teal-04</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2A9D9A</a:t>
              </a:r>
              <a:endParaRPr sz="666" b="0" i="0" u="none" strike="noStrike" cap="none">
                <a:solidFill>
                  <a:schemeClr val="dk1"/>
                </a:solidFill>
                <a:latin typeface="Arial"/>
                <a:ea typeface="Arial"/>
                <a:cs typeface="Arial"/>
                <a:sym typeface="Arial"/>
              </a:endParaRPr>
            </a:p>
          </p:txBody>
        </p:sp>
        <p:sp>
          <p:nvSpPr>
            <p:cNvPr id="29" name="Google Shape;29;p1"/>
            <p:cNvSpPr/>
            <p:nvPr/>
          </p:nvSpPr>
          <p:spPr>
            <a:xfrm>
              <a:off x="9190150" y="2958889"/>
              <a:ext cx="401100" cy="3429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Arial"/>
                  <a:ea typeface="Arial"/>
                  <a:cs typeface="Arial"/>
                  <a:sym typeface="Arial"/>
                </a:rPr>
                <a:t>Shapes</a:t>
              </a:r>
              <a:endParaRPr sz="666"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Pink-04</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DB61A2</a:t>
              </a:r>
              <a:endParaRPr sz="666" b="0" i="0" u="none" strike="noStrike" cap="none">
                <a:solidFill>
                  <a:schemeClr val="dk1"/>
                </a:solidFill>
                <a:latin typeface="Arial"/>
                <a:ea typeface="Arial"/>
                <a:cs typeface="Arial"/>
                <a:sym typeface="Arial"/>
              </a:endParaRPr>
            </a:p>
          </p:txBody>
        </p:sp>
        <p:sp>
          <p:nvSpPr>
            <p:cNvPr id="30" name="Google Shape;30;p1"/>
            <p:cNvSpPr/>
            <p:nvPr/>
          </p:nvSpPr>
          <p:spPr>
            <a:xfrm>
              <a:off x="9629062" y="2958889"/>
              <a:ext cx="401100" cy="3429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US" sz="666" b="1" i="0" u="none" strike="noStrike" cap="none">
                  <a:solidFill>
                    <a:schemeClr val="dk1"/>
                  </a:solidFill>
                  <a:latin typeface="Arial"/>
                  <a:ea typeface="Arial"/>
                  <a:cs typeface="Arial"/>
                  <a:sym typeface="Arial"/>
                </a:rPr>
                <a:t>Shapes</a:t>
              </a:r>
              <a:endParaRPr sz="666" b="1"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500"/>
                <a:buFont typeface="Arial"/>
                <a:buNone/>
              </a:pPr>
              <a:r>
                <a:rPr lang="en-US" sz="666" b="0" i="0" u="none" strike="noStrike" cap="none">
                  <a:solidFill>
                    <a:schemeClr val="dk1"/>
                  </a:solidFill>
                  <a:latin typeface="Arial"/>
                  <a:ea typeface="Arial"/>
                  <a:cs typeface="Arial"/>
                  <a:sym typeface="Arial"/>
                </a:rPr>
                <a:t>Pink-06</a:t>
              </a:r>
              <a:br>
                <a:rPr lang="en-US" sz="666" b="0" i="0" u="none" strike="noStrike" cap="none">
                  <a:solidFill>
                    <a:schemeClr val="dk1"/>
                  </a:solidFill>
                  <a:latin typeface="Arial"/>
                  <a:ea typeface="Arial"/>
                  <a:cs typeface="Arial"/>
                  <a:sym typeface="Arial"/>
                </a:rPr>
              </a:br>
              <a:r>
                <a:rPr lang="en-US" sz="666" b="0" i="0" u="none" strike="noStrike" cap="none">
                  <a:solidFill>
                    <a:schemeClr val="dk1"/>
                  </a:solidFill>
                  <a:latin typeface="Arial"/>
                  <a:ea typeface="Arial"/>
                  <a:cs typeface="Arial"/>
                  <a:sym typeface="Arial"/>
                </a:rPr>
                <a:t>#9E3670</a:t>
              </a:r>
              <a:endParaRPr sz="666" b="0" i="0" u="none" strike="noStrike" cap="none">
                <a:solidFill>
                  <a:schemeClr val="dk1"/>
                </a:solidFill>
                <a:latin typeface="Arial"/>
                <a:ea typeface="Arial"/>
                <a:cs typeface="Arial"/>
                <a:sym typeface="Arial"/>
              </a:endParaRPr>
            </a:p>
          </p:txBody>
        </p:sp>
        <p:sp>
          <p:nvSpPr>
            <p:cNvPr id="31" name="Google Shape;31;p1"/>
            <p:cNvSpPr/>
            <p:nvPr/>
          </p:nvSpPr>
          <p:spPr>
            <a:xfrm>
              <a:off x="9190200" y="0"/>
              <a:ext cx="2579100" cy="3429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US" sz="1199" b="1" i="0" u="none" strike="noStrike" cap="none">
                  <a:solidFill>
                    <a:schemeClr val="dk1"/>
                  </a:solidFill>
                  <a:latin typeface="Arial"/>
                  <a:ea typeface="Arial"/>
                  <a:cs typeface="Arial"/>
                  <a:sym typeface="Arial"/>
                </a:rPr>
                <a:t>Background</a:t>
              </a:r>
              <a:endParaRPr sz="666" b="0"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rgbClr val="0A0C10"/>
                </a:buClr>
                <a:buSzPts val="900"/>
                <a:buFont typeface="Arial"/>
                <a:buNone/>
              </a:pPr>
              <a:r>
                <a:rPr lang="en-US" sz="1199" b="0" i="0" u="none" strike="noStrike" cap="none">
                  <a:solidFill>
                    <a:schemeClr val="dk1"/>
                  </a:solidFill>
                  <a:latin typeface="Arial"/>
                  <a:ea typeface="Arial"/>
                  <a:cs typeface="Arial"/>
                  <a:sym typeface="Arial"/>
                </a:rPr>
                <a:t>#0a0c10ff</a:t>
              </a:r>
              <a:endParaRPr sz="666" b="0" i="0" u="none" strike="noStrike" cap="none">
                <a:solidFill>
                  <a:schemeClr val="dk1"/>
                </a:solidFill>
                <a:latin typeface="Arial"/>
                <a:ea typeface="Arial"/>
                <a:cs typeface="Arial"/>
                <a:sym typeface="Arial"/>
              </a:endParaRPr>
            </a:p>
          </p:txBody>
        </p:sp>
        <p:sp>
          <p:nvSpPr>
            <p:cNvPr id="32" name="Google Shape;32;p1"/>
            <p:cNvSpPr/>
            <p:nvPr/>
          </p:nvSpPr>
          <p:spPr>
            <a:xfrm>
              <a:off x="9190200" y="366725"/>
              <a:ext cx="2579100" cy="342900"/>
            </a:xfrm>
            <a:prstGeom prst="roundRect">
              <a:avLst>
                <a:gd name="adj" fmla="val 7073"/>
              </a:avLst>
            </a:prstGeom>
            <a:solidFill>
              <a:srgbClr val="434343"/>
            </a:solidFill>
            <a:ln w="9525" cap="flat" cmpd="sng">
              <a:solidFill>
                <a:schemeClr val="lt2"/>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US" sz="1199" b="1" i="0" u="none" strike="noStrike" cap="none">
                  <a:solidFill>
                    <a:schemeClr val="dk1"/>
                  </a:solidFill>
                  <a:latin typeface="Arial"/>
                  <a:ea typeface="Arial"/>
                  <a:cs typeface="Arial"/>
                  <a:sym typeface="Arial"/>
                </a:rPr>
                <a:t>Shape outline</a:t>
              </a:r>
              <a:endParaRPr sz="666" b="0"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rgbClr val="0A0C10"/>
                </a:buClr>
                <a:buSzPts val="900"/>
                <a:buFont typeface="Arial"/>
                <a:buNone/>
              </a:pPr>
              <a:r>
                <a:rPr lang="en-US" sz="1199" b="0" i="0" u="none" strike="noStrike" cap="none">
                  <a:solidFill>
                    <a:schemeClr val="dk1"/>
                  </a:solidFill>
                  <a:latin typeface="Arial"/>
                  <a:ea typeface="Arial"/>
                  <a:cs typeface="Arial"/>
                  <a:sym typeface="Arial"/>
                </a:rPr>
                <a:t>#282828</a:t>
              </a:r>
              <a:endParaRPr sz="666"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391298882"/>
      </p:ext>
    </p:extLst>
  </p:cSld>
  <p:clrMap bg1="lt1" tx1="dk1" bg2="dk2" tx2="lt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 id="2147484374" r:id="rId11"/>
    <p:sldLayoutId id="2147484375" r:id="rId12"/>
    <p:sldLayoutId id="2147484376" r:id="rId13"/>
    <p:sldLayoutId id="2147484377" r:id="rId14"/>
    <p:sldLayoutId id="2147484378" r:id="rId15"/>
    <p:sldLayoutId id="2147484379" r:id="rId16"/>
    <p:sldLayoutId id="2147484380" r:id="rId17"/>
    <p:sldLayoutId id="2147484381" r:id="rId18"/>
    <p:sldLayoutId id="2147484382" r:id="rId19"/>
    <p:sldLayoutId id="2147484383" r:id="rId20"/>
    <p:sldLayoutId id="2147484384" r:id="rId21"/>
    <p:sldLayoutId id="2147484385" r:id="rId22"/>
    <p:sldLayoutId id="2147484386" r:id="rId23"/>
    <p:sldLayoutId id="2147484387" r:id="rId24"/>
    <p:sldLayoutId id="2147484388" r:id="rId25"/>
    <p:sldLayoutId id="2147484389" r:id="rId26"/>
    <p:sldLayoutId id="2147484390" r:id="rId27"/>
    <p:sldLayoutId id="2147484391" r:id="rId28"/>
    <p:sldLayoutId id="2147484392" r:id="rId29"/>
    <p:sldLayoutId id="2147484393" r:id="rId30"/>
    <p:sldLayoutId id="2147484394" r:id="rId31"/>
    <p:sldLayoutId id="2147484395" r:id="rId32"/>
    <p:sldLayoutId id="2147484396" r:id="rId33"/>
    <p:sldLayoutId id="2147484397" r:id="rId34"/>
    <p:sldLayoutId id="2147484398" r:id="rId35"/>
    <p:sldLayoutId id="2147484399" r:id="rId36"/>
    <p:sldLayoutId id="2147484400" r:id="rId37"/>
    <p:sldLayoutId id="2147484401" r:id="rId38"/>
    <p:sldLayoutId id="2147484402" r:id="rId39"/>
    <p:sldLayoutId id="2147484403" r:id="rId40"/>
    <p:sldLayoutId id="2147484404" r:id="rId41"/>
    <p:sldLayoutId id="2147484405" r:id="rId42"/>
    <p:sldLayoutId id="2147484406" r:id="rId43"/>
    <p:sldLayoutId id="2147484407" r:id="rId44"/>
    <p:sldLayoutId id="2147484408" r:id="rId45"/>
    <p:sldLayoutId id="2147484409" r:id="rId46"/>
    <p:sldLayoutId id="2147484410" r:id="rId47"/>
    <p:sldLayoutId id="2147484411" r:id="rId48"/>
    <p:sldLayoutId id="2147484412" r:id="rId49"/>
    <p:sldLayoutId id="2147484413" r:id="rId50"/>
    <p:sldLayoutId id="2147484414" r:id="rId51"/>
    <p:sldLayoutId id="2147484415" r:id="rId52"/>
    <p:sldLayoutId id="2147484416" r:id="rId53"/>
    <p:sldLayoutId id="2147484417" r:id="rId54"/>
    <p:sldLayoutId id="2147484418" r:id="rId55"/>
    <p:sldLayoutId id="2147484419" r:id="rId56"/>
    <p:sldLayoutId id="2147484420" r:id="rId57"/>
    <p:sldLayoutId id="2147484421" r:id="rId58"/>
    <p:sldLayoutId id="2147484422" r:id="rId59"/>
    <p:sldLayoutId id="2147484423" r:id="rId60"/>
    <p:sldLayoutId id="2147484424" r:id="rId61"/>
    <p:sldLayoutId id="2147484425" r:id="rId62"/>
    <p:sldLayoutId id="2147484426" r:id="rId63"/>
    <p:sldLayoutId id="2147484427" r:id="rId64"/>
    <p:sldLayoutId id="2147484428" r:id="rId65"/>
    <p:sldLayoutId id="2147484429" r:id="rId66"/>
    <p:sldLayoutId id="2147484430" r:id="rId67"/>
    <p:sldLayoutId id="2147484431" r:id="rId68"/>
    <p:sldLayoutId id="2147484432" r:id="rId69"/>
    <p:sldLayoutId id="2147484433" r:id="rId70"/>
    <p:sldLayoutId id="2147484434" r:id="rId71"/>
    <p:sldLayoutId id="2147484435" r:id="rId72"/>
    <p:sldLayoutId id="2147484436" r:id="rId73"/>
    <p:sldLayoutId id="2147484437" r:id="rId74"/>
    <p:sldLayoutId id="2147484438" r:id="rId75"/>
    <p:sldLayoutId id="2147484439" r:id="rId76"/>
    <p:sldLayoutId id="2147484440" r:id="rId77"/>
    <p:sldLayoutId id="2147484441" r:id="rId78"/>
    <p:sldLayoutId id="2147484442" r:id="rId79"/>
    <p:sldLayoutId id="2147484443" r:id="rId80"/>
    <p:sldLayoutId id="2147484444" r:id="rId81"/>
    <p:sldLayoutId id="2147484445" r:id="rId82"/>
    <p:sldLayoutId id="2147484446" r:id="rId83"/>
    <p:sldLayoutId id="2147484447" r:id="rId84"/>
    <p:sldLayoutId id="2147484448" r:id="rId85"/>
    <p:sldLayoutId id="2147484449" r:id="rId86"/>
    <p:sldLayoutId id="2147484450" r:id="rId87"/>
    <p:sldLayoutId id="2147484451" r:id="rId88"/>
    <p:sldLayoutId id="2147484452" r:id="rId89"/>
    <p:sldLayoutId id="2147484453" r:id="rId90"/>
    <p:sldLayoutId id="2147484454" r:id="rId91"/>
    <p:sldLayoutId id="2147484455" r:id="rId92"/>
    <p:sldLayoutId id="2147484456" r:id="rId93"/>
    <p:sldLayoutId id="2147484457" r:id="rId94"/>
    <p:sldLayoutId id="2147484458" r:id="rId95"/>
    <p:sldLayoutId id="2147484459" r:id="rId96"/>
    <p:sldLayoutId id="2147484460" r:id="rId97"/>
    <p:sldLayoutId id="2147484461" r:id="rId98"/>
    <p:sldLayoutId id="2147484462" r:id="rId99"/>
    <p:sldLayoutId id="2147484463" r:id="rId100"/>
    <p:sldLayoutId id="2147484464" r:id="rId101"/>
    <p:sldLayoutId id="2147484465" r:id="rId102"/>
    <p:sldLayoutId id="2147484466" r:id="rId103"/>
    <p:sldLayoutId id="2147484467" r:id="rId104"/>
    <p:sldLayoutId id="2147484468" r:id="rId105"/>
    <p:sldLayoutId id="2147484469" r:id="rId106"/>
    <p:sldLayoutId id="2147484470" r:id="rId107"/>
    <p:sldLayoutId id="2147484471" r:id="rId108"/>
    <p:sldLayoutId id="2147484472" r:id="rId109"/>
    <p:sldLayoutId id="2147484473" r:id="rId110"/>
    <p:sldLayoutId id="2147484474" r:id="rId111"/>
    <p:sldLayoutId id="2147484475" r:id="rId112"/>
    <p:sldLayoutId id="2147484476" r:id="rId113"/>
    <p:sldLayoutId id="2147484477" r:id="rId114"/>
    <p:sldLayoutId id="2147484478" r:id="rId115"/>
    <p:sldLayoutId id="2147484479" r:id="rId116"/>
    <p:sldLayoutId id="2147484480" r:id="rId117"/>
    <p:sldLayoutId id="2147484481" r:id="rId11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865609483"/>
      </p:ext>
    </p:extLst>
  </p:cSld>
  <p:clrMap bg1="dk1" tx1="lt1" bg2="dk2" tx2="lt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 id="2147483760" r:id="rId56"/>
    <p:sldLayoutId id="2147483761" r:id="rId57"/>
    <p:sldLayoutId id="2147483762" r:id="rId58"/>
    <p:sldLayoutId id="2147483763" r:id="rId59"/>
    <p:sldLayoutId id="2147483764" r:id="rId60"/>
    <p:sldLayoutId id="2147483765" r:id="rId61"/>
    <p:sldLayoutId id="2147483766" r:id="rId62"/>
    <p:sldLayoutId id="2147483767" r:id="rId63"/>
    <p:sldLayoutId id="2147483768" r:id="rId64"/>
    <p:sldLayoutId id="2147483769" r:id="rId65"/>
    <p:sldLayoutId id="2147483770" r:id="rId66"/>
    <p:sldLayoutId id="2147483771" r:id="rId67"/>
    <p:sldLayoutId id="2147483772" r:id="rId68"/>
    <p:sldLayoutId id="2147483773" r:id="rId69"/>
    <p:sldLayoutId id="2147483774" r:id="rId70"/>
    <p:sldLayoutId id="2147483775" r:id="rId71"/>
    <p:sldLayoutId id="2147483776" r:id="rId72"/>
    <p:sldLayoutId id="2147483777" r:id="rId73"/>
    <p:sldLayoutId id="2147483778" r:id="rId74"/>
    <p:sldLayoutId id="2147483779" r:id="rId75"/>
    <p:sldLayoutId id="2147483780" r:id="rId76"/>
    <p:sldLayoutId id="2147483781" r:id="rId77"/>
    <p:sldLayoutId id="2147483782" r:id="rId78"/>
    <p:sldLayoutId id="2147483783" r:id="rId79"/>
    <p:sldLayoutId id="2147483784" r:id="rId80"/>
    <p:sldLayoutId id="2147483785" r:id="rId81"/>
    <p:sldLayoutId id="2147483817" r:id="rId8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8109719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Light" panose="020B0502040204020203" pitchFamily="34" charset="0"/>
          <a:ea typeface="+mn-ea"/>
          <a:cs typeface="Segoe UI Light" panose="020B05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245041358"/>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 id="2147483816"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9"/>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959853757"/>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6" r:id="rId7"/>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44"/>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25" imgH="424" progId="TCLayout.ActiveDocument.1">
                  <p:embed/>
                </p:oleObj>
              </mc:Choice>
              <mc:Fallback>
                <p:oleObj name="think-cell Slide" r:id="rId45"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949902528"/>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5" r:id="rId16"/>
    <p:sldLayoutId id="2147484106" r:id="rId17"/>
    <p:sldLayoutId id="2147484107" r:id="rId18"/>
    <p:sldLayoutId id="2147484108" r:id="rId19"/>
    <p:sldLayoutId id="2147484109" r:id="rId20"/>
    <p:sldLayoutId id="2147484110" r:id="rId21"/>
    <p:sldLayoutId id="2147484111" r:id="rId22"/>
    <p:sldLayoutId id="2147484112" r:id="rId23"/>
    <p:sldLayoutId id="2147484113" r:id="rId24"/>
    <p:sldLayoutId id="2147484114" r:id="rId25"/>
    <p:sldLayoutId id="2147484115" r:id="rId26"/>
    <p:sldLayoutId id="2147484116" r:id="rId27"/>
    <p:sldLayoutId id="2147484117" r:id="rId28"/>
    <p:sldLayoutId id="2147484118" r:id="rId29"/>
    <p:sldLayoutId id="2147484119" r:id="rId30"/>
    <p:sldLayoutId id="2147484120" r:id="rId31"/>
    <p:sldLayoutId id="2147484121" r:id="rId32"/>
    <p:sldLayoutId id="2147484122" r:id="rId33"/>
    <p:sldLayoutId id="2147484123" r:id="rId34"/>
    <p:sldLayoutId id="2147484124" r:id="rId35"/>
    <p:sldLayoutId id="2147484125" r:id="rId36"/>
    <p:sldLayoutId id="2147484126" r:id="rId37"/>
    <p:sldLayoutId id="2147484127" r:id="rId38"/>
    <p:sldLayoutId id="2147484128" r:id="rId39"/>
    <p:sldLayoutId id="2147484129" r:id="rId40"/>
    <p:sldLayoutId id="2147484130" r:id="rId41"/>
    <p:sldLayoutId id="2147484131" r:id="rId42"/>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US"/>
              <a:t>Microsoft Confidential - Internal Only</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8F881BB8-5469-4299-99B9-578BE3320A80}" type="slidenum">
              <a:rPr lang="en-US" smtClean="0"/>
              <a:pPr/>
              <a:t>‹#›</a:t>
            </a:fld>
            <a:endParaRPr lang="en-US"/>
          </a:p>
        </p:txBody>
      </p:sp>
    </p:spTree>
    <p:extLst>
      <p:ext uri="{BB962C8B-B14F-4D97-AF65-F5344CB8AC3E}">
        <p14:creationId xmlns:p14="http://schemas.microsoft.com/office/powerpoint/2010/main" val="1165713999"/>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2E3252"/>
            </a:gs>
            <a:gs pos="2000">
              <a:srgbClr val="2E3252"/>
            </a:gs>
            <a:gs pos="100000">
              <a:srgbClr val="161828"/>
            </a:gs>
          </a:gsLst>
          <a:path path="circle">
            <a:fillToRect l="50000" t="50000" r="50000" b="50000"/>
          </a:path>
          <a:tileRect/>
        </a:gradFill>
        <a:effectLst/>
      </p:bgPr>
    </p:bg>
    <p:spTree>
      <p:nvGrpSpPr>
        <p:cNvPr id="1" name="Shape 50"/>
        <p:cNvGrpSpPr/>
        <p:nvPr/>
      </p:nvGrpSpPr>
      <p:grpSpPr>
        <a:xfrm>
          <a:off x="0" y="0"/>
          <a:ext cx="0" cy="0"/>
          <a:chOff x="0" y="0"/>
          <a:chExt cx="0" cy="0"/>
        </a:xfrm>
      </p:grpSpPr>
      <p:sp>
        <p:nvSpPr>
          <p:cNvPr id="52" name="Google Shape;52;p13"/>
          <p:cNvSpPr txBox="1">
            <a:spLocks noGrp="1"/>
          </p:cNvSpPr>
          <p:nvPr>
            <p:ph type="title"/>
          </p:nvPr>
        </p:nvSpPr>
        <p:spPr>
          <a:xfrm>
            <a:off x="1202966" y="869700"/>
            <a:ext cx="8339200" cy="796400"/>
          </a:xfrm>
          <a:prstGeom prst="rect">
            <a:avLst/>
          </a:prstGeom>
          <a:noFill/>
          <a:ln>
            <a:noFill/>
          </a:ln>
        </p:spPr>
        <p:txBody>
          <a:bodyPr spcFirstLastPara="1" wrap="square" lIns="91425" tIns="91425" rIns="91425" bIns="91425" anchor="t" anchorCtr="0">
            <a:noAutofit/>
          </a:bodyPr>
          <a:lstStyle>
            <a:lvl1pPr lvl="0" rtl="0">
              <a:lnSpc>
                <a:spcPct val="90000"/>
              </a:lnSpc>
              <a:spcBef>
                <a:spcPts val="0"/>
              </a:spcBef>
              <a:spcAft>
                <a:spcPts val="0"/>
              </a:spcAft>
              <a:buClr>
                <a:schemeClr val="lt1"/>
              </a:buClr>
              <a:buSzPts val="3400"/>
              <a:buFont typeface="Helvetica Neue"/>
              <a:buNone/>
              <a:defRPr sz="3400" b="1">
                <a:solidFill>
                  <a:schemeClr val="lt1"/>
                </a:solidFill>
                <a:latin typeface="Helvetica Neue"/>
                <a:ea typeface="Helvetica Neue"/>
                <a:cs typeface="Helvetica Neue"/>
                <a:sym typeface="Helvetica Neue"/>
              </a:defRPr>
            </a:lvl1pPr>
            <a:lvl2pPr lvl="1" rtl="0">
              <a:lnSpc>
                <a:spcPct val="90000"/>
              </a:lnSpc>
              <a:spcBef>
                <a:spcPts val="0"/>
              </a:spcBef>
              <a:spcAft>
                <a:spcPts val="0"/>
              </a:spcAft>
              <a:buSzPts val="1400"/>
              <a:buNone/>
              <a:defRPr/>
            </a:lvl2pPr>
            <a:lvl3pPr lvl="2" rtl="0">
              <a:lnSpc>
                <a:spcPct val="90000"/>
              </a:lnSpc>
              <a:spcBef>
                <a:spcPts val="0"/>
              </a:spcBef>
              <a:spcAft>
                <a:spcPts val="0"/>
              </a:spcAft>
              <a:buSzPts val="1400"/>
              <a:buNone/>
              <a:defRPr/>
            </a:lvl3pPr>
            <a:lvl4pPr lvl="3" rtl="0">
              <a:lnSpc>
                <a:spcPct val="90000"/>
              </a:lnSpc>
              <a:spcBef>
                <a:spcPts val="0"/>
              </a:spcBef>
              <a:spcAft>
                <a:spcPts val="0"/>
              </a:spcAft>
              <a:buSzPts val="1400"/>
              <a:buNone/>
              <a:defRPr/>
            </a:lvl4pPr>
            <a:lvl5pPr lvl="4" rtl="0">
              <a:lnSpc>
                <a:spcPct val="90000"/>
              </a:lnSpc>
              <a:spcBef>
                <a:spcPts val="0"/>
              </a:spcBef>
              <a:spcAft>
                <a:spcPts val="0"/>
              </a:spcAft>
              <a:buSzPts val="1400"/>
              <a:buNone/>
              <a:defRPr/>
            </a:lvl5pPr>
            <a:lvl6pPr lvl="5" rtl="0">
              <a:lnSpc>
                <a:spcPct val="90000"/>
              </a:lnSpc>
              <a:spcBef>
                <a:spcPts val="0"/>
              </a:spcBef>
              <a:spcAft>
                <a:spcPts val="0"/>
              </a:spcAft>
              <a:buSzPts val="1400"/>
              <a:buNone/>
              <a:defRPr/>
            </a:lvl6pPr>
            <a:lvl7pPr lvl="6" rtl="0">
              <a:lnSpc>
                <a:spcPct val="90000"/>
              </a:lnSpc>
              <a:spcBef>
                <a:spcPts val="0"/>
              </a:spcBef>
              <a:spcAft>
                <a:spcPts val="0"/>
              </a:spcAft>
              <a:buSzPts val="1400"/>
              <a:buNone/>
              <a:defRPr/>
            </a:lvl7pPr>
            <a:lvl8pPr lvl="7" rtl="0">
              <a:lnSpc>
                <a:spcPct val="90000"/>
              </a:lnSpc>
              <a:spcBef>
                <a:spcPts val="0"/>
              </a:spcBef>
              <a:spcAft>
                <a:spcPts val="0"/>
              </a:spcAft>
              <a:buSzPts val="1400"/>
              <a:buNone/>
              <a:defRPr/>
            </a:lvl8pPr>
            <a:lvl9pPr lvl="8" rtl="0">
              <a:lnSpc>
                <a:spcPct val="90000"/>
              </a:lnSpc>
              <a:spcBef>
                <a:spcPts val="0"/>
              </a:spcBef>
              <a:spcAft>
                <a:spcPts val="0"/>
              </a:spcAft>
              <a:buSzPts val="1400"/>
              <a:buNone/>
              <a:defRPr/>
            </a:lvl9pPr>
          </a:lstStyle>
          <a:p>
            <a:endParaRPr dirty="0"/>
          </a:p>
        </p:txBody>
      </p:sp>
      <p:sp>
        <p:nvSpPr>
          <p:cNvPr id="51" name="Google Shape;51;p13"/>
          <p:cNvSpPr txBox="1">
            <a:spLocks noGrp="1"/>
          </p:cNvSpPr>
          <p:nvPr>
            <p:ph type="body" idx="1"/>
          </p:nvPr>
        </p:nvSpPr>
        <p:spPr>
          <a:xfrm>
            <a:off x="1202967" y="2252867"/>
            <a:ext cx="8869200" cy="3316000"/>
          </a:xfrm>
          <a:prstGeom prst="rect">
            <a:avLst/>
          </a:prstGeom>
          <a:noFill/>
          <a:ln>
            <a:noFill/>
          </a:ln>
        </p:spPr>
        <p:txBody>
          <a:bodyPr spcFirstLastPara="1" wrap="square" lIns="91425" tIns="91425" rIns="91425" bIns="91425" anchor="t" anchorCtr="0">
            <a:noAutofit/>
          </a:bodyPr>
          <a:lstStyle>
            <a:lvl1pPr marL="457200" lvl="0"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1pPr>
            <a:lvl2pPr marL="914400" lvl="1"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2pPr>
            <a:lvl3pPr marL="1371600" lvl="2"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3pPr>
            <a:lvl4pPr marL="1828800" lvl="3"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4pPr>
            <a:lvl5pPr marL="2286000" lvl="4"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5pPr>
            <a:lvl6pPr marL="2743200" lvl="5"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6pPr>
            <a:lvl7pPr marL="3200400" lvl="6"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7pPr>
            <a:lvl8pPr marL="3657600" lvl="7"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8pPr>
            <a:lvl9pPr marL="4114800" lvl="8"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9pPr>
          </a:lstStyle>
          <a:p>
            <a:endParaRPr/>
          </a:p>
        </p:txBody>
      </p:sp>
    </p:spTree>
    <p:extLst>
      <p:ext uri="{BB962C8B-B14F-4D97-AF65-F5344CB8AC3E}">
        <p14:creationId xmlns:p14="http://schemas.microsoft.com/office/powerpoint/2010/main" val="2444771979"/>
      </p:ext>
    </p:extLst>
  </p:cSld>
  <p:clrMap bg1="lt1" tx1="dk1" bg2="dk2" tx2="lt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 id="2147484191" r:id="rId19"/>
    <p:sldLayoutId id="2147484192" r:id="rId20"/>
    <p:sldLayoutId id="2147484193" r:id="rId21"/>
    <p:sldLayoutId id="2147484194" r:id="rId22"/>
    <p:sldLayoutId id="2147484195" r:id="rId23"/>
    <p:sldLayoutId id="2147484196" r:id="rId24"/>
    <p:sldLayoutId id="2147484197" r:id="rId25"/>
    <p:sldLayoutId id="2147484198" r:id="rId26"/>
    <p:sldLayoutId id="2147484199" r:id="rId27"/>
    <p:sldLayoutId id="2147484200" r:id="rId28"/>
    <p:sldLayoutId id="2147484201" r:id="rId29"/>
    <p:sldLayoutId id="2147484202" r:id="rId3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4" b="0" i="0" u="none" strike="noStrike" cap="none">
          <a:solidFill>
            <a:srgbClr val="000000"/>
          </a:solidFill>
          <a:latin typeface="Helvetica" pitchFamily="2" charset="0"/>
          <a:ea typeface="Helvetica" pitchFamily="2" charset="0"/>
          <a:cs typeface="Arial"/>
          <a:sym typeface="Arial"/>
        </a:defRPr>
      </a:lvl1pPr>
      <a:lvl2pPr marR="0" lvl="1"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4" b="0" i="0" u="none" strike="noStrike" cap="none">
          <a:solidFill>
            <a:srgbClr val="000000"/>
          </a:solidFill>
          <a:latin typeface="Helvetica" pitchFamily="2" charset="0"/>
          <a:ea typeface="Helvetica" pitchFamily="2" charset="0"/>
          <a:cs typeface="Arial"/>
          <a:sym typeface="Arial"/>
        </a:defRPr>
      </a:lvl1pPr>
      <a:lvl2pPr marR="0" lvl="1"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4"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2E3252"/>
            </a:gs>
            <a:gs pos="2000">
              <a:srgbClr val="2E3252"/>
            </a:gs>
            <a:gs pos="100000">
              <a:srgbClr val="161828"/>
            </a:gs>
          </a:gsLst>
          <a:path path="circle">
            <a:fillToRect l="50000" t="50000" r="50000" b="50000"/>
          </a:path>
          <a:tileRect/>
        </a:gra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body" idx="1"/>
          </p:nvPr>
        </p:nvSpPr>
        <p:spPr>
          <a:xfrm>
            <a:off x="1202967" y="2252867"/>
            <a:ext cx="8869200" cy="3316000"/>
          </a:xfrm>
          <a:prstGeom prst="rect">
            <a:avLst/>
          </a:prstGeom>
          <a:noFill/>
          <a:ln>
            <a:noFill/>
          </a:ln>
        </p:spPr>
        <p:txBody>
          <a:bodyPr spcFirstLastPara="1" wrap="square" lIns="91425" tIns="91425" rIns="91425" bIns="91425" anchor="t" anchorCtr="0">
            <a:noAutofit/>
          </a:bodyPr>
          <a:lstStyle>
            <a:lvl1pPr marL="457200" lvl="0"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1pPr>
            <a:lvl2pPr marL="914400" lvl="1"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2pPr>
            <a:lvl3pPr marL="1371600" lvl="2"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3pPr>
            <a:lvl4pPr marL="1828800" lvl="3"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4pPr>
            <a:lvl5pPr marL="2286000" lvl="4"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5pPr>
            <a:lvl6pPr marL="2743200" lvl="5"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6pPr>
            <a:lvl7pPr marL="3200400" lvl="6"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7pPr>
            <a:lvl8pPr marL="3657600" lvl="7"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8pPr>
            <a:lvl9pPr marL="4114800" lvl="8" indent="-292100" rtl="0">
              <a:lnSpc>
                <a:spcPct val="120000"/>
              </a:lnSpc>
              <a:spcBef>
                <a:spcPts val="0"/>
              </a:spcBef>
              <a:spcAft>
                <a:spcPts val="0"/>
              </a:spcAft>
              <a:buClr>
                <a:srgbClr val="BFE8F6"/>
              </a:buClr>
              <a:buSzPts val="1000"/>
              <a:buFont typeface="Helvetica Neue"/>
              <a:buChar char="■"/>
              <a:defRPr sz="1000">
                <a:solidFill>
                  <a:srgbClr val="BFE8F6"/>
                </a:solidFill>
                <a:latin typeface="Helvetica Neue"/>
                <a:ea typeface="Helvetica Neue"/>
                <a:cs typeface="Helvetica Neue"/>
                <a:sym typeface="Helvetica Neue"/>
              </a:defRPr>
            </a:lvl9pPr>
          </a:lstStyle>
          <a:p>
            <a:endParaRPr/>
          </a:p>
        </p:txBody>
      </p:sp>
      <p:sp>
        <p:nvSpPr>
          <p:cNvPr id="52" name="Google Shape;52;p13"/>
          <p:cNvSpPr txBox="1">
            <a:spLocks noGrp="1"/>
          </p:cNvSpPr>
          <p:nvPr>
            <p:ph type="title"/>
          </p:nvPr>
        </p:nvSpPr>
        <p:spPr>
          <a:xfrm>
            <a:off x="1202967" y="869700"/>
            <a:ext cx="8339200" cy="796400"/>
          </a:xfrm>
          <a:prstGeom prst="rect">
            <a:avLst/>
          </a:prstGeom>
          <a:noFill/>
          <a:ln>
            <a:noFill/>
          </a:ln>
        </p:spPr>
        <p:txBody>
          <a:bodyPr spcFirstLastPara="1" wrap="square" lIns="91425" tIns="91425" rIns="91425" bIns="91425" anchor="t" anchorCtr="0">
            <a:noAutofit/>
          </a:bodyPr>
          <a:lstStyle>
            <a:lvl1pPr lvl="0" rtl="0">
              <a:lnSpc>
                <a:spcPct val="90000"/>
              </a:lnSpc>
              <a:spcBef>
                <a:spcPts val="0"/>
              </a:spcBef>
              <a:spcAft>
                <a:spcPts val="0"/>
              </a:spcAft>
              <a:buClr>
                <a:schemeClr val="lt1"/>
              </a:buClr>
              <a:buSzPts val="3400"/>
              <a:buFont typeface="Helvetica Neue"/>
              <a:buNone/>
              <a:defRPr sz="3400" b="1">
                <a:solidFill>
                  <a:schemeClr val="lt1"/>
                </a:solidFill>
                <a:latin typeface="Helvetica Neue"/>
                <a:ea typeface="Helvetica Neue"/>
                <a:cs typeface="Helvetica Neue"/>
                <a:sym typeface="Helvetica Neue"/>
              </a:defRPr>
            </a:lvl1pPr>
            <a:lvl2pPr lvl="1" rtl="0">
              <a:lnSpc>
                <a:spcPct val="90000"/>
              </a:lnSpc>
              <a:spcBef>
                <a:spcPts val="0"/>
              </a:spcBef>
              <a:spcAft>
                <a:spcPts val="0"/>
              </a:spcAft>
              <a:buSzPts val="1400"/>
              <a:buNone/>
              <a:defRPr/>
            </a:lvl2pPr>
            <a:lvl3pPr lvl="2" rtl="0">
              <a:lnSpc>
                <a:spcPct val="90000"/>
              </a:lnSpc>
              <a:spcBef>
                <a:spcPts val="0"/>
              </a:spcBef>
              <a:spcAft>
                <a:spcPts val="0"/>
              </a:spcAft>
              <a:buSzPts val="1400"/>
              <a:buNone/>
              <a:defRPr/>
            </a:lvl3pPr>
            <a:lvl4pPr lvl="3" rtl="0">
              <a:lnSpc>
                <a:spcPct val="90000"/>
              </a:lnSpc>
              <a:spcBef>
                <a:spcPts val="0"/>
              </a:spcBef>
              <a:spcAft>
                <a:spcPts val="0"/>
              </a:spcAft>
              <a:buSzPts val="1400"/>
              <a:buNone/>
              <a:defRPr/>
            </a:lvl4pPr>
            <a:lvl5pPr lvl="4" rtl="0">
              <a:lnSpc>
                <a:spcPct val="90000"/>
              </a:lnSpc>
              <a:spcBef>
                <a:spcPts val="0"/>
              </a:spcBef>
              <a:spcAft>
                <a:spcPts val="0"/>
              </a:spcAft>
              <a:buSzPts val="1400"/>
              <a:buNone/>
              <a:defRPr/>
            </a:lvl5pPr>
            <a:lvl6pPr lvl="5" rtl="0">
              <a:lnSpc>
                <a:spcPct val="90000"/>
              </a:lnSpc>
              <a:spcBef>
                <a:spcPts val="0"/>
              </a:spcBef>
              <a:spcAft>
                <a:spcPts val="0"/>
              </a:spcAft>
              <a:buSzPts val="1400"/>
              <a:buNone/>
              <a:defRPr/>
            </a:lvl6pPr>
            <a:lvl7pPr lvl="6" rtl="0">
              <a:lnSpc>
                <a:spcPct val="90000"/>
              </a:lnSpc>
              <a:spcBef>
                <a:spcPts val="0"/>
              </a:spcBef>
              <a:spcAft>
                <a:spcPts val="0"/>
              </a:spcAft>
              <a:buSzPts val="1400"/>
              <a:buNone/>
              <a:defRPr/>
            </a:lvl7pPr>
            <a:lvl8pPr lvl="7" rtl="0">
              <a:lnSpc>
                <a:spcPct val="90000"/>
              </a:lnSpc>
              <a:spcBef>
                <a:spcPts val="0"/>
              </a:spcBef>
              <a:spcAft>
                <a:spcPts val="0"/>
              </a:spcAft>
              <a:buSzPts val="1400"/>
              <a:buNone/>
              <a:defRPr/>
            </a:lvl8pPr>
            <a:lvl9pPr lvl="8" rtl="0">
              <a:lnSpc>
                <a:spcPct val="90000"/>
              </a:lnSpc>
              <a:spcBef>
                <a:spcPts val="0"/>
              </a:spcBef>
              <a:spcAft>
                <a:spcPts val="0"/>
              </a:spcAft>
              <a:buSzPts val="1400"/>
              <a:buNone/>
              <a:defRPr/>
            </a:lvl9pPr>
          </a:lstStyle>
          <a:p>
            <a:endParaRPr/>
          </a:p>
        </p:txBody>
      </p:sp>
      <p:sp>
        <p:nvSpPr>
          <p:cNvPr id="3" name="TextBox 2">
            <a:extLst>
              <a:ext uri="{FF2B5EF4-FFF2-40B4-BE49-F238E27FC236}">
                <a16:creationId xmlns:a16="http://schemas.microsoft.com/office/drawing/2014/main" id="{16392E88-D908-474C-BF42-F7A49125F259}"/>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328788181"/>
      </p:ext>
    </p:extLst>
  </p:cSld>
  <p:clrMap bg1="lt1" tx1="dk1" bg2="dk2" tx2="lt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4231" r:id="rId20"/>
    <p:sldLayoutId id="2147484232" r:id="rId21"/>
    <p:sldLayoutId id="2147484233" r:id="rId22"/>
    <p:sldLayoutId id="2147484234" r:id="rId23"/>
    <p:sldLayoutId id="2147484235" r:id="rId24"/>
    <p:sldLayoutId id="2147484236" r:id="rId25"/>
    <p:sldLayoutId id="2147484237" r:id="rId26"/>
    <p:sldLayoutId id="2147484238" r:id="rId2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Helvetica" pitchFamily="2" charset="0"/>
          <a:ea typeface="Helvetica" pitchFamily="2" charset="0"/>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Helvetica" pitchFamily="2" charset="0"/>
          <a:ea typeface="Helvetica" pitchFamily="2" charset="0"/>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51.xml"/><Relationship Id="rId1" Type="http://schemas.openxmlformats.org/officeDocument/2006/relationships/tags" Target="../tags/tag18.xml"/><Relationship Id="rId4" Type="http://schemas.openxmlformats.org/officeDocument/2006/relationships/image" Target="../media/image13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2.xml"/><Relationship Id="rId1" Type="http://schemas.openxmlformats.org/officeDocument/2006/relationships/tags" Target="../tags/tag19.xml"/><Relationship Id="rId4" Type="http://schemas.openxmlformats.org/officeDocument/2006/relationships/hyperlink" Target="https://aka.ms/copilot"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20.xml"/></Relationships>
</file>

<file path=ppt/slides/_rels/slide13.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41.png"/><Relationship Id="rId3" Type="http://schemas.openxmlformats.org/officeDocument/2006/relationships/notesSlide" Target="../notesSlides/notesSlide13.xml"/><Relationship Id="rId7" Type="http://schemas.openxmlformats.org/officeDocument/2006/relationships/image" Target="../media/image135.png"/><Relationship Id="rId12" Type="http://schemas.openxmlformats.org/officeDocument/2006/relationships/image" Target="../media/image140.png"/><Relationship Id="rId2" Type="http://schemas.openxmlformats.org/officeDocument/2006/relationships/slideLayout" Target="../slideLayouts/slideLayout334.xml"/><Relationship Id="rId1" Type="http://schemas.openxmlformats.org/officeDocument/2006/relationships/tags" Target="../tags/tag21.xml"/><Relationship Id="rId6" Type="http://schemas.openxmlformats.org/officeDocument/2006/relationships/image" Target="../media/image71.png"/><Relationship Id="rId11" Type="http://schemas.openxmlformats.org/officeDocument/2006/relationships/image" Target="../media/image139.png"/><Relationship Id="rId5" Type="http://schemas.openxmlformats.org/officeDocument/2006/relationships/image" Target="../media/image134.png"/><Relationship Id="rId10" Type="http://schemas.openxmlformats.org/officeDocument/2006/relationships/image" Target="../media/image138.png"/><Relationship Id="rId4" Type="http://schemas.openxmlformats.org/officeDocument/2006/relationships/image" Target="../media/image133.png"/><Relationship Id="rId9" Type="http://schemas.openxmlformats.org/officeDocument/2006/relationships/image" Target="../media/image137.png"/><Relationship Id="rId14" Type="http://schemas.openxmlformats.org/officeDocument/2006/relationships/image" Target="../media/image142.png"/></Relationships>
</file>

<file path=ppt/slides/_rels/slide14.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2.png"/><Relationship Id="rId3" Type="http://schemas.openxmlformats.org/officeDocument/2006/relationships/notesSlide" Target="../notesSlides/notesSlide14.xml"/><Relationship Id="rId7" Type="http://schemas.openxmlformats.org/officeDocument/2006/relationships/image" Target="../media/image146.png"/><Relationship Id="rId12" Type="http://schemas.openxmlformats.org/officeDocument/2006/relationships/image" Target="../media/image151.png"/><Relationship Id="rId2" Type="http://schemas.openxmlformats.org/officeDocument/2006/relationships/slideLayout" Target="../slideLayouts/slideLayout439.xml"/><Relationship Id="rId1" Type="http://schemas.openxmlformats.org/officeDocument/2006/relationships/tags" Target="../tags/tag22.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5" Type="http://schemas.openxmlformats.org/officeDocument/2006/relationships/image" Target="../media/image154.png"/><Relationship Id="rId10" Type="http://schemas.openxmlformats.org/officeDocument/2006/relationships/image" Target="../media/image149.png"/><Relationship Id="rId4" Type="http://schemas.openxmlformats.org/officeDocument/2006/relationships/image" Target="../media/image143.png"/><Relationship Id="rId9" Type="http://schemas.openxmlformats.org/officeDocument/2006/relationships/image" Target="../media/image148.png"/><Relationship Id="rId14" Type="http://schemas.openxmlformats.org/officeDocument/2006/relationships/image" Target="../media/image15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2.xml"/><Relationship Id="rId1" Type="http://schemas.openxmlformats.org/officeDocument/2006/relationships/tags" Target="../tags/tag23.xml"/><Relationship Id="rId4" Type="http://schemas.openxmlformats.org/officeDocument/2006/relationships/image" Target="../media/image155.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2.xml"/><Relationship Id="rId1" Type="http://schemas.openxmlformats.org/officeDocument/2006/relationships/tags" Target="../tags/tag24.xml"/><Relationship Id="rId5" Type="http://schemas.openxmlformats.org/officeDocument/2006/relationships/image" Target="../media/image156.png"/><Relationship Id="rId4" Type="http://schemas.microsoft.com/office/2018/10/relationships/comments" Target="../comments/modernComment_7FFFF8BA_B330A6F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2.xml"/><Relationship Id="rId1" Type="http://schemas.openxmlformats.org/officeDocument/2006/relationships/tags" Target="../tags/tag25.xml"/><Relationship Id="rId4" Type="http://schemas.openxmlformats.org/officeDocument/2006/relationships/image" Target="../media/image157.png"/></Relationships>
</file>

<file path=ppt/slides/_rels/slide18.xml.rels><?xml version="1.0" encoding="UTF-8" standalone="yes"?>
<Relationships xmlns="http://schemas.openxmlformats.org/package/2006/relationships"><Relationship Id="rId8" Type="http://schemas.openxmlformats.org/officeDocument/2006/relationships/image" Target="../media/image162.svg"/><Relationship Id="rId3" Type="http://schemas.openxmlformats.org/officeDocument/2006/relationships/notesSlide" Target="../notesSlides/notesSlide18.xml"/><Relationship Id="rId7" Type="http://schemas.openxmlformats.org/officeDocument/2006/relationships/image" Target="../media/image161.png"/><Relationship Id="rId2" Type="http://schemas.openxmlformats.org/officeDocument/2006/relationships/slideLayout" Target="../slideLayouts/slideLayout22.xml"/><Relationship Id="rId1" Type="http://schemas.openxmlformats.org/officeDocument/2006/relationships/tags" Target="../tags/tag26.xml"/><Relationship Id="rId6" Type="http://schemas.openxmlformats.org/officeDocument/2006/relationships/image" Target="../media/image160.svg"/><Relationship Id="rId5" Type="http://schemas.openxmlformats.org/officeDocument/2006/relationships/image" Target="../media/image159.png"/><Relationship Id="rId4" Type="http://schemas.openxmlformats.org/officeDocument/2006/relationships/image" Target="../media/image158.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2.xml"/><Relationship Id="rId1" Type="http://schemas.openxmlformats.org/officeDocument/2006/relationships/tags" Target="../tags/tag27.xml"/><Relationship Id="rId4" Type="http://schemas.openxmlformats.org/officeDocument/2006/relationships/image" Target="../media/image16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2.xml"/><Relationship Id="rId1" Type="http://schemas.openxmlformats.org/officeDocument/2006/relationships/tags" Target="../tags/tag28.xml"/><Relationship Id="rId4" Type="http://schemas.openxmlformats.org/officeDocument/2006/relationships/image" Target="../media/image164.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2.xml"/><Relationship Id="rId1" Type="http://schemas.openxmlformats.org/officeDocument/2006/relationships/tags" Target="../tags/tag2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2.xml"/><Relationship Id="rId1" Type="http://schemas.openxmlformats.org/officeDocument/2006/relationships/tags" Target="../tags/tag3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2.xml"/><Relationship Id="rId1" Type="http://schemas.openxmlformats.org/officeDocument/2006/relationships/tags" Target="../tags/tag3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3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2.xml"/><Relationship Id="rId1" Type="http://schemas.openxmlformats.org/officeDocument/2006/relationships/tags" Target="../tags/tag3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3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2.xml"/><Relationship Id="rId1" Type="http://schemas.openxmlformats.org/officeDocument/2006/relationships/tags" Target="../tags/tag3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2.xml"/><Relationship Id="rId1" Type="http://schemas.openxmlformats.org/officeDocument/2006/relationships/tags" Target="../tags/tag36.xml"/><Relationship Id="rId4" Type="http://schemas.openxmlformats.org/officeDocument/2006/relationships/image" Target="../media/image165.png"/></Relationships>
</file>

<file path=ppt/slides/_rels/slide29.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slideLayout" Target="../slideLayouts/slideLayout32.xml"/><Relationship Id="rId7" Type="http://schemas.openxmlformats.org/officeDocument/2006/relationships/image" Target="../media/image16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svg"/><Relationship Id="rId18" Type="http://schemas.openxmlformats.org/officeDocument/2006/relationships/image" Target="../media/image119.png"/><Relationship Id="rId3" Type="http://schemas.openxmlformats.org/officeDocument/2006/relationships/notesSlide" Target="../notesSlides/notesSlide3.xml"/><Relationship Id="rId21" Type="http://schemas.openxmlformats.org/officeDocument/2006/relationships/image" Target="../media/image122.svg"/><Relationship Id="rId7" Type="http://schemas.openxmlformats.org/officeDocument/2006/relationships/image" Target="../media/image108.svg"/><Relationship Id="rId12" Type="http://schemas.openxmlformats.org/officeDocument/2006/relationships/image" Target="../media/image113.png"/><Relationship Id="rId17" Type="http://schemas.openxmlformats.org/officeDocument/2006/relationships/image" Target="../media/image118.svg"/><Relationship Id="rId2" Type="http://schemas.openxmlformats.org/officeDocument/2006/relationships/slideLayout" Target="../slideLayouts/slideLayout9.xml"/><Relationship Id="rId16" Type="http://schemas.openxmlformats.org/officeDocument/2006/relationships/image" Target="../media/image117.png"/><Relationship Id="rId20" Type="http://schemas.openxmlformats.org/officeDocument/2006/relationships/image" Target="../media/image121.png"/><Relationship Id="rId1" Type="http://schemas.openxmlformats.org/officeDocument/2006/relationships/tags" Target="../tags/tag11.xml"/><Relationship Id="rId6" Type="http://schemas.openxmlformats.org/officeDocument/2006/relationships/image" Target="../media/image107.png"/><Relationship Id="rId11" Type="http://schemas.openxmlformats.org/officeDocument/2006/relationships/image" Target="../media/image112.svg"/><Relationship Id="rId5" Type="http://schemas.openxmlformats.org/officeDocument/2006/relationships/image" Target="../media/image106.svg"/><Relationship Id="rId15" Type="http://schemas.openxmlformats.org/officeDocument/2006/relationships/image" Target="../media/image116.svg"/><Relationship Id="rId10" Type="http://schemas.openxmlformats.org/officeDocument/2006/relationships/image" Target="../media/image111.png"/><Relationship Id="rId19" Type="http://schemas.openxmlformats.org/officeDocument/2006/relationships/image" Target="../media/image120.svg"/><Relationship Id="rId4" Type="http://schemas.openxmlformats.org/officeDocument/2006/relationships/image" Target="../media/image105.png"/><Relationship Id="rId9" Type="http://schemas.openxmlformats.org/officeDocument/2006/relationships/image" Target="../media/image110.svg"/><Relationship Id="rId14" Type="http://schemas.openxmlformats.org/officeDocument/2006/relationships/image" Target="../media/image115.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2.xml"/><Relationship Id="rId1" Type="http://schemas.openxmlformats.org/officeDocument/2006/relationships/tags" Target="../tags/tag3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40.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2.xml"/><Relationship Id="rId1" Type="http://schemas.openxmlformats.org/officeDocument/2006/relationships/tags" Target="../tags/tag41.xml"/></Relationships>
</file>

<file path=ppt/slides/_rels/slide33.xml.rels><?xml version="1.0" encoding="UTF-8" standalone="yes"?>
<Relationships xmlns="http://schemas.openxmlformats.org/package/2006/relationships"><Relationship Id="rId8" Type="http://schemas.openxmlformats.org/officeDocument/2006/relationships/image" Target="../media/image162.svg"/><Relationship Id="rId3" Type="http://schemas.openxmlformats.org/officeDocument/2006/relationships/notesSlide" Target="../notesSlides/notesSlide33.xml"/><Relationship Id="rId7" Type="http://schemas.openxmlformats.org/officeDocument/2006/relationships/image" Target="../media/image161.png"/><Relationship Id="rId2" Type="http://schemas.openxmlformats.org/officeDocument/2006/relationships/slideLayout" Target="../slideLayouts/slideLayout32.xml"/><Relationship Id="rId1" Type="http://schemas.openxmlformats.org/officeDocument/2006/relationships/tags" Target="../tags/tag42.xml"/><Relationship Id="rId6" Type="http://schemas.openxmlformats.org/officeDocument/2006/relationships/image" Target="../media/image160.svg"/><Relationship Id="rId5" Type="http://schemas.openxmlformats.org/officeDocument/2006/relationships/image" Target="../media/image159.png"/><Relationship Id="rId4" Type="http://schemas.openxmlformats.org/officeDocument/2006/relationships/image" Target="../media/image158.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63.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68.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2.xml"/><Relationship Id="rId1" Type="http://schemas.openxmlformats.org/officeDocument/2006/relationships/tags" Target="../tags/tag4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2.xml"/><Relationship Id="rId1" Type="http://schemas.openxmlformats.org/officeDocument/2006/relationships/tags" Target="../tags/tag48.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72.svg"/><Relationship Id="rId2" Type="http://schemas.openxmlformats.org/officeDocument/2006/relationships/slideLayout" Target="../slideLayouts/slideLayout24.xml"/><Relationship Id="rId1" Type="http://schemas.openxmlformats.org/officeDocument/2006/relationships/tags" Target="../tags/tag49.xml"/><Relationship Id="rId6" Type="http://schemas.openxmlformats.org/officeDocument/2006/relationships/image" Target="../media/image171.png"/><Relationship Id="rId5" Type="http://schemas.openxmlformats.org/officeDocument/2006/relationships/image" Target="../media/image170.svg"/><Relationship Id="rId4" Type="http://schemas.openxmlformats.org/officeDocument/2006/relationships/image" Target="../media/image169.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5.xml"/><Relationship Id="rId1" Type="http://schemas.openxmlformats.org/officeDocument/2006/relationships/tags" Target="../tags/tag5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12.xml"/><Relationship Id="rId4" Type="http://schemas.openxmlformats.org/officeDocument/2006/relationships/image" Target="../media/image123.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2.xml"/><Relationship Id="rId1" Type="http://schemas.openxmlformats.org/officeDocument/2006/relationships/tags" Target="../tags/tag51.xml"/></Relationships>
</file>

<file path=ppt/slides/_rels/slide41.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notesSlide" Target="../notesSlides/notesSlide41.xml"/><Relationship Id="rId7" Type="http://schemas.openxmlformats.org/officeDocument/2006/relationships/image" Target="../media/image176.svg"/><Relationship Id="rId2" Type="http://schemas.openxmlformats.org/officeDocument/2006/relationships/slideLayout" Target="../slideLayouts/slideLayout32.xml"/><Relationship Id="rId1" Type="http://schemas.openxmlformats.org/officeDocument/2006/relationships/tags" Target="../tags/tag52.xml"/><Relationship Id="rId6" Type="http://schemas.openxmlformats.org/officeDocument/2006/relationships/image" Target="../media/image175.png"/><Relationship Id="rId11" Type="http://schemas.openxmlformats.org/officeDocument/2006/relationships/image" Target="../media/image180.svg"/><Relationship Id="rId5" Type="http://schemas.openxmlformats.org/officeDocument/2006/relationships/image" Target="../media/image174.svg"/><Relationship Id="rId10" Type="http://schemas.openxmlformats.org/officeDocument/2006/relationships/image" Target="../media/image179.png"/><Relationship Id="rId4" Type="http://schemas.openxmlformats.org/officeDocument/2006/relationships/image" Target="../media/image173.png"/><Relationship Id="rId9" Type="http://schemas.openxmlformats.org/officeDocument/2006/relationships/image" Target="../media/image178.sv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2.xml"/><Relationship Id="rId1" Type="http://schemas.openxmlformats.org/officeDocument/2006/relationships/tags" Target="../tags/tag53.xml"/><Relationship Id="rId4" Type="http://schemas.openxmlformats.org/officeDocument/2006/relationships/image" Target="../media/image181.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2.xml"/><Relationship Id="rId1" Type="http://schemas.openxmlformats.org/officeDocument/2006/relationships/tags" Target="../tags/tag13.xml"/><Relationship Id="rId4" Type="http://schemas.openxmlformats.org/officeDocument/2006/relationships/image" Target="../media/image12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2.xml"/><Relationship Id="rId1" Type="http://schemas.openxmlformats.org/officeDocument/2006/relationships/tags" Target="../tags/tag14.xml"/><Relationship Id="rId4" Type="http://schemas.openxmlformats.org/officeDocument/2006/relationships/image" Target="../media/image12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xml"/><Relationship Id="rId1" Type="http://schemas.openxmlformats.org/officeDocument/2006/relationships/tags" Target="../tags/tag15.xml"/><Relationship Id="rId4" Type="http://schemas.openxmlformats.org/officeDocument/2006/relationships/image" Target="../media/image126.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30.png"/><Relationship Id="rId2" Type="http://schemas.openxmlformats.org/officeDocument/2006/relationships/slideLayout" Target="../slideLayouts/slideLayout448.xml"/><Relationship Id="rId1" Type="http://schemas.openxmlformats.org/officeDocument/2006/relationships/tags" Target="../tags/tag16.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32.png"/><Relationship Id="rId2" Type="http://schemas.openxmlformats.org/officeDocument/2006/relationships/slideLayout" Target="../slideLayouts/slideLayout449.xml"/><Relationship Id="rId1" Type="http://schemas.openxmlformats.org/officeDocument/2006/relationships/tags" Target="../tags/tag17.xml"/><Relationship Id="rId6" Type="http://schemas.openxmlformats.org/officeDocument/2006/relationships/image" Target="../media/image131.png"/><Relationship Id="rId5" Type="http://schemas.openxmlformats.org/officeDocument/2006/relationships/image" Target="../media/image91.png"/><Relationship Id="rId4" Type="http://schemas.openxmlformats.org/officeDocument/2006/relationships/image" Target="../media/image1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F859BDD3-BADD-7266-4C01-246DC0D1A100}"/>
              </a:ext>
            </a:extLst>
          </p:cNvPr>
          <p:cNvSpPr>
            <a:spLocks noGrp="1"/>
          </p:cNvSpPr>
          <p:nvPr>
            <p:ph type="title" idx="4294967295"/>
          </p:nvPr>
        </p:nvSpPr>
        <p:spPr>
          <a:xfrm>
            <a:off x="563563" y="4813300"/>
            <a:ext cx="10853737" cy="65722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buFont typeface="Wingdings" panose="05000000000000000000" pitchFamily="2" charset="2"/>
              <a:defRPr/>
            </a:pPr>
            <a:r>
              <a:rPr lang="en-US" spc="0" dirty="0">
                <a:ln>
                  <a:noFill/>
                </a:ln>
                <a:solidFill>
                  <a:schemeClr val="bg1"/>
                </a:solidFill>
                <a:ea typeface="+mn-lt"/>
                <a:cs typeface="Segoe UI"/>
              </a:rPr>
              <a:t>TechExcel: Implementing DevOps practices to accelerate developer productivity</a:t>
            </a:r>
          </a:p>
        </p:txBody>
      </p:sp>
      <p:sp>
        <p:nvSpPr>
          <p:cNvPr id="2" name="Text Placeholder 7">
            <a:extLst>
              <a:ext uri="{FF2B5EF4-FFF2-40B4-BE49-F238E27FC236}">
                <a16:creationId xmlns:a16="http://schemas.microsoft.com/office/drawing/2014/main" id="{F22BD4A7-6CCB-093D-A9B3-2EB8855D17DC}"/>
              </a:ext>
            </a:extLst>
          </p:cNvPr>
          <p:cNvSpPr>
            <a:spLocks noGrp="1"/>
          </p:cNvSpPr>
          <p:nvPr>
            <p:ph type="body" sz="quarter" idx="11"/>
          </p:nvPr>
        </p:nvSpPr>
        <p:spPr>
          <a:xfrm>
            <a:off x="563498" y="5651186"/>
            <a:ext cx="6485001" cy="369332"/>
          </a:xfrm>
        </p:spPr>
        <p:txBody>
          <a:bodyPr vert="horz" wrap="square" lIns="0" tIns="0" rIns="0" bIns="0" rtlCol="0" anchor="t">
            <a:spAutoFit/>
          </a:bodyPr>
          <a:lstStyle/>
          <a:p>
            <a:r>
              <a:rPr lang="en-US">
                <a:cs typeface="Segoe UI"/>
              </a:rPr>
              <a:t>Day One</a:t>
            </a:r>
            <a:endParaRPr lang="en-US" noProof="0" dirty="0"/>
          </a:p>
        </p:txBody>
      </p:sp>
    </p:spTree>
    <p:custDataLst>
      <p:tags r:id="rId1"/>
    </p:custDataLst>
    <p:extLst>
      <p:ext uri="{BB962C8B-B14F-4D97-AF65-F5344CB8AC3E}">
        <p14:creationId xmlns:p14="http://schemas.microsoft.com/office/powerpoint/2010/main" val="40468854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034"/>
        <p:cNvGrpSpPr/>
        <p:nvPr/>
      </p:nvGrpSpPr>
      <p:grpSpPr>
        <a:xfrm>
          <a:off x="0" y="0"/>
          <a:ext cx="0" cy="0"/>
          <a:chOff x="0" y="0"/>
          <a:chExt cx="0" cy="0"/>
        </a:xfrm>
      </p:grpSpPr>
      <p:sp>
        <p:nvSpPr>
          <p:cNvPr id="3035" name="Google Shape;3035;p244"/>
          <p:cNvSpPr txBox="1">
            <a:spLocks noGrp="1"/>
          </p:cNvSpPr>
          <p:nvPr>
            <p:ph type="title"/>
          </p:nvPr>
        </p:nvSpPr>
        <p:spPr>
          <a:xfrm>
            <a:off x="613471" y="2266951"/>
            <a:ext cx="4773180" cy="2324000"/>
          </a:xfrm>
          <a:prstGeom prst="rect">
            <a:avLst/>
          </a:prstGeom>
          <a:noFill/>
          <a:ln>
            <a:noFill/>
          </a:ln>
        </p:spPr>
        <p:txBody>
          <a:bodyPr spcFirstLastPara="1" wrap="square" lIns="45658" tIns="22846" rIns="45658" bIns="22846" anchor="ctr" anchorCtr="0">
            <a:noAutofit/>
          </a:bodyPr>
          <a:lstStyle/>
          <a:p>
            <a:r>
              <a:rPr lang="en-US" b="0"/>
              <a:t>Keep flying with your favorite editor</a:t>
            </a:r>
            <a:endParaRPr/>
          </a:p>
        </p:txBody>
      </p:sp>
      <p:sp>
        <p:nvSpPr>
          <p:cNvPr id="3036" name="Google Shape;3036;p244"/>
          <p:cNvSpPr txBox="1">
            <a:spLocks noGrp="1"/>
          </p:cNvSpPr>
          <p:nvPr>
            <p:ph type="subTitle" idx="1"/>
          </p:nvPr>
        </p:nvSpPr>
        <p:spPr>
          <a:xfrm>
            <a:off x="6802482" y="1792226"/>
            <a:ext cx="4567771" cy="390000"/>
          </a:xfrm>
          <a:prstGeom prst="rect">
            <a:avLst/>
          </a:prstGeom>
          <a:noFill/>
          <a:ln>
            <a:noFill/>
          </a:ln>
        </p:spPr>
        <p:txBody>
          <a:bodyPr spcFirstLastPara="1" wrap="square" lIns="121787" tIns="121787" rIns="121787" bIns="121787" anchor="ctr" anchorCtr="0">
            <a:noAutofit/>
          </a:bodyPr>
          <a:lstStyle/>
          <a:p>
            <a:pPr marL="0" indent="0"/>
            <a:r>
              <a:rPr lang="en-US"/>
              <a:t>VS Code</a:t>
            </a:r>
            <a:endParaRPr/>
          </a:p>
        </p:txBody>
      </p:sp>
      <p:sp>
        <p:nvSpPr>
          <p:cNvPr id="3037" name="Google Shape;3037;p244"/>
          <p:cNvSpPr txBox="1">
            <a:spLocks noGrp="1"/>
          </p:cNvSpPr>
          <p:nvPr>
            <p:ph type="subTitle" idx="2"/>
          </p:nvPr>
        </p:nvSpPr>
        <p:spPr>
          <a:xfrm>
            <a:off x="6802482" y="2520702"/>
            <a:ext cx="4567771" cy="390000"/>
          </a:xfrm>
          <a:prstGeom prst="rect">
            <a:avLst/>
          </a:prstGeom>
          <a:noFill/>
          <a:ln>
            <a:noFill/>
          </a:ln>
        </p:spPr>
        <p:txBody>
          <a:bodyPr spcFirstLastPara="1" wrap="square" lIns="121787" tIns="121787" rIns="121787" bIns="121787" anchor="ctr" anchorCtr="0">
            <a:noAutofit/>
          </a:bodyPr>
          <a:lstStyle/>
          <a:p>
            <a:pPr marL="0" indent="0"/>
            <a:r>
              <a:rPr lang="en-US"/>
              <a:t>GitHub Codespaces</a:t>
            </a:r>
            <a:endParaRPr/>
          </a:p>
        </p:txBody>
      </p:sp>
      <p:sp>
        <p:nvSpPr>
          <p:cNvPr id="3038" name="Google Shape;3038;p244"/>
          <p:cNvSpPr txBox="1">
            <a:spLocks noGrp="1"/>
          </p:cNvSpPr>
          <p:nvPr>
            <p:ph type="subTitle" idx="3"/>
          </p:nvPr>
        </p:nvSpPr>
        <p:spPr>
          <a:xfrm>
            <a:off x="6802482" y="3249177"/>
            <a:ext cx="4567771" cy="390000"/>
          </a:xfrm>
          <a:prstGeom prst="rect">
            <a:avLst/>
          </a:prstGeom>
          <a:noFill/>
          <a:ln>
            <a:noFill/>
          </a:ln>
        </p:spPr>
        <p:txBody>
          <a:bodyPr spcFirstLastPara="1" wrap="square" lIns="121787" tIns="121787" rIns="121787" bIns="121787" anchor="ctr" anchorCtr="0">
            <a:noAutofit/>
          </a:bodyPr>
          <a:lstStyle/>
          <a:p>
            <a:pPr marL="0" indent="0"/>
            <a:r>
              <a:rPr lang="en-US"/>
              <a:t>Visual Studio (Windows)</a:t>
            </a:r>
            <a:endParaRPr/>
          </a:p>
        </p:txBody>
      </p:sp>
      <p:sp>
        <p:nvSpPr>
          <p:cNvPr id="3039" name="Google Shape;3039;p244"/>
          <p:cNvSpPr txBox="1">
            <a:spLocks noGrp="1"/>
          </p:cNvSpPr>
          <p:nvPr>
            <p:ph type="subTitle" idx="4"/>
          </p:nvPr>
        </p:nvSpPr>
        <p:spPr>
          <a:xfrm>
            <a:off x="6802482" y="3977651"/>
            <a:ext cx="4567771" cy="390000"/>
          </a:xfrm>
          <a:prstGeom prst="rect">
            <a:avLst/>
          </a:prstGeom>
          <a:noFill/>
          <a:ln>
            <a:noFill/>
          </a:ln>
        </p:spPr>
        <p:txBody>
          <a:bodyPr spcFirstLastPara="1" wrap="square" lIns="121787" tIns="121787" rIns="121787" bIns="121787" anchor="ctr" anchorCtr="0">
            <a:noAutofit/>
          </a:bodyPr>
          <a:lstStyle/>
          <a:p>
            <a:pPr marL="0" indent="0"/>
            <a:r>
              <a:rPr lang="en-US"/>
              <a:t>JetBrains IDEs</a:t>
            </a:r>
            <a:endParaRPr/>
          </a:p>
        </p:txBody>
      </p:sp>
      <p:sp>
        <p:nvSpPr>
          <p:cNvPr id="3040" name="Google Shape;3040;p244"/>
          <p:cNvSpPr txBox="1">
            <a:spLocks noGrp="1"/>
          </p:cNvSpPr>
          <p:nvPr>
            <p:ph type="subTitle" idx="5"/>
          </p:nvPr>
        </p:nvSpPr>
        <p:spPr>
          <a:xfrm>
            <a:off x="6802482" y="4706126"/>
            <a:ext cx="4567771" cy="390000"/>
          </a:xfrm>
          <a:prstGeom prst="rect">
            <a:avLst/>
          </a:prstGeom>
          <a:noFill/>
          <a:ln>
            <a:noFill/>
          </a:ln>
        </p:spPr>
        <p:txBody>
          <a:bodyPr spcFirstLastPara="1" wrap="square" lIns="121787" tIns="121787" rIns="121787" bIns="121787" anchor="ctr" anchorCtr="0">
            <a:noAutofit/>
          </a:bodyPr>
          <a:lstStyle/>
          <a:p>
            <a:pPr marL="0" indent="0"/>
            <a:r>
              <a:rPr lang="en-US"/>
              <a:t>Neovim</a:t>
            </a:r>
            <a:endParaRPr/>
          </a:p>
        </p:txBody>
      </p:sp>
      <p:pic>
        <p:nvPicPr>
          <p:cNvPr id="3041" name="Google Shape;3041;p244"/>
          <p:cNvPicPr preferRelativeResize="0"/>
          <p:nvPr/>
        </p:nvPicPr>
        <p:blipFill rotWithShape="1">
          <a:blip r:embed="rId4">
            <a:alphaModFix/>
          </a:blip>
          <a:srcRect/>
          <a:stretch/>
        </p:blipFill>
        <p:spPr>
          <a:xfrm>
            <a:off x="674120" y="690600"/>
            <a:ext cx="3011342" cy="376818"/>
          </a:xfrm>
          <a:prstGeom prst="rect">
            <a:avLst/>
          </a:prstGeom>
          <a:noFill/>
          <a:ln>
            <a:noFill/>
          </a:ln>
        </p:spPr>
      </p:pic>
    </p:spTree>
    <p:custDataLst>
      <p:tags r:id="rId1"/>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How to configure GitHub Copilot</a:t>
            </a:r>
            <a:endParaRPr lang="en-US" dirty="0"/>
          </a:p>
        </p:txBody>
      </p:sp>
      <p:sp>
        <p:nvSpPr>
          <p:cNvPr id="5" name="Text Placeholder 4">
            <a:extLst>
              <a:ext uri="{FF2B5EF4-FFF2-40B4-BE49-F238E27FC236}">
                <a16:creationId xmlns:a16="http://schemas.microsoft.com/office/drawing/2014/main" id="{2A7BFAB2-E849-9CD4-0B05-39B37C196AE1}"/>
              </a:ext>
            </a:extLst>
          </p:cNvPr>
          <p:cNvSpPr>
            <a:spLocks noGrp="1"/>
          </p:cNvSpPr>
          <p:nvPr>
            <p:ph type="body" sz="quarter" idx="16"/>
          </p:nvPr>
        </p:nvSpPr>
        <p:spPr>
          <a:xfrm>
            <a:off x="431115" y="1231490"/>
            <a:ext cx="11310656" cy="935641"/>
          </a:xfrm>
        </p:spPr>
        <p:txBody>
          <a:bodyPr vert="horz" wrap="square" lIns="0" tIns="0" rIns="0" bIns="0" rtlCol="0" anchor="t">
            <a:spAutoFit/>
          </a:bodyPr>
          <a:lstStyle/>
          <a:p>
            <a:r>
              <a:rPr lang="en-US" sz="3200" b="0" i="0" dirty="0">
                <a:solidFill>
                  <a:schemeClr val="accent3">
                    <a:lumMod val="50000"/>
                  </a:schemeClr>
                </a:solidFill>
                <a:effectLst/>
                <a:latin typeface="+mj-lt"/>
                <a:cs typeface="Segoe UI"/>
              </a:rPr>
              <a:t>Exercise </a:t>
            </a:r>
            <a:r>
              <a:rPr lang="en-US" sz="3200" dirty="0">
                <a:solidFill>
                  <a:schemeClr val="accent3">
                    <a:lumMod val="50000"/>
                  </a:schemeClr>
                </a:solidFill>
                <a:latin typeface="+mj-lt"/>
                <a:cs typeface="Segoe UI"/>
              </a:rPr>
              <a:t>three</a:t>
            </a:r>
            <a:r>
              <a:rPr lang="en-US" sz="3200" b="0" i="0" dirty="0">
                <a:solidFill>
                  <a:schemeClr val="accent3">
                    <a:lumMod val="50000"/>
                  </a:schemeClr>
                </a:solidFill>
                <a:effectLst/>
                <a:latin typeface="+mj-lt"/>
                <a:cs typeface="Segoe UI"/>
              </a:rPr>
              <a:t> Improve </a:t>
            </a:r>
            <a:r>
              <a:rPr lang="en-US" sz="3200" dirty="0">
                <a:solidFill>
                  <a:schemeClr val="accent3">
                    <a:lumMod val="50000"/>
                  </a:schemeClr>
                </a:solidFill>
                <a:latin typeface="+mj-lt"/>
                <a:cs typeface="Segoe UI"/>
              </a:rPr>
              <a:t>and deploy your application</a:t>
            </a:r>
            <a:endParaRPr lang="en-US" sz="3200" b="0" i="0" dirty="0">
              <a:solidFill>
                <a:schemeClr val="accent3">
                  <a:lumMod val="50000"/>
                </a:schemeClr>
              </a:solidFill>
              <a:effectLst/>
              <a:latin typeface="+mj-lt"/>
              <a:cs typeface="Segoe UI"/>
            </a:endParaRPr>
          </a:p>
          <a:p>
            <a:r>
              <a:rPr lang="en-US" sz="2400" dirty="0">
                <a:solidFill>
                  <a:srgbClr val="1F2328"/>
                </a:solidFill>
                <a:latin typeface="+mj-lt"/>
                <a:cs typeface="Segoe UI"/>
              </a:rPr>
              <a:t>Task one Configure Microsoft Copilot on your Dev Box</a:t>
            </a:r>
          </a:p>
        </p:txBody>
      </p:sp>
      <p:sp>
        <p:nvSpPr>
          <p:cNvPr id="8" name="Rectangle 2">
            <a:extLst>
              <a:ext uri="{FF2B5EF4-FFF2-40B4-BE49-F238E27FC236}">
                <a16:creationId xmlns:a16="http://schemas.microsoft.com/office/drawing/2014/main" id="{9C97C891-2111-2573-0E16-E56005639423}"/>
              </a:ext>
            </a:extLst>
          </p:cNvPr>
          <p:cNvSpPr>
            <a:spLocks noChangeArrowheads="1"/>
          </p:cNvSpPr>
          <p:nvPr/>
        </p:nvSpPr>
        <p:spPr bwMode="auto">
          <a:xfrm>
            <a:off x="431116" y="2392176"/>
            <a:ext cx="11494184" cy="378565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rgbClr val="1F2328"/>
                </a:solidFill>
                <a:effectLst/>
                <a:latin typeface="+mj-lt"/>
              </a:rPr>
              <a:t>In this task, you will ensure that your Dev Box has GitHub Copilot installed and that GitHub Copilot is able to make recommendations for C# cod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200" b="0" i="0" u="none" strike="noStrike" cap="none" normalizeH="0" baseline="0" dirty="0">
              <a:ln>
                <a:noFill/>
              </a:ln>
              <a:solidFill>
                <a:schemeClr val="tx1"/>
              </a:solidFill>
              <a:effectLst/>
              <a:latin typeface="+mj-lt"/>
            </a:endParaRPr>
          </a:p>
          <a:p>
            <a:pPr marL="457200" marR="0" lvl="0" indent="-457200" algn="l" defTabSz="914400" rtl="0" eaLnBrk="0" fontAlgn="base" latinLnBrk="0" hangingPunct="0">
              <a:lnSpc>
                <a:spcPct val="100000"/>
              </a:lnSpc>
              <a:spcBef>
                <a:spcPct val="0"/>
              </a:spcBef>
              <a:spcAft>
                <a:spcPct val="0"/>
              </a:spcAft>
              <a:buClrTx/>
              <a:buSzTx/>
              <a:buFont typeface="+mj-lt"/>
              <a:buAutoNum type="arabicPeriod"/>
              <a:tabLst/>
              <a:defRPr/>
            </a:pPr>
            <a:r>
              <a:rPr kumimoji="0" lang="en-US" altLang="en-US" sz="2200" b="0" i="0" u="none" strike="noStrike" kern="1200" cap="none" spc="0" normalizeH="0" baseline="0" noProof="0" dirty="0">
                <a:ln>
                  <a:noFill/>
                </a:ln>
                <a:solidFill>
                  <a:srgbClr val="1F2328"/>
                </a:solidFill>
                <a:effectLst/>
                <a:uLnTx/>
                <a:uFillTx/>
                <a:latin typeface="Segoe UI "/>
                <a:ea typeface="+mn-ea"/>
                <a:cs typeface="+mn-cs"/>
              </a:rPr>
              <a:t>Ensure that you have GitHub Copilot access associated with your GitHub account. </a:t>
            </a:r>
          </a:p>
          <a:p>
            <a:pPr marL="914400" marR="0" lvl="1"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sng" strike="noStrike" kern="1200" cap="none" spc="0" normalizeH="0" baseline="0" noProof="0" dirty="0">
                <a:ln>
                  <a:noFill/>
                </a:ln>
                <a:solidFill>
                  <a:srgbClr val="1F2328"/>
                </a:solidFill>
                <a:effectLst/>
                <a:uLnTx/>
                <a:uFillTx/>
                <a:latin typeface="Segoe UI "/>
                <a:ea typeface="+mn-ea"/>
                <a:cs typeface="+mn-cs"/>
                <a:hlinkClick r:id="rId4"/>
              </a:rPr>
              <a:t>Sign up for GitHub Copilot as a Microsoft employee</a:t>
            </a:r>
            <a:r>
              <a:rPr kumimoji="0" lang="en-US" altLang="en-US" sz="1800" b="0" i="0" u="none" strike="noStrike" kern="1200" cap="none" spc="0" normalizeH="0" baseline="0" noProof="0" dirty="0">
                <a:ln>
                  <a:noFill/>
                </a:ln>
                <a:solidFill>
                  <a:srgbClr val="1F2328"/>
                </a:solidFill>
                <a:effectLst/>
                <a:uLnTx/>
                <a:uFillTx/>
                <a:latin typeface="Segoe UI "/>
                <a:ea typeface="+mn-ea"/>
                <a:cs typeface="+mn-cs"/>
              </a:rPr>
              <a:t> if you have not done so already.</a:t>
            </a:r>
          </a:p>
          <a:p>
            <a:pPr marL="914400" marR="0" lvl="1"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1F2328"/>
                </a:solidFill>
                <a:effectLst/>
                <a:uLnTx/>
                <a:uFillTx/>
                <a:latin typeface="Segoe UI "/>
                <a:ea typeface="+mn-ea"/>
                <a:cs typeface="+mn-cs"/>
              </a:rPr>
              <a:t>It is strongly recommended that you </a:t>
            </a:r>
            <a:r>
              <a:rPr kumimoji="0" lang="en-US" altLang="en-US" sz="1800" b="1" i="0" u="none" strike="noStrike" kern="1200" cap="none" spc="0" normalizeH="0" baseline="0" noProof="0" dirty="0">
                <a:ln>
                  <a:noFill/>
                </a:ln>
                <a:solidFill>
                  <a:srgbClr val="1F2328"/>
                </a:solidFill>
                <a:effectLst/>
                <a:uLnTx/>
                <a:uFillTx/>
                <a:latin typeface="Segoe UI "/>
                <a:ea typeface="+mn-ea"/>
                <a:cs typeface="+mn-cs"/>
              </a:rPr>
              <a:t>invite your </a:t>
            </a:r>
            <a:r>
              <a:rPr kumimoji="0" lang="en-US" altLang="en-US" sz="1800" b="1" i="0" u="sng" strike="noStrike" kern="1200" cap="none" spc="0" normalizeH="0" baseline="0" noProof="0" dirty="0">
                <a:ln>
                  <a:noFill/>
                </a:ln>
                <a:solidFill>
                  <a:srgbClr val="1F2328"/>
                </a:solidFill>
                <a:effectLst/>
                <a:uLnTx/>
                <a:uFillTx/>
                <a:latin typeface="Segoe UI "/>
                <a:ea typeface="+mn-ea"/>
                <a:cs typeface="+mn-cs"/>
              </a:rPr>
              <a:t>personal</a:t>
            </a:r>
            <a:r>
              <a:rPr kumimoji="0" lang="en-US" altLang="en-US" sz="1800" b="1" i="0" u="none" strike="noStrike" kern="1200" cap="none" spc="0" normalizeH="0" baseline="0" noProof="0" dirty="0">
                <a:ln>
                  <a:noFill/>
                </a:ln>
                <a:solidFill>
                  <a:srgbClr val="1F2328"/>
                </a:solidFill>
                <a:effectLst/>
                <a:uLnTx/>
                <a:uFillTx/>
                <a:latin typeface="Segoe UI "/>
                <a:ea typeface="+mn-ea"/>
                <a:cs typeface="+mn-cs"/>
              </a:rPr>
              <a:t> GitHub account </a:t>
            </a:r>
            <a:r>
              <a:rPr kumimoji="0" lang="en-US" altLang="en-US" sz="1800" b="0" i="0" u="none" strike="noStrike" kern="1200" cap="none" spc="0" normalizeH="0" baseline="0" noProof="0" dirty="0">
                <a:ln>
                  <a:noFill/>
                </a:ln>
                <a:solidFill>
                  <a:srgbClr val="1F2328"/>
                </a:solidFill>
                <a:effectLst/>
                <a:uLnTx/>
                <a:uFillTx/>
                <a:latin typeface="Segoe UI "/>
                <a:ea typeface="+mn-ea"/>
                <a:cs typeface="+mn-cs"/>
              </a:rPr>
              <a:t>at the end of the process linked above and use this account for the following steps.</a:t>
            </a:r>
          </a:p>
          <a:p>
            <a:pPr marL="457200" marR="0" lvl="0" indent="-457200" algn="l" defTabSz="914400" rtl="0" eaLnBrk="0" fontAlgn="base" latinLnBrk="0" hangingPunct="0">
              <a:lnSpc>
                <a:spcPct val="100000"/>
              </a:lnSpc>
              <a:spcBef>
                <a:spcPct val="0"/>
              </a:spcBef>
              <a:spcAft>
                <a:spcPct val="0"/>
              </a:spcAft>
              <a:buClrTx/>
              <a:buSzTx/>
              <a:buFont typeface="+mj-lt"/>
              <a:buAutoNum type="arabicPeriod"/>
              <a:tabLst/>
              <a:defRPr/>
            </a:pPr>
            <a:r>
              <a:rPr kumimoji="0" lang="en-US" altLang="en-US" sz="2200" b="0" i="0" u="none" strike="noStrike" kern="1200" cap="none" spc="0" normalizeH="0" baseline="0" noProof="0" dirty="0">
                <a:ln>
                  <a:noFill/>
                </a:ln>
                <a:solidFill>
                  <a:srgbClr val="1F2328"/>
                </a:solidFill>
                <a:effectLst/>
                <a:uLnTx/>
                <a:uFillTx/>
                <a:latin typeface="Segoe UI "/>
                <a:ea typeface="+mn-ea"/>
                <a:cs typeface="+mn-cs"/>
              </a:rPr>
              <a:t>Install the GitHub Copilot extension for Visual Studio Code. </a:t>
            </a:r>
          </a:p>
          <a:p>
            <a:pPr marL="457200" marR="0" lvl="0" indent="-457200" algn="l" defTabSz="914400" rtl="0" eaLnBrk="0" fontAlgn="base" latinLnBrk="0" hangingPunct="0">
              <a:lnSpc>
                <a:spcPct val="100000"/>
              </a:lnSpc>
              <a:spcBef>
                <a:spcPct val="0"/>
              </a:spcBef>
              <a:spcAft>
                <a:spcPct val="0"/>
              </a:spcAft>
              <a:buClrTx/>
              <a:buSzTx/>
              <a:buFont typeface="+mj-lt"/>
              <a:buAutoNum type="arabicPeriod"/>
              <a:tabLst/>
              <a:defRPr/>
            </a:pPr>
            <a:r>
              <a:rPr kumimoji="0" lang="en-US" altLang="en-US" sz="2200" b="0" i="0" u="none" strike="noStrike" kern="1200" cap="none" spc="0" normalizeH="0" baseline="0" noProof="0" dirty="0">
                <a:ln>
                  <a:noFill/>
                </a:ln>
                <a:solidFill>
                  <a:srgbClr val="1F2328"/>
                </a:solidFill>
                <a:effectLst/>
                <a:uLnTx/>
                <a:uFillTx/>
                <a:latin typeface="Segoe UI "/>
                <a:ea typeface="+mn-ea"/>
                <a:cs typeface="+mn-cs"/>
              </a:rPr>
              <a:t>Log in with your user account. </a:t>
            </a:r>
          </a:p>
          <a:p>
            <a:pPr marL="457200" marR="0" lvl="0" indent="-457200" algn="l" defTabSz="914400" rtl="0" eaLnBrk="0" fontAlgn="base" latinLnBrk="0" hangingPunct="0">
              <a:lnSpc>
                <a:spcPct val="100000"/>
              </a:lnSpc>
              <a:spcBef>
                <a:spcPct val="0"/>
              </a:spcBef>
              <a:spcAft>
                <a:spcPct val="0"/>
              </a:spcAft>
              <a:buClrTx/>
              <a:buSzTx/>
              <a:buFont typeface="+mj-lt"/>
              <a:buAutoNum type="arabicPeriod"/>
              <a:tabLst/>
              <a:defRPr/>
            </a:pPr>
            <a:r>
              <a:rPr kumimoji="0" lang="en-US" altLang="en-US" sz="2200" b="0" i="0" u="none" strike="noStrike" kern="1200" cap="none" spc="0" normalizeH="0" baseline="0" noProof="0" dirty="0">
                <a:ln>
                  <a:noFill/>
                </a:ln>
                <a:solidFill>
                  <a:srgbClr val="1F2328"/>
                </a:solidFill>
                <a:effectLst/>
                <a:uLnTx/>
                <a:uFillTx/>
                <a:latin typeface="Segoe UI "/>
                <a:ea typeface="+mn-ea"/>
                <a:cs typeface="+mn-cs"/>
              </a:rPr>
              <a:t>Open the GitHub Copilot completions panel.</a:t>
            </a:r>
          </a:p>
          <a:p>
            <a:pPr marL="457200" marR="0" lvl="0" indent="-457200" algn="l" defTabSz="914400" rtl="0" eaLnBrk="0" fontAlgn="base" latinLnBrk="0" hangingPunct="0">
              <a:lnSpc>
                <a:spcPct val="100000"/>
              </a:lnSpc>
              <a:spcBef>
                <a:spcPct val="0"/>
              </a:spcBef>
              <a:spcAft>
                <a:spcPct val="0"/>
              </a:spcAft>
              <a:buClrTx/>
              <a:buSzTx/>
              <a:buFont typeface="+mj-lt"/>
              <a:buAutoNum type="arabicPeriod"/>
              <a:tabLst/>
              <a:defRPr/>
            </a:pPr>
            <a:r>
              <a:rPr kumimoji="0" lang="en-US" sz="2200" b="0" i="0" u="none" strike="noStrike" kern="1200" cap="none" spc="0" normalizeH="0" baseline="0" noProof="0" dirty="0">
                <a:ln>
                  <a:noFill/>
                </a:ln>
                <a:solidFill>
                  <a:srgbClr val="1F2328"/>
                </a:solidFill>
                <a:effectLst/>
                <a:uLnTx/>
                <a:uFillTx/>
                <a:latin typeface="Segoe UI "/>
                <a:ea typeface="+mn-ea"/>
                <a:cs typeface="+mn-cs"/>
              </a:rPr>
              <a:t>Use Copilot in a sample project to ensure it is working. </a:t>
            </a:r>
          </a:p>
          <a:p>
            <a:pPr marL="914400" marR="0" lvl="1"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F2328"/>
                </a:solidFill>
                <a:effectLst/>
                <a:uLnTx/>
                <a:uFillTx/>
                <a:latin typeface="Segoe UI "/>
                <a:ea typeface="+mn-ea"/>
                <a:cs typeface="+mn-cs"/>
              </a:rPr>
              <a:t>For example: you can type a comment in a C# file asking the copilot to create a loop from 1 to 10.</a:t>
            </a:r>
            <a:endParaRPr kumimoji="0" lang="en-US" altLang="en-US" sz="1800" b="0" i="0" u="none" strike="noStrike" kern="1200" cap="none" spc="0" normalizeH="0" baseline="0" noProof="0" dirty="0">
              <a:ln>
                <a:noFill/>
              </a:ln>
              <a:solidFill>
                <a:srgbClr val="1F2328"/>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59775327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87FE99-E9EA-AB4B-66CE-242B2BE73AAA}"/>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800" b="1" i="0" u="none" strike="noStrike" kern="1200" cap="none" spc="0" normalizeH="0" baseline="0" noProof="0" dirty="0">
                <a:ln>
                  <a:noFill/>
                </a:ln>
                <a:solidFill>
                  <a:schemeClr val="bg1"/>
                </a:solidFill>
                <a:effectLst/>
                <a:uLnTx/>
                <a:uFillTx/>
                <a:latin typeface="+mj-lt"/>
                <a:ea typeface="+mn-ea"/>
                <a:cs typeface="Segoe UI"/>
              </a:rPr>
              <a:t>Exercise two</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3" name="Text Placeholder 2">
            <a:extLst>
              <a:ext uri="{FF2B5EF4-FFF2-40B4-BE49-F238E27FC236}">
                <a16:creationId xmlns:a16="http://schemas.microsoft.com/office/drawing/2014/main" id="{93D32733-86D9-3AFD-9C29-F918C925F55C}"/>
              </a:ext>
            </a:extLst>
          </p:cNvPr>
          <p:cNvSpPr>
            <a:spLocks noGrp="1"/>
          </p:cNvSpPr>
          <p:nvPr>
            <p:ph type="body" sz="quarter" idx="12"/>
          </p:nvPr>
        </p:nvSpPr>
        <p:spPr>
          <a:xfrm>
            <a:off x="584200" y="5252490"/>
            <a:ext cx="10480421" cy="369332"/>
          </a:xfrm>
        </p:spPr>
        <p:txBody>
          <a:bodyPr vert="horz" wrap="square" lIns="0" tIns="0" rIns="0" bIns="0" rtlCol="0" anchor="t">
            <a:spAutoFit/>
          </a:bodyPr>
          <a:lstStyle/>
          <a:p>
            <a:r>
              <a:rPr lang="en-US" dirty="0">
                <a:cs typeface="Segoe UI"/>
              </a:rPr>
              <a:t>Start working in GitHub</a:t>
            </a:r>
            <a:endParaRPr lang="en-US" dirty="0"/>
          </a:p>
        </p:txBody>
      </p:sp>
      <p:sp>
        <p:nvSpPr>
          <p:cNvPr id="4" name="Footer Placeholder 3">
            <a:extLst>
              <a:ext uri="{FF2B5EF4-FFF2-40B4-BE49-F238E27FC236}">
                <a16:creationId xmlns:a16="http://schemas.microsoft.com/office/drawing/2014/main" id="{2C57AA0B-4601-E924-DB3E-5A437D95F445}"/>
              </a:ext>
            </a:extLst>
          </p:cNvPr>
          <p:cNvSpPr>
            <a:spLocks noGrp="1"/>
          </p:cNvSpPr>
          <p:nvPr>
            <p:ph type="ftr" sz="quarter" idx="13"/>
          </p:nvPr>
        </p:nvSpPr>
        <p:spPr/>
        <p:txBody>
          <a:bodyPr/>
          <a:lstStyle/>
          <a:p>
            <a:r>
              <a:rPr lang="en-US"/>
              <a:t>Microsoft Confidential</a:t>
            </a:r>
          </a:p>
        </p:txBody>
      </p:sp>
    </p:spTree>
    <p:custDataLst>
      <p:tags r:id="rId1"/>
    </p:custDataLst>
    <p:extLst>
      <p:ext uri="{BB962C8B-B14F-4D97-AF65-F5344CB8AC3E}">
        <p14:creationId xmlns:p14="http://schemas.microsoft.com/office/powerpoint/2010/main" val="250559487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216"/>
        <p:cNvGrpSpPr/>
        <p:nvPr/>
      </p:nvGrpSpPr>
      <p:grpSpPr>
        <a:xfrm>
          <a:off x="0" y="0"/>
          <a:ext cx="0" cy="0"/>
          <a:chOff x="0" y="0"/>
          <a:chExt cx="0" cy="0"/>
        </a:xfrm>
      </p:grpSpPr>
      <p:sp>
        <p:nvSpPr>
          <p:cNvPr id="5217" name="Google Shape;5217;p258"/>
          <p:cNvSpPr txBox="1">
            <a:spLocks noGrp="1"/>
          </p:cNvSpPr>
          <p:nvPr>
            <p:ph type="title"/>
          </p:nvPr>
        </p:nvSpPr>
        <p:spPr>
          <a:xfrm>
            <a:off x="514833" y="1759000"/>
            <a:ext cx="5798800" cy="3340000"/>
          </a:xfrm>
          <a:prstGeom prst="rect">
            <a:avLst/>
          </a:prstGeom>
          <a:noFill/>
          <a:ln>
            <a:noFill/>
          </a:ln>
        </p:spPr>
        <p:txBody>
          <a:bodyPr spcFirstLastPara="1" wrap="square" lIns="121900" tIns="121900" rIns="121900" bIns="121900" anchor="ctr" anchorCtr="0">
            <a:noAutofit/>
          </a:bodyPr>
          <a:lstStyle/>
          <a:p>
            <a:r>
              <a:rPr lang="en" sz="4000" dirty="0">
                <a:solidFill>
                  <a:schemeClr val="lt1"/>
                </a:solidFill>
                <a:latin typeface="Roboto Mono"/>
                <a:ea typeface="Roboto Mono"/>
                <a:cs typeface="Roboto Mono"/>
                <a:sym typeface="Roboto Mono"/>
              </a:rPr>
              <a:t>GitHub Enterprise</a:t>
            </a:r>
            <a:br>
              <a:rPr lang="en" sz="4800" b="1" dirty="0">
                <a:solidFill>
                  <a:schemeClr val="lt1"/>
                </a:solidFill>
              </a:rPr>
            </a:br>
            <a:r>
              <a:rPr lang="en" sz="4800" b="1" dirty="0">
                <a:solidFill>
                  <a:schemeClr val="lt1"/>
                </a:solidFill>
              </a:rPr>
              <a:t>Single, integrated platform that empowers</a:t>
            </a:r>
            <a:endParaRPr sz="4800" b="1" dirty="0">
              <a:solidFill>
                <a:schemeClr val="lt1"/>
              </a:solidFill>
            </a:endParaRPr>
          </a:p>
          <a:p>
            <a:r>
              <a:rPr lang="en" sz="4800" b="1" dirty="0">
                <a:solidFill>
                  <a:schemeClr val="lt1"/>
                </a:solidFill>
              </a:rPr>
              <a:t>developers</a:t>
            </a:r>
            <a:endParaRPr sz="4800" b="1" dirty="0">
              <a:solidFill>
                <a:schemeClr val="lt1"/>
              </a:solidFill>
            </a:endParaRPr>
          </a:p>
        </p:txBody>
      </p:sp>
      <p:pic>
        <p:nvPicPr>
          <p:cNvPr id="5218" name="Google Shape;5218;p258"/>
          <p:cNvPicPr preferRelativeResize="0"/>
          <p:nvPr/>
        </p:nvPicPr>
        <p:blipFill>
          <a:blip r:embed="rId4">
            <a:alphaModFix/>
          </a:blip>
          <a:stretch>
            <a:fillRect/>
          </a:stretch>
        </p:blipFill>
        <p:spPr>
          <a:xfrm>
            <a:off x="6504151" y="691667"/>
            <a:ext cx="5471965" cy="5474639"/>
          </a:xfrm>
          <a:prstGeom prst="rect">
            <a:avLst/>
          </a:prstGeom>
          <a:noFill/>
          <a:ln>
            <a:noFill/>
          </a:ln>
        </p:spPr>
      </p:pic>
      <p:pic>
        <p:nvPicPr>
          <p:cNvPr id="5219" name="Google Shape;5219;p258"/>
          <p:cNvPicPr preferRelativeResize="0"/>
          <p:nvPr/>
        </p:nvPicPr>
        <p:blipFill rotWithShape="1">
          <a:blip r:embed="rId5">
            <a:alphaModFix/>
          </a:blip>
          <a:srcRect/>
          <a:stretch/>
        </p:blipFill>
        <p:spPr>
          <a:xfrm>
            <a:off x="6880868" y="1069720"/>
            <a:ext cx="4718531" cy="4718531"/>
          </a:xfrm>
          <a:prstGeom prst="rect">
            <a:avLst/>
          </a:prstGeom>
          <a:noFill/>
          <a:ln>
            <a:noFill/>
          </a:ln>
        </p:spPr>
      </p:pic>
      <p:pic>
        <p:nvPicPr>
          <p:cNvPr id="5220" name="Google Shape;5220;p258" descr="Image"/>
          <p:cNvPicPr preferRelativeResize="0"/>
          <p:nvPr/>
        </p:nvPicPr>
        <p:blipFill rotWithShape="1">
          <a:blip r:embed="rId6">
            <a:alphaModFix/>
          </a:blip>
          <a:srcRect/>
          <a:stretch/>
        </p:blipFill>
        <p:spPr>
          <a:xfrm>
            <a:off x="8601689" y="2806337"/>
            <a:ext cx="1276835" cy="1245300"/>
          </a:xfrm>
          <a:prstGeom prst="rect">
            <a:avLst/>
          </a:prstGeom>
          <a:noFill/>
          <a:ln>
            <a:noFill/>
          </a:ln>
        </p:spPr>
      </p:pic>
      <p:grpSp>
        <p:nvGrpSpPr>
          <p:cNvPr id="5221" name="Google Shape;5221;p258"/>
          <p:cNvGrpSpPr/>
          <p:nvPr/>
        </p:nvGrpSpPr>
        <p:grpSpPr>
          <a:xfrm>
            <a:off x="7564300" y="1953216"/>
            <a:ext cx="990000" cy="688804"/>
            <a:chOff x="5544750" y="1483962"/>
            <a:chExt cx="742500" cy="516603"/>
          </a:xfrm>
        </p:grpSpPr>
        <p:sp>
          <p:nvSpPr>
            <p:cNvPr id="5222" name="Google Shape;5222;p258"/>
            <p:cNvSpPr txBox="1"/>
            <p:nvPr/>
          </p:nvSpPr>
          <p:spPr>
            <a:xfrm>
              <a:off x="5544750" y="1662088"/>
              <a:ext cx="742500" cy="338477"/>
            </a:xfrm>
            <a:prstGeom prst="rect">
              <a:avLst/>
            </a:prstGeom>
            <a:noFill/>
            <a:ln>
              <a:noFill/>
            </a:ln>
          </p:spPr>
          <p:txBody>
            <a:bodyPr spcFirstLastPara="1" wrap="square" lIns="121900" tIns="121900" rIns="121900" bIns="121900" anchor="t" anchorCtr="0">
              <a:spAutoFit/>
            </a:bodyPr>
            <a:lstStyle/>
            <a:p>
              <a:pPr algn="ctr" defTabSz="1219170">
                <a:buClr>
                  <a:srgbClr val="000000"/>
                </a:buClr>
              </a:pPr>
              <a:r>
                <a:rPr lang="en" sz="1333" kern="0">
                  <a:solidFill>
                    <a:srgbClr val="FFFFFF"/>
                  </a:solidFill>
                  <a:latin typeface="Arial"/>
                  <a:cs typeface="Arial"/>
                  <a:sym typeface="Arial"/>
                </a:rPr>
                <a:t>code</a:t>
              </a:r>
              <a:endParaRPr sz="1333" kern="0">
                <a:solidFill>
                  <a:srgbClr val="FFFFFF"/>
                </a:solidFill>
                <a:latin typeface="Arial"/>
                <a:cs typeface="Arial"/>
                <a:sym typeface="Arial"/>
              </a:endParaRPr>
            </a:p>
          </p:txBody>
        </p:sp>
        <p:pic>
          <p:nvPicPr>
            <p:cNvPr id="5223" name="Google Shape;5223;p258"/>
            <p:cNvPicPr preferRelativeResize="0"/>
            <p:nvPr/>
          </p:nvPicPr>
          <p:blipFill rotWithShape="1">
            <a:blip r:embed="rId7">
              <a:alphaModFix/>
            </a:blip>
            <a:srcRect/>
            <a:stretch/>
          </p:blipFill>
          <p:spPr>
            <a:xfrm>
              <a:off x="5792351" y="1483962"/>
              <a:ext cx="247289" cy="246602"/>
            </a:xfrm>
            <a:prstGeom prst="rect">
              <a:avLst/>
            </a:prstGeom>
            <a:noFill/>
            <a:ln>
              <a:noFill/>
            </a:ln>
          </p:spPr>
        </p:pic>
      </p:grpSp>
      <p:grpSp>
        <p:nvGrpSpPr>
          <p:cNvPr id="5224" name="Google Shape;5224;p258"/>
          <p:cNvGrpSpPr/>
          <p:nvPr/>
        </p:nvGrpSpPr>
        <p:grpSpPr>
          <a:xfrm>
            <a:off x="9897808" y="4326459"/>
            <a:ext cx="990000" cy="707130"/>
            <a:chOff x="7408900" y="3223417"/>
            <a:chExt cx="742500" cy="530347"/>
          </a:xfrm>
        </p:grpSpPr>
        <p:sp>
          <p:nvSpPr>
            <p:cNvPr id="5225" name="Google Shape;5225;p258"/>
            <p:cNvSpPr txBox="1"/>
            <p:nvPr/>
          </p:nvSpPr>
          <p:spPr>
            <a:xfrm>
              <a:off x="7408900" y="3415288"/>
              <a:ext cx="742500" cy="338476"/>
            </a:xfrm>
            <a:prstGeom prst="rect">
              <a:avLst/>
            </a:prstGeom>
            <a:noFill/>
            <a:ln>
              <a:noFill/>
            </a:ln>
          </p:spPr>
          <p:txBody>
            <a:bodyPr spcFirstLastPara="1" wrap="square" lIns="121900" tIns="121900" rIns="121900" bIns="121900" anchor="t" anchorCtr="0">
              <a:spAutoFit/>
            </a:bodyPr>
            <a:lstStyle/>
            <a:p>
              <a:pPr algn="ctr" defTabSz="1219170">
                <a:buClr>
                  <a:srgbClr val="000000"/>
                </a:buClr>
              </a:pPr>
              <a:r>
                <a:rPr lang="en" sz="1333" kern="0">
                  <a:solidFill>
                    <a:srgbClr val="FFFFFF"/>
                  </a:solidFill>
                  <a:latin typeface="Arial"/>
                  <a:cs typeface="Arial"/>
                  <a:sym typeface="Arial"/>
                </a:rPr>
                <a:t>deploy</a:t>
              </a:r>
              <a:endParaRPr sz="1333" kern="0">
                <a:solidFill>
                  <a:srgbClr val="FFFFFF"/>
                </a:solidFill>
                <a:latin typeface="Arial"/>
                <a:cs typeface="Arial"/>
                <a:sym typeface="Arial"/>
              </a:endParaRPr>
            </a:p>
          </p:txBody>
        </p:sp>
        <p:pic>
          <p:nvPicPr>
            <p:cNvPr id="5226" name="Google Shape;5226;p258"/>
            <p:cNvPicPr preferRelativeResize="0"/>
            <p:nvPr/>
          </p:nvPicPr>
          <p:blipFill rotWithShape="1">
            <a:blip r:embed="rId8">
              <a:alphaModFix/>
            </a:blip>
            <a:srcRect/>
            <a:stretch/>
          </p:blipFill>
          <p:spPr>
            <a:xfrm>
              <a:off x="7654163" y="3223417"/>
              <a:ext cx="251973" cy="252010"/>
            </a:xfrm>
            <a:prstGeom prst="rect">
              <a:avLst/>
            </a:prstGeom>
            <a:noFill/>
            <a:ln>
              <a:noFill/>
            </a:ln>
          </p:spPr>
        </p:pic>
      </p:grpSp>
      <p:grpSp>
        <p:nvGrpSpPr>
          <p:cNvPr id="5227" name="Google Shape;5227;p258"/>
          <p:cNvGrpSpPr/>
          <p:nvPr/>
        </p:nvGrpSpPr>
        <p:grpSpPr>
          <a:xfrm>
            <a:off x="7075467" y="3115053"/>
            <a:ext cx="4329300" cy="712574"/>
            <a:chOff x="5306600" y="2336277"/>
            <a:chExt cx="3246975" cy="534430"/>
          </a:xfrm>
        </p:grpSpPr>
        <p:sp>
          <p:nvSpPr>
            <p:cNvPr id="5228" name="Google Shape;5228;p258"/>
            <p:cNvSpPr txBox="1"/>
            <p:nvPr/>
          </p:nvSpPr>
          <p:spPr>
            <a:xfrm>
              <a:off x="7811075" y="2532231"/>
              <a:ext cx="742500" cy="338476"/>
            </a:xfrm>
            <a:prstGeom prst="rect">
              <a:avLst/>
            </a:prstGeom>
            <a:noFill/>
            <a:ln>
              <a:noFill/>
            </a:ln>
          </p:spPr>
          <p:txBody>
            <a:bodyPr spcFirstLastPara="1" wrap="square" lIns="121900" tIns="121900" rIns="121900" bIns="121900" anchor="t" anchorCtr="0">
              <a:spAutoFit/>
            </a:bodyPr>
            <a:lstStyle/>
            <a:p>
              <a:pPr algn="ctr" defTabSz="1219170">
                <a:buClr>
                  <a:srgbClr val="000000"/>
                </a:buClr>
              </a:pPr>
              <a:r>
                <a:rPr lang="en" sz="1333" kern="0">
                  <a:solidFill>
                    <a:srgbClr val="FFFFFF"/>
                  </a:solidFill>
                  <a:latin typeface="Arial"/>
                  <a:cs typeface="Arial"/>
                  <a:sym typeface="Arial"/>
                </a:rPr>
                <a:t>release</a:t>
              </a:r>
              <a:endParaRPr sz="1333" kern="0">
                <a:solidFill>
                  <a:srgbClr val="FFFFFF"/>
                </a:solidFill>
                <a:latin typeface="Arial"/>
                <a:cs typeface="Arial"/>
                <a:sym typeface="Arial"/>
              </a:endParaRPr>
            </a:p>
          </p:txBody>
        </p:sp>
        <p:sp>
          <p:nvSpPr>
            <p:cNvPr id="5229" name="Google Shape;5229;p258"/>
            <p:cNvSpPr txBox="1"/>
            <p:nvPr/>
          </p:nvSpPr>
          <p:spPr>
            <a:xfrm>
              <a:off x="5306600" y="2532231"/>
              <a:ext cx="742500" cy="338476"/>
            </a:xfrm>
            <a:prstGeom prst="rect">
              <a:avLst/>
            </a:prstGeom>
            <a:noFill/>
            <a:ln>
              <a:noFill/>
            </a:ln>
          </p:spPr>
          <p:txBody>
            <a:bodyPr spcFirstLastPara="1" wrap="square" lIns="121900" tIns="121900" rIns="121900" bIns="121900" anchor="t" anchorCtr="0">
              <a:spAutoFit/>
            </a:bodyPr>
            <a:lstStyle/>
            <a:p>
              <a:pPr algn="ctr" defTabSz="1219170">
                <a:buClr>
                  <a:srgbClr val="000000"/>
                </a:buClr>
              </a:pPr>
              <a:r>
                <a:rPr lang="en" sz="1333" kern="0">
                  <a:solidFill>
                    <a:srgbClr val="FFFFFF"/>
                  </a:solidFill>
                  <a:latin typeface="Arial"/>
                  <a:cs typeface="Arial"/>
                  <a:sym typeface="Arial"/>
                </a:rPr>
                <a:t>plan</a:t>
              </a:r>
              <a:endParaRPr sz="1333" kern="0">
                <a:solidFill>
                  <a:srgbClr val="FFFFFF"/>
                </a:solidFill>
                <a:latin typeface="Arial"/>
                <a:cs typeface="Arial"/>
                <a:sym typeface="Arial"/>
              </a:endParaRPr>
            </a:p>
          </p:txBody>
        </p:sp>
        <p:pic>
          <p:nvPicPr>
            <p:cNvPr id="5230" name="Google Shape;5230;p258"/>
            <p:cNvPicPr preferRelativeResize="0"/>
            <p:nvPr/>
          </p:nvPicPr>
          <p:blipFill rotWithShape="1">
            <a:blip r:embed="rId9">
              <a:alphaModFix/>
            </a:blip>
            <a:srcRect/>
            <a:stretch/>
          </p:blipFill>
          <p:spPr>
            <a:xfrm>
              <a:off x="5551853" y="2336277"/>
              <a:ext cx="251973" cy="252010"/>
            </a:xfrm>
            <a:prstGeom prst="rect">
              <a:avLst/>
            </a:prstGeom>
            <a:noFill/>
            <a:ln>
              <a:noFill/>
            </a:ln>
          </p:spPr>
        </p:pic>
        <p:pic>
          <p:nvPicPr>
            <p:cNvPr id="5231" name="Google Shape;5231;p258"/>
            <p:cNvPicPr preferRelativeResize="0"/>
            <p:nvPr/>
          </p:nvPicPr>
          <p:blipFill rotWithShape="1">
            <a:blip r:embed="rId10">
              <a:alphaModFix/>
            </a:blip>
            <a:srcRect/>
            <a:stretch/>
          </p:blipFill>
          <p:spPr>
            <a:xfrm>
              <a:off x="8056356" y="2338981"/>
              <a:ext cx="247289" cy="246602"/>
            </a:xfrm>
            <a:prstGeom prst="rect">
              <a:avLst/>
            </a:prstGeom>
            <a:noFill/>
            <a:ln>
              <a:noFill/>
            </a:ln>
          </p:spPr>
        </p:pic>
      </p:grpSp>
      <p:grpSp>
        <p:nvGrpSpPr>
          <p:cNvPr id="5232" name="Google Shape;5232;p258"/>
          <p:cNvGrpSpPr/>
          <p:nvPr/>
        </p:nvGrpSpPr>
        <p:grpSpPr>
          <a:xfrm>
            <a:off x="7564300" y="4256591"/>
            <a:ext cx="990000" cy="716664"/>
            <a:chOff x="5685138" y="3235317"/>
            <a:chExt cx="742500" cy="537498"/>
          </a:xfrm>
        </p:grpSpPr>
        <p:sp>
          <p:nvSpPr>
            <p:cNvPr id="5233" name="Google Shape;5233;p258"/>
            <p:cNvSpPr txBox="1"/>
            <p:nvPr/>
          </p:nvSpPr>
          <p:spPr>
            <a:xfrm>
              <a:off x="5685138" y="3434338"/>
              <a:ext cx="742500" cy="338477"/>
            </a:xfrm>
            <a:prstGeom prst="rect">
              <a:avLst/>
            </a:prstGeom>
            <a:noFill/>
            <a:ln>
              <a:noFill/>
            </a:ln>
          </p:spPr>
          <p:txBody>
            <a:bodyPr spcFirstLastPara="1" wrap="square" lIns="121900" tIns="121900" rIns="121900" bIns="121900" anchor="t" anchorCtr="0">
              <a:spAutoFit/>
            </a:bodyPr>
            <a:lstStyle/>
            <a:p>
              <a:pPr algn="ctr" defTabSz="1219170">
                <a:buClr>
                  <a:srgbClr val="000000"/>
                </a:buClr>
              </a:pPr>
              <a:r>
                <a:rPr lang="en" sz="1333" kern="0">
                  <a:solidFill>
                    <a:srgbClr val="FFFFFF"/>
                  </a:solidFill>
                  <a:latin typeface="Arial"/>
                  <a:cs typeface="Arial"/>
                  <a:sym typeface="Arial"/>
                </a:rPr>
                <a:t>monitor</a:t>
              </a:r>
              <a:endParaRPr sz="1333" kern="0">
                <a:solidFill>
                  <a:srgbClr val="FFFFFF"/>
                </a:solidFill>
                <a:latin typeface="Arial"/>
                <a:cs typeface="Arial"/>
                <a:sym typeface="Arial"/>
              </a:endParaRPr>
            </a:p>
          </p:txBody>
        </p:sp>
        <p:pic>
          <p:nvPicPr>
            <p:cNvPr id="5234" name="Google Shape;5234;p258"/>
            <p:cNvPicPr preferRelativeResize="0"/>
            <p:nvPr/>
          </p:nvPicPr>
          <p:blipFill rotWithShape="1">
            <a:blip r:embed="rId11">
              <a:alphaModFix/>
            </a:blip>
            <a:srcRect/>
            <a:stretch/>
          </p:blipFill>
          <p:spPr>
            <a:xfrm>
              <a:off x="5930396" y="3235317"/>
              <a:ext cx="251973" cy="252010"/>
            </a:xfrm>
            <a:prstGeom prst="rect">
              <a:avLst/>
            </a:prstGeom>
            <a:noFill/>
            <a:ln>
              <a:noFill/>
            </a:ln>
          </p:spPr>
        </p:pic>
      </p:grpSp>
      <p:grpSp>
        <p:nvGrpSpPr>
          <p:cNvPr id="5235" name="Google Shape;5235;p258"/>
          <p:cNvGrpSpPr/>
          <p:nvPr/>
        </p:nvGrpSpPr>
        <p:grpSpPr>
          <a:xfrm>
            <a:off x="8846333" y="1480158"/>
            <a:ext cx="787600" cy="704746"/>
            <a:chOff x="6702175" y="1110117"/>
            <a:chExt cx="590700" cy="528559"/>
          </a:xfrm>
        </p:grpSpPr>
        <p:sp>
          <p:nvSpPr>
            <p:cNvPr id="5236" name="Google Shape;5236;p258"/>
            <p:cNvSpPr txBox="1"/>
            <p:nvPr/>
          </p:nvSpPr>
          <p:spPr>
            <a:xfrm>
              <a:off x="6702175" y="1300200"/>
              <a:ext cx="590700" cy="338476"/>
            </a:xfrm>
            <a:prstGeom prst="rect">
              <a:avLst/>
            </a:prstGeom>
            <a:noFill/>
            <a:ln>
              <a:noFill/>
            </a:ln>
          </p:spPr>
          <p:txBody>
            <a:bodyPr spcFirstLastPara="1" wrap="square" lIns="121900" tIns="121900" rIns="121900" bIns="121900" anchor="t" anchorCtr="0">
              <a:spAutoFit/>
            </a:bodyPr>
            <a:lstStyle/>
            <a:p>
              <a:pPr algn="ctr" defTabSz="1219170">
                <a:buClr>
                  <a:srgbClr val="000000"/>
                </a:buClr>
              </a:pPr>
              <a:r>
                <a:rPr lang="en" sz="1333" kern="0">
                  <a:solidFill>
                    <a:srgbClr val="FFFFFF"/>
                  </a:solidFill>
                  <a:latin typeface="Arial"/>
                  <a:cs typeface="Arial"/>
                  <a:sym typeface="Arial"/>
                </a:rPr>
                <a:t>build</a:t>
              </a:r>
              <a:endParaRPr sz="1333" kern="0">
                <a:solidFill>
                  <a:srgbClr val="FFFFFF"/>
                </a:solidFill>
                <a:latin typeface="Arial"/>
                <a:cs typeface="Arial"/>
                <a:sym typeface="Arial"/>
              </a:endParaRPr>
            </a:p>
          </p:txBody>
        </p:sp>
        <p:pic>
          <p:nvPicPr>
            <p:cNvPr id="5237" name="Google Shape;5237;p258"/>
            <p:cNvPicPr preferRelativeResize="0"/>
            <p:nvPr/>
          </p:nvPicPr>
          <p:blipFill rotWithShape="1">
            <a:blip r:embed="rId12">
              <a:alphaModFix/>
            </a:blip>
            <a:srcRect/>
            <a:stretch/>
          </p:blipFill>
          <p:spPr>
            <a:xfrm>
              <a:off x="6871542" y="1110117"/>
              <a:ext cx="251973" cy="252010"/>
            </a:xfrm>
            <a:prstGeom prst="rect">
              <a:avLst/>
            </a:prstGeom>
            <a:noFill/>
            <a:ln>
              <a:noFill/>
            </a:ln>
          </p:spPr>
        </p:pic>
      </p:grpSp>
      <p:grpSp>
        <p:nvGrpSpPr>
          <p:cNvPr id="5238" name="Google Shape;5238;p258"/>
          <p:cNvGrpSpPr/>
          <p:nvPr/>
        </p:nvGrpSpPr>
        <p:grpSpPr>
          <a:xfrm>
            <a:off x="8733865" y="4825201"/>
            <a:ext cx="990000" cy="695000"/>
            <a:chOff x="6550375" y="3618901"/>
            <a:chExt cx="742500" cy="521250"/>
          </a:xfrm>
        </p:grpSpPr>
        <p:sp>
          <p:nvSpPr>
            <p:cNvPr id="5239" name="Google Shape;5239;p258"/>
            <p:cNvSpPr txBox="1"/>
            <p:nvPr/>
          </p:nvSpPr>
          <p:spPr>
            <a:xfrm>
              <a:off x="6550375" y="3801675"/>
              <a:ext cx="742500" cy="338476"/>
            </a:xfrm>
            <a:prstGeom prst="rect">
              <a:avLst/>
            </a:prstGeom>
            <a:noFill/>
            <a:ln>
              <a:noFill/>
            </a:ln>
          </p:spPr>
          <p:txBody>
            <a:bodyPr spcFirstLastPara="1" wrap="square" lIns="121900" tIns="121900" rIns="121900" bIns="121900" anchor="t" anchorCtr="0">
              <a:spAutoFit/>
            </a:bodyPr>
            <a:lstStyle/>
            <a:p>
              <a:pPr algn="ctr" defTabSz="1219170">
                <a:buClr>
                  <a:srgbClr val="000000"/>
                </a:buClr>
              </a:pPr>
              <a:r>
                <a:rPr lang="en" sz="1333" kern="0">
                  <a:solidFill>
                    <a:srgbClr val="FFFFFF"/>
                  </a:solidFill>
                  <a:latin typeface="Arial"/>
                  <a:cs typeface="Arial"/>
                  <a:sym typeface="Arial"/>
                </a:rPr>
                <a:t>operate</a:t>
              </a:r>
              <a:endParaRPr sz="1333" kern="0">
                <a:solidFill>
                  <a:srgbClr val="FFFFFF"/>
                </a:solidFill>
                <a:latin typeface="Arial"/>
                <a:cs typeface="Arial"/>
                <a:sym typeface="Arial"/>
              </a:endParaRPr>
            </a:p>
          </p:txBody>
        </p:sp>
        <p:pic>
          <p:nvPicPr>
            <p:cNvPr id="5240" name="Google Shape;5240;p258"/>
            <p:cNvPicPr preferRelativeResize="0"/>
            <p:nvPr/>
          </p:nvPicPr>
          <p:blipFill rotWithShape="1">
            <a:blip r:embed="rId13">
              <a:alphaModFix/>
            </a:blip>
            <a:srcRect/>
            <a:stretch/>
          </p:blipFill>
          <p:spPr>
            <a:xfrm>
              <a:off x="6792419" y="3618901"/>
              <a:ext cx="258427" cy="256032"/>
            </a:xfrm>
            <a:prstGeom prst="rect">
              <a:avLst/>
            </a:prstGeom>
            <a:noFill/>
            <a:ln>
              <a:noFill/>
            </a:ln>
          </p:spPr>
        </p:pic>
      </p:grpSp>
      <p:grpSp>
        <p:nvGrpSpPr>
          <p:cNvPr id="5241" name="Google Shape;5241;p258"/>
          <p:cNvGrpSpPr/>
          <p:nvPr/>
        </p:nvGrpSpPr>
        <p:grpSpPr>
          <a:xfrm>
            <a:off x="9999008" y="1953190"/>
            <a:ext cx="787600" cy="732896"/>
            <a:chOff x="7453450" y="1472330"/>
            <a:chExt cx="590700" cy="549672"/>
          </a:xfrm>
        </p:grpSpPr>
        <p:sp>
          <p:nvSpPr>
            <p:cNvPr id="5242" name="Google Shape;5242;p258"/>
            <p:cNvSpPr txBox="1"/>
            <p:nvPr/>
          </p:nvSpPr>
          <p:spPr>
            <a:xfrm>
              <a:off x="7453450" y="1683525"/>
              <a:ext cx="590700" cy="338477"/>
            </a:xfrm>
            <a:prstGeom prst="rect">
              <a:avLst/>
            </a:prstGeom>
            <a:noFill/>
            <a:ln>
              <a:noFill/>
            </a:ln>
          </p:spPr>
          <p:txBody>
            <a:bodyPr spcFirstLastPara="1" wrap="square" lIns="121900" tIns="121900" rIns="121900" bIns="121900" anchor="t" anchorCtr="0">
              <a:spAutoFit/>
            </a:bodyPr>
            <a:lstStyle/>
            <a:p>
              <a:pPr algn="ctr" defTabSz="1219170">
                <a:buClr>
                  <a:srgbClr val="000000"/>
                </a:buClr>
              </a:pPr>
              <a:r>
                <a:rPr lang="en" sz="1333" kern="0">
                  <a:solidFill>
                    <a:srgbClr val="FFFFFF"/>
                  </a:solidFill>
                  <a:latin typeface="Arial"/>
                  <a:cs typeface="Arial"/>
                  <a:sym typeface="Arial"/>
                </a:rPr>
                <a:t>test</a:t>
              </a:r>
              <a:endParaRPr sz="1333" kern="0">
                <a:solidFill>
                  <a:srgbClr val="FFFFFF"/>
                </a:solidFill>
                <a:latin typeface="Arial"/>
                <a:cs typeface="Arial"/>
                <a:sym typeface="Arial"/>
              </a:endParaRPr>
            </a:p>
          </p:txBody>
        </p:sp>
        <p:pic>
          <p:nvPicPr>
            <p:cNvPr id="5243" name="Google Shape;5243;p258"/>
            <p:cNvPicPr preferRelativeResize="0"/>
            <p:nvPr/>
          </p:nvPicPr>
          <p:blipFill rotWithShape="1">
            <a:blip r:embed="rId14">
              <a:alphaModFix/>
            </a:blip>
            <a:srcRect/>
            <a:stretch/>
          </p:blipFill>
          <p:spPr>
            <a:xfrm>
              <a:off x="7622462" y="1472330"/>
              <a:ext cx="252690" cy="256032"/>
            </a:xfrm>
            <a:prstGeom prst="rect">
              <a:avLst/>
            </a:prstGeom>
            <a:noFill/>
            <a:ln>
              <a:noFill/>
            </a:ln>
          </p:spPr>
        </p:pic>
      </p:grpSp>
    </p:spTree>
    <p:custDataLst>
      <p:tags r:id="rId1"/>
    </p:custData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346"/>
        <p:cNvGrpSpPr/>
        <p:nvPr/>
      </p:nvGrpSpPr>
      <p:grpSpPr>
        <a:xfrm>
          <a:off x="0" y="0"/>
          <a:ext cx="0" cy="0"/>
          <a:chOff x="0" y="0"/>
          <a:chExt cx="0" cy="0"/>
        </a:xfrm>
      </p:grpSpPr>
      <p:sp>
        <p:nvSpPr>
          <p:cNvPr id="5347" name="Google Shape;5347;p265"/>
          <p:cNvSpPr txBox="1"/>
          <p:nvPr/>
        </p:nvSpPr>
        <p:spPr>
          <a:xfrm>
            <a:off x="460085" y="472391"/>
            <a:ext cx="6460000" cy="1200288"/>
          </a:xfrm>
          <a:prstGeom prst="rect">
            <a:avLst/>
          </a:prstGeom>
          <a:noFill/>
          <a:ln>
            <a:noFill/>
          </a:ln>
        </p:spPr>
        <p:txBody>
          <a:bodyPr spcFirstLastPara="1" wrap="square" lIns="45700" tIns="45700" rIns="45700" bIns="45700" anchor="ctr" anchorCtr="0">
            <a:spAutoFit/>
          </a:bodyPr>
          <a:lstStyle/>
          <a:p>
            <a:pPr defTabSz="1219170">
              <a:lnSpc>
                <a:spcPct val="150000"/>
              </a:lnSpc>
              <a:buClr>
                <a:srgbClr val="FFFFFF"/>
              </a:buClr>
              <a:buSzPts val="3000"/>
            </a:pPr>
            <a:r>
              <a:rPr lang="en" sz="4800" b="1" kern="0">
                <a:solidFill>
                  <a:srgbClr val="FFFFFF"/>
                </a:solidFill>
                <a:latin typeface="Arial"/>
                <a:cs typeface="Arial"/>
                <a:sym typeface="Arial"/>
              </a:rPr>
              <a:t>GitHub Enterprise</a:t>
            </a:r>
            <a:endParaRPr sz="4800" b="1" kern="0">
              <a:solidFill>
                <a:srgbClr val="000000"/>
              </a:solidFill>
              <a:latin typeface="Arial"/>
              <a:cs typeface="Arial"/>
              <a:sym typeface="Arial"/>
            </a:endParaRPr>
          </a:p>
        </p:txBody>
      </p:sp>
      <p:sp>
        <p:nvSpPr>
          <p:cNvPr id="5348" name="Google Shape;5348;p265"/>
          <p:cNvSpPr txBox="1"/>
          <p:nvPr/>
        </p:nvSpPr>
        <p:spPr>
          <a:xfrm>
            <a:off x="543225" y="1497935"/>
            <a:ext cx="5521600" cy="420524"/>
          </a:xfrm>
          <a:prstGeom prst="rect">
            <a:avLst/>
          </a:prstGeom>
          <a:noFill/>
          <a:ln>
            <a:noFill/>
          </a:ln>
        </p:spPr>
        <p:txBody>
          <a:bodyPr spcFirstLastPara="1" wrap="square" lIns="91433" tIns="45700" rIns="91433" bIns="45700" anchor="t" anchorCtr="0">
            <a:spAutoFit/>
          </a:bodyPr>
          <a:lstStyle/>
          <a:p>
            <a:pPr defTabSz="1219170">
              <a:buClr>
                <a:srgbClr val="8B949E"/>
              </a:buClr>
              <a:buSzPts val="900"/>
            </a:pPr>
            <a:r>
              <a:rPr lang="en" sz="2133" kern="0" dirty="0">
                <a:solidFill>
                  <a:srgbClr val="8B949E"/>
                </a:solidFill>
                <a:latin typeface="Arial"/>
                <a:cs typeface="Arial"/>
                <a:sym typeface="Arial"/>
              </a:rPr>
              <a:t>Fully integrated DevSecOps Platform</a:t>
            </a:r>
            <a:endParaRPr sz="2133" kern="0" dirty="0">
              <a:solidFill>
                <a:srgbClr val="8B949E"/>
              </a:solidFill>
              <a:latin typeface="Arial"/>
              <a:cs typeface="Arial"/>
              <a:sym typeface="Arial"/>
            </a:endParaRPr>
          </a:p>
        </p:txBody>
      </p:sp>
      <p:sp>
        <p:nvSpPr>
          <p:cNvPr id="5349" name="Google Shape;5349;p265"/>
          <p:cNvSpPr txBox="1"/>
          <p:nvPr/>
        </p:nvSpPr>
        <p:spPr>
          <a:xfrm>
            <a:off x="418599" y="2391201"/>
            <a:ext cx="3124800" cy="913158"/>
          </a:xfrm>
          <a:prstGeom prst="rect">
            <a:avLst/>
          </a:prstGeom>
          <a:noFill/>
          <a:ln>
            <a:noFill/>
          </a:ln>
        </p:spPr>
        <p:txBody>
          <a:bodyPr spcFirstLastPara="1" wrap="square" lIns="91433" tIns="45700" rIns="91433" bIns="45700" anchor="t" anchorCtr="0">
            <a:spAutoFit/>
          </a:bodyPr>
          <a:lstStyle/>
          <a:p>
            <a:pPr defTabSz="1219170">
              <a:buClr>
                <a:srgbClr val="FFFFFF"/>
              </a:buClr>
              <a:buSzPts val="1800"/>
            </a:pPr>
            <a:r>
              <a:rPr lang="en" sz="2667" b="1" kern="0">
                <a:solidFill>
                  <a:srgbClr val="FFFFFF"/>
                </a:solidFill>
                <a:latin typeface="Arial"/>
                <a:cs typeface="Arial"/>
                <a:sym typeface="Arial"/>
              </a:rPr>
              <a:t>Collaboration &amp; </a:t>
            </a:r>
            <a:br>
              <a:rPr lang="en" sz="2667" b="1" kern="0">
                <a:solidFill>
                  <a:srgbClr val="FFFFFF"/>
                </a:solidFill>
                <a:latin typeface="Arial"/>
                <a:cs typeface="Arial"/>
                <a:sym typeface="Arial"/>
              </a:rPr>
            </a:br>
            <a:r>
              <a:rPr lang="en" sz="2667" b="1" kern="0">
                <a:solidFill>
                  <a:srgbClr val="FFFFFF"/>
                </a:solidFill>
                <a:latin typeface="Arial"/>
                <a:cs typeface="Arial"/>
                <a:sym typeface="Arial"/>
              </a:rPr>
              <a:t>innersourcing</a:t>
            </a:r>
            <a:endParaRPr sz="2667" b="1" kern="0">
              <a:solidFill>
                <a:srgbClr val="000000"/>
              </a:solidFill>
              <a:latin typeface="Arial"/>
              <a:cs typeface="Arial"/>
              <a:sym typeface="Arial"/>
            </a:endParaRPr>
          </a:p>
        </p:txBody>
      </p:sp>
      <p:sp>
        <p:nvSpPr>
          <p:cNvPr id="5350" name="Google Shape;5350;p265"/>
          <p:cNvSpPr txBox="1"/>
          <p:nvPr/>
        </p:nvSpPr>
        <p:spPr>
          <a:xfrm>
            <a:off x="378407" y="5064401"/>
            <a:ext cx="3746000" cy="502726"/>
          </a:xfrm>
          <a:prstGeom prst="rect">
            <a:avLst/>
          </a:prstGeom>
          <a:noFill/>
          <a:ln>
            <a:noFill/>
          </a:ln>
        </p:spPr>
        <p:txBody>
          <a:bodyPr spcFirstLastPara="1" wrap="square" lIns="91433" tIns="45700" rIns="91433" bIns="45700" anchor="t" anchorCtr="0">
            <a:spAutoFit/>
          </a:bodyPr>
          <a:lstStyle/>
          <a:p>
            <a:pPr defTabSz="1219170">
              <a:buClr>
                <a:srgbClr val="FFFFFF"/>
              </a:buClr>
              <a:buSzPts val="1800"/>
            </a:pPr>
            <a:r>
              <a:rPr lang="en" sz="2667" b="1" kern="0">
                <a:solidFill>
                  <a:srgbClr val="FFFFFF"/>
                </a:solidFill>
                <a:latin typeface="Arial"/>
                <a:cs typeface="Arial"/>
                <a:sym typeface="Arial"/>
              </a:rPr>
              <a:t>Secure by design</a:t>
            </a:r>
            <a:endParaRPr sz="2667" b="1" kern="0">
              <a:solidFill>
                <a:srgbClr val="000000"/>
              </a:solidFill>
              <a:latin typeface="Arial"/>
              <a:cs typeface="Arial"/>
              <a:sym typeface="Arial"/>
            </a:endParaRPr>
          </a:p>
        </p:txBody>
      </p:sp>
      <p:sp>
        <p:nvSpPr>
          <p:cNvPr id="5351" name="Google Shape;5351;p265"/>
          <p:cNvSpPr txBox="1"/>
          <p:nvPr/>
        </p:nvSpPr>
        <p:spPr>
          <a:xfrm>
            <a:off x="418607" y="3620201"/>
            <a:ext cx="3642400" cy="913158"/>
          </a:xfrm>
          <a:prstGeom prst="rect">
            <a:avLst/>
          </a:prstGeom>
          <a:noFill/>
          <a:ln>
            <a:noFill/>
          </a:ln>
        </p:spPr>
        <p:txBody>
          <a:bodyPr spcFirstLastPara="1" wrap="square" lIns="91433" tIns="45700" rIns="91433" bIns="45700" anchor="t" anchorCtr="0">
            <a:spAutoFit/>
          </a:bodyPr>
          <a:lstStyle/>
          <a:p>
            <a:pPr defTabSz="1219170">
              <a:buClr>
                <a:srgbClr val="FFFFFF"/>
              </a:buClr>
              <a:buSzPts val="1800"/>
            </a:pPr>
            <a:r>
              <a:rPr lang="en" sz="2667" b="1" kern="0">
                <a:solidFill>
                  <a:srgbClr val="FFFFFF"/>
                </a:solidFill>
                <a:latin typeface="Arial"/>
                <a:cs typeface="Arial"/>
                <a:sym typeface="Arial"/>
              </a:rPr>
              <a:t>Automation &amp;</a:t>
            </a:r>
            <a:br>
              <a:rPr lang="en" sz="2667" b="1" kern="0">
                <a:solidFill>
                  <a:srgbClr val="FFFFFF"/>
                </a:solidFill>
                <a:latin typeface="Arial"/>
                <a:cs typeface="Arial"/>
                <a:sym typeface="Arial"/>
              </a:rPr>
            </a:br>
            <a:r>
              <a:rPr lang="en" sz="2667" b="1" kern="0">
                <a:solidFill>
                  <a:srgbClr val="FFFFFF"/>
                </a:solidFill>
                <a:latin typeface="Arial"/>
                <a:cs typeface="Arial"/>
                <a:sym typeface="Arial"/>
              </a:rPr>
              <a:t>development tools</a:t>
            </a:r>
            <a:endParaRPr sz="2667" b="1" kern="0">
              <a:solidFill>
                <a:srgbClr val="000000"/>
              </a:solidFill>
              <a:latin typeface="Arial"/>
              <a:cs typeface="Arial"/>
              <a:sym typeface="Arial"/>
            </a:endParaRPr>
          </a:p>
        </p:txBody>
      </p:sp>
      <p:grpSp>
        <p:nvGrpSpPr>
          <p:cNvPr id="5352" name="Google Shape;5352;p265"/>
          <p:cNvGrpSpPr/>
          <p:nvPr/>
        </p:nvGrpSpPr>
        <p:grpSpPr>
          <a:xfrm>
            <a:off x="5943001" y="2504801"/>
            <a:ext cx="1840127" cy="686000"/>
            <a:chOff x="4574888" y="1193921"/>
            <a:chExt cx="1380095" cy="514500"/>
          </a:xfrm>
        </p:grpSpPr>
        <p:sp>
          <p:nvSpPr>
            <p:cNvPr id="5353" name="Google Shape;5353;p265"/>
            <p:cNvSpPr/>
            <p:nvPr/>
          </p:nvSpPr>
          <p:spPr>
            <a:xfrm>
              <a:off x="4574888" y="1193921"/>
              <a:ext cx="1371600" cy="514500"/>
            </a:xfrm>
            <a:prstGeom prst="roundRect">
              <a:avLst>
                <a:gd name="adj" fmla="val 9623"/>
              </a:avLst>
            </a:prstGeom>
            <a:solidFill>
              <a:srgbClr val="0A0C10"/>
            </a:solidFill>
            <a:ln w="9525" cap="flat" cmpd="sng">
              <a:solidFill>
                <a:srgbClr val="58A6FF"/>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pic>
          <p:nvPicPr>
            <p:cNvPr id="5354" name="Google Shape;5354;p265"/>
            <p:cNvPicPr preferRelativeResize="0"/>
            <p:nvPr/>
          </p:nvPicPr>
          <p:blipFill rotWithShape="1">
            <a:blip r:embed="rId4">
              <a:alphaModFix/>
            </a:blip>
            <a:srcRect/>
            <a:stretch/>
          </p:blipFill>
          <p:spPr>
            <a:xfrm>
              <a:off x="4708572" y="1279721"/>
              <a:ext cx="342900" cy="342900"/>
            </a:xfrm>
            <a:prstGeom prst="rect">
              <a:avLst/>
            </a:prstGeom>
            <a:noFill/>
            <a:ln>
              <a:noFill/>
            </a:ln>
          </p:spPr>
        </p:pic>
        <p:sp>
          <p:nvSpPr>
            <p:cNvPr id="5355" name="Google Shape;5355;p265"/>
            <p:cNvSpPr txBox="1"/>
            <p:nvPr/>
          </p:nvSpPr>
          <p:spPr>
            <a:xfrm>
              <a:off x="5059483" y="1293371"/>
              <a:ext cx="895500" cy="315537"/>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ea typeface="Arial"/>
                  <a:cs typeface="Arial"/>
                  <a:sym typeface="Arial"/>
                </a:rPr>
                <a:t>Open Source Access</a:t>
              </a:r>
              <a:endParaRPr sz="1067" kern="0">
                <a:solidFill>
                  <a:srgbClr val="FFFFFF"/>
                </a:solidFill>
                <a:latin typeface="Arial"/>
                <a:ea typeface="Arial"/>
                <a:cs typeface="Arial"/>
                <a:sym typeface="Arial"/>
              </a:endParaRPr>
            </a:p>
          </p:txBody>
        </p:sp>
      </p:grpSp>
      <p:grpSp>
        <p:nvGrpSpPr>
          <p:cNvPr id="5356" name="Google Shape;5356;p265"/>
          <p:cNvGrpSpPr/>
          <p:nvPr/>
        </p:nvGrpSpPr>
        <p:grpSpPr>
          <a:xfrm>
            <a:off x="7879624" y="2504800"/>
            <a:ext cx="1828800" cy="686000"/>
            <a:chOff x="6029988" y="1193921"/>
            <a:chExt cx="1371600" cy="514500"/>
          </a:xfrm>
        </p:grpSpPr>
        <p:sp>
          <p:nvSpPr>
            <p:cNvPr id="5357" name="Google Shape;5357;p265"/>
            <p:cNvSpPr/>
            <p:nvPr/>
          </p:nvSpPr>
          <p:spPr>
            <a:xfrm>
              <a:off x="6029988" y="1193921"/>
              <a:ext cx="1371600" cy="514500"/>
            </a:xfrm>
            <a:prstGeom prst="roundRect">
              <a:avLst>
                <a:gd name="adj" fmla="val 9623"/>
              </a:avLst>
            </a:prstGeom>
            <a:solidFill>
              <a:srgbClr val="0A0C10"/>
            </a:solidFill>
            <a:ln w="9525" cap="flat" cmpd="sng">
              <a:solidFill>
                <a:srgbClr val="58A6FF"/>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pic>
          <p:nvPicPr>
            <p:cNvPr id="5358" name="Google Shape;5358;p265"/>
            <p:cNvPicPr preferRelativeResize="0"/>
            <p:nvPr/>
          </p:nvPicPr>
          <p:blipFill rotWithShape="1">
            <a:blip r:embed="rId5">
              <a:alphaModFix/>
            </a:blip>
            <a:srcRect/>
            <a:stretch/>
          </p:blipFill>
          <p:spPr>
            <a:xfrm>
              <a:off x="6140500" y="1279721"/>
              <a:ext cx="342900" cy="342900"/>
            </a:xfrm>
            <a:prstGeom prst="rect">
              <a:avLst/>
            </a:prstGeom>
            <a:noFill/>
            <a:ln>
              <a:noFill/>
            </a:ln>
          </p:spPr>
        </p:pic>
        <p:sp>
          <p:nvSpPr>
            <p:cNvPr id="5359" name="Google Shape;5359;p265"/>
            <p:cNvSpPr txBox="1"/>
            <p:nvPr/>
          </p:nvSpPr>
          <p:spPr>
            <a:xfrm>
              <a:off x="6484731" y="1355021"/>
              <a:ext cx="895500" cy="192379"/>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ea typeface="Arial"/>
                  <a:cs typeface="Arial"/>
                  <a:sym typeface="Arial"/>
                </a:rPr>
                <a:t>Project planning</a:t>
              </a:r>
              <a:endParaRPr sz="1067" kern="0">
                <a:solidFill>
                  <a:srgbClr val="FFFFFF"/>
                </a:solidFill>
                <a:latin typeface="Arial"/>
                <a:ea typeface="Arial"/>
                <a:cs typeface="Arial"/>
                <a:sym typeface="Arial"/>
              </a:endParaRPr>
            </a:p>
          </p:txBody>
        </p:sp>
      </p:grpSp>
      <p:grpSp>
        <p:nvGrpSpPr>
          <p:cNvPr id="5360" name="Google Shape;5360;p265"/>
          <p:cNvGrpSpPr/>
          <p:nvPr/>
        </p:nvGrpSpPr>
        <p:grpSpPr>
          <a:xfrm>
            <a:off x="4018884" y="2504800"/>
            <a:ext cx="1828800" cy="686000"/>
            <a:chOff x="3009288" y="1193921"/>
            <a:chExt cx="1371600" cy="514500"/>
          </a:xfrm>
        </p:grpSpPr>
        <p:sp>
          <p:nvSpPr>
            <p:cNvPr id="5361" name="Google Shape;5361;p265"/>
            <p:cNvSpPr/>
            <p:nvPr/>
          </p:nvSpPr>
          <p:spPr>
            <a:xfrm>
              <a:off x="3009288" y="1193921"/>
              <a:ext cx="1371600" cy="514500"/>
            </a:xfrm>
            <a:prstGeom prst="roundRect">
              <a:avLst>
                <a:gd name="adj" fmla="val 9623"/>
              </a:avLst>
            </a:prstGeom>
            <a:solidFill>
              <a:srgbClr val="0A0C10"/>
            </a:solidFill>
            <a:ln w="9525" cap="flat" cmpd="sng">
              <a:solidFill>
                <a:srgbClr val="58A6FF"/>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pic>
          <p:nvPicPr>
            <p:cNvPr id="5362" name="Google Shape;5362;p265"/>
            <p:cNvPicPr preferRelativeResize="0"/>
            <p:nvPr/>
          </p:nvPicPr>
          <p:blipFill rotWithShape="1">
            <a:blip r:embed="rId6">
              <a:alphaModFix/>
            </a:blip>
            <a:srcRect/>
            <a:stretch/>
          </p:blipFill>
          <p:spPr>
            <a:xfrm>
              <a:off x="3114674" y="1279721"/>
              <a:ext cx="342900" cy="342900"/>
            </a:xfrm>
            <a:prstGeom prst="rect">
              <a:avLst/>
            </a:prstGeom>
            <a:noFill/>
            <a:ln>
              <a:noFill/>
            </a:ln>
          </p:spPr>
        </p:pic>
        <p:sp>
          <p:nvSpPr>
            <p:cNvPr id="5363" name="Google Shape;5363;p265"/>
            <p:cNvSpPr txBox="1"/>
            <p:nvPr/>
          </p:nvSpPr>
          <p:spPr>
            <a:xfrm>
              <a:off x="3503350" y="1231871"/>
              <a:ext cx="854400" cy="438696"/>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ea typeface="Arial"/>
                  <a:cs typeface="Arial"/>
                  <a:sym typeface="Arial"/>
                </a:rPr>
                <a:t>Granular</a:t>
              </a:r>
              <a:endParaRPr sz="1867" kern="0">
                <a:solidFill>
                  <a:srgbClr val="FFFFFF"/>
                </a:solidFill>
                <a:latin typeface="Calibri"/>
                <a:ea typeface="Calibri"/>
                <a:cs typeface="Calibri"/>
                <a:sym typeface="Calibri"/>
              </a:endParaRPr>
            </a:p>
            <a:p>
              <a:pPr defTabSz="1219170">
                <a:buClr>
                  <a:srgbClr val="8B949E"/>
                </a:buClr>
                <a:buSzPts val="800"/>
              </a:pPr>
              <a:r>
                <a:rPr lang="en" sz="1067" kern="0">
                  <a:solidFill>
                    <a:srgbClr val="FFFFFF"/>
                  </a:solidFill>
                  <a:latin typeface="Arial"/>
                  <a:ea typeface="Arial"/>
                  <a:cs typeface="Arial"/>
                  <a:sym typeface="Arial"/>
                </a:rPr>
                <a:t>permissions</a:t>
              </a:r>
              <a:endParaRPr sz="1867" kern="0">
                <a:solidFill>
                  <a:srgbClr val="FFFFFF"/>
                </a:solidFill>
                <a:latin typeface="Calibri"/>
                <a:ea typeface="Calibri"/>
                <a:cs typeface="Calibri"/>
                <a:sym typeface="Calibri"/>
              </a:endParaRPr>
            </a:p>
            <a:p>
              <a:pPr defTabSz="1219170">
                <a:buClr>
                  <a:srgbClr val="8B949E"/>
                </a:buClr>
                <a:buSzPts val="800"/>
              </a:pPr>
              <a:r>
                <a:rPr lang="en" sz="1067" kern="0">
                  <a:solidFill>
                    <a:srgbClr val="FFFFFF"/>
                  </a:solidFill>
                  <a:latin typeface="Arial"/>
                  <a:ea typeface="Arial"/>
                  <a:cs typeface="Arial"/>
                  <a:sym typeface="Arial"/>
                </a:rPr>
                <a:t>&amp; custom roles</a:t>
              </a:r>
              <a:endParaRPr sz="1867" kern="0">
                <a:solidFill>
                  <a:srgbClr val="FFFFFF"/>
                </a:solidFill>
                <a:latin typeface="Calibri"/>
                <a:ea typeface="Calibri"/>
                <a:cs typeface="Calibri"/>
                <a:sym typeface="Calibri"/>
              </a:endParaRPr>
            </a:p>
          </p:txBody>
        </p:sp>
      </p:grpSp>
      <p:grpSp>
        <p:nvGrpSpPr>
          <p:cNvPr id="5364" name="Google Shape;5364;p265"/>
          <p:cNvGrpSpPr/>
          <p:nvPr/>
        </p:nvGrpSpPr>
        <p:grpSpPr>
          <a:xfrm>
            <a:off x="9807890" y="2504800"/>
            <a:ext cx="1828885" cy="686000"/>
            <a:chOff x="7476613" y="1193921"/>
            <a:chExt cx="1399800" cy="514500"/>
          </a:xfrm>
        </p:grpSpPr>
        <p:sp>
          <p:nvSpPr>
            <p:cNvPr id="5365" name="Google Shape;5365;p265"/>
            <p:cNvSpPr/>
            <p:nvPr/>
          </p:nvSpPr>
          <p:spPr>
            <a:xfrm>
              <a:off x="7476613" y="1193921"/>
              <a:ext cx="1399800" cy="514500"/>
            </a:xfrm>
            <a:prstGeom prst="roundRect">
              <a:avLst>
                <a:gd name="adj" fmla="val 9623"/>
              </a:avLst>
            </a:prstGeom>
            <a:solidFill>
              <a:srgbClr val="0A0C10"/>
            </a:solidFill>
            <a:ln w="9525" cap="flat" cmpd="sng">
              <a:solidFill>
                <a:srgbClr val="58A6FF"/>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pic>
          <p:nvPicPr>
            <p:cNvPr id="5366" name="Google Shape;5366;p265"/>
            <p:cNvPicPr preferRelativeResize="0"/>
            <p:nvPr/>
          </p:nvPicPr>
          <p:blipFill rotWithShape="1">
            <a:blip r:embed="rId7">
              <a:alphaModFix/>
            </a:blip>
            <a:srcRect/>
            <a:stretch/>
          </p:blipFill>
          <p:spPr>
            <a:xfrm>
              <a:off x="7585375" y="1279721"/>
              <a:ext cx="342900" cy="342900"/>
            </a:xfrm>
            <a:prstGeom prst="rect">
              <a:avLst/>
            </a:prstGeom>
            <a:noFill/>
            <a:ln>
              <a:noFill/>
            </a:ln>
          </p:spPr>
        </p:pic>
        <p:sp>
          <p:nvSpPr>
            <p:cNvPr id="5367" name="Google Shape;5367;p265"/>
            <p:cNvSpPr txBox="1"/>
            <p:nvPr/>
          </p:nvSpPr>
          <p:spPr>
            <a:xfrm>
              <a:off x="7929606" y="1231871"/>
              <a:ext cx="946800" cy="438696"/>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ea typeface="Arial"/>
                  <a:cs typeface="Arial"/>
                  <a:sym typeface="Arial"/>
                </a:rPr>
                <a:t>Private packaging &amp; container registry</a:t>
              </a:r>
              <a:endParaRPr sz="1067" kern="0">
                <a:solidFill>
                  <a:srgbClr val="FFFFFF"/>
                </a:solidFill>
                <a:latin typeface="Arial"/>
                <a:ea typeface="Arial"/>
                <a:cs typeface="Arial"/>
                <a:sym typeface="Arial"/>
              </a:endParaRPr>
            </a:p>
          </p:txBody>
        </p:sp>
      </p:grpSp>
      <p:grpSp>
        <p:nvGrpSpPr>
          <p:cNvPr id="5368" name="Google Shape;5368;p265"/>
          <p:cNvGrpSpPr/>
          <p:nvPr/>
        </p:nvGrpSpPr>
        <p:grpSpPr>
          <a:xfrm>
            <a:off x="4018884" y="3733800"/>
            <a:ext cx="1831549" cy="686000"/>
            <a:chOff x="3138813" y="2441246"/>
            <a:chExt cx="1373662" cy="514500"/>
          </a:xfrm>
        </p:grpSpPr>
        <p:sp>
          <p:nvSpPr>
            <p:cNvPr id="5369" name="Google Shape;5369;p265"/>
            <p:cNvSpPr/>
            <p:nvPr/>
          </p:nvSpPr>
          <p:spPr>
            <a:xfrm>
              <a:off x="3138813" y="2441246"/>
              <a:ext cx="1371600" cy="514500"/>
            </a:xfrm>
            <a:prstGeom prst="roundRect">
              <a:avLst>
                <a:gd name="adj" fmla="val 9623"/>
              </a:avLst>
            </a:prstGeom>
            <a:solidFill>
              <a:srgbClr val="0A0C10"/>
            </a:solidFill>
            <a:ln w="9525" cap="flat" cmpd="sng">
              <a:solidFill>
                <a:schemeClr val="accent1"/>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pic>
          <p:nvPicPr>
            <p:cNvPr id="5370" name="Google Shape;5370;p265"/>
            <p:cNvPicPr preferRelativeResize="0"/>
            <p:nvPr/>
          </p:nvPicPr>
          <p:blipFill rotWithShape="1">
            <a:blip r:embed="rId8">
              <a:alphaModFix/>
            </a:blip>
            <a:srcRect/>
            <a:stretch/>
          </p:blipFill>
          <p:spPr>
            <a:xfrm>
              <a:off x="3241149" y="2527046"/>
              <a:ext cx="342900" cy="342900"/>
            </a:xfrm>
            <a:prstGeom prst="rect">
              <a:avLst/>
            </a:prstGeom>
            <a:noFill/>
            <a:ln>
              <a:noFill/>
            </a:ln>
          </p:spPr>
        </p:pic>
        <p:sp>
          <p:nvSpPr>
            <p:cNvPr id="5371" name="Google Shape;5371;p265"/>
            <p:cNvSpPr txBox="1"/>
            <p:nvPr/>
          </p:nvSpPr>
          <p:spPr>
            <a:xfrm>
              <a:off x="3616975" y="2602346"/>
              <a:ext cx="895500" cy="192379"/>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cs typeface="Arial"/>
                  <a:sym typeface="Arial"/>
                </a:rPr>
                <a:t>Actions</a:t>
              </a:r>
              <a:endParaRPr sz="1067" kern="0">
                <a:solidFill>
                  <a:srgbClr val="FFFFFF"/>
                </a:solidFill>
                <a:latin typeface="Arial"/>
                <a:ea typeface="Arial"/>
                <a:cs typeface="Arial"/>
                <a:sym typeface="Arial"/>
              </a:endParaRPr>
            </a:p>
          </p:txBody>
        </p:sp>
      </p:grpSp>
      <p:grpSp>
        <p:nvGrpSpPr>
          <p:cNvPr id="5372" name="Google Shape;5372;p265"/>
          <p:cNvGrpSpPr/>
          <p:nvPr/>
        </p:nvGrpSpPr>
        <p:grpSpPr>
          <a:xfrm>
            <a:off x="5943001" y="3733800"/>
            <a:ext cx="1830809" cy="686000"/>
            <a:chOff x="4588013" y="2441246"/>
            <a:chExt cx="1373107" cy="514500"/>
          </a:xfrm>
        </p:grpSpPr>
        <p:sp>
          <p:nvSpPr>
            <p:cNvPr id="5373" name="Google Shape;5373;p265"/>
            <p:cNvSpPr/>
            <p:nvPr/>
          </p:nvSpPr>
          <p:spPr>
            <a:xfrm>
              <a:off x="4588013" y="2441246"/>
              <a:ext cx="1371600" cy="514500"/>
            </a:xfrm>
            <a:prstGeom prst="roundRect">
              <a:avLst>
                <a:gd name="adj" fmla="val 9623"/>
              </a:avLst>
            </a:prstGeom>
            <a:solidFill>
              <a:srgbClr val="0A0C10"/>
            </a:solidFill>
            <a:ln w="9525" cap="flat" cmpd="sng">
              <a:solidFill>
                <a:schemeClr val="accent1"/>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pic>
          <p:nvPicPr>
            <p:cNvPr id="5374" name="Google Shape;5374;p265"/>
            <p:cNvPicPr preferRelativeResize="0"/>
            <p:nvPr/>
          </p:nvPicPr>
          <p:blipFill rotWithShape="1">
            <a:blip r:embed="rId9">
              <a:alphaModFix/>
            </a:blip>
            <a:srcRect/>
            <a:stretch/>
          </p:blipFill>
          <p:spPr>
            <a:xfrm>
              <a:off x="4714709" y="2527046"/>
              <a:ext cx="342900" cy="342900"/>
            </a:xfrm>
            <a:prstGeom prst="rect">
              <a:avLst/>
            </a:prstGeom>
            <a:noFill/>
            <a:ln>
              <a:noFill/>
            </a:ln>
          </p:spPr>
        </p:pic>
        <p:sp>
          <p:nvSpPr>
            <p:cNvPr id="5375" name="Google Shape;5375;p265"/>
            <p:cNvSpPr txBox="1"/>
            <p:nvPr/>
          </p:nvSpPr>
          <p:spPr>
            <a:xfrm>
              <a:off x="5065620" y="2602346"/>
              <a:ext cx="895500" cy="192379"/>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ea typeface="Arial"/>
                  <a:cs typeface="Arial"/>
                  <a:sym typeface="Arial"/>
                </a:rPr>
                <a:t>Codespaces</a:t>
              </a:r>
              <a:endParaRPr sz="1067" kern="0">
                <a:solidFill>
                  <a:srgbClr val="FFFFFF"/>
                </a:solidFill>
                <a:latin typeface="Arial"/>
                <a:ea typeface="Arial"/>
                <a:cs typeface="Arial"/>
                <a:sym typeface="Arial"/>
              </a:endParaRPr>
            </a:p>
          </p:txBody>
        </p:sp>
      </p:grpSp>
      <p:grpSp>
        <p:nvGrpSpPr>
          <p:cNvPr id="5376" name="Google Shape;5376;p265"/>
          <p:cNvGrpSpPr/>
          <p:nvPr/>
        </p:nvGrpSpPr>
        <p:grpSpPr>
          <a:xfrm>
            <a:off x="7879624" y="3733800"/>
            <a:ext cx="1828800" cy="686000"/>
            <a:chOff x="6074588" y="2441246"/>
            <a:chExt cx="1371600" cy="514500"/>
          </a:xfrm>
        </p:grpSpPr>
        <p:sp>
          <p:nvSpPr>
            <p:cNvPr id="5377" name="Google Shape;5377;p265"/>
            <p:cNvSpPr/>
            <p:nvPr/>
          </p:nvSpPr>
          <p:spPr>
            <a:xfrm>
              <a:off x="6074588" y="2441246"/>
              <a:ext cx="1371600" cy="514500"/>
            </a:xfrm>
            <a:prstGeom prst="roundRect">
              <a:avLst>
                <a:gd name="adj" fmla="val 9623"/>
              </a:avLst>
            </a:prstGeom>
            <a:solidFill>
              <a:srgbClr val="0A0C10"/>
            </a:solidFill>
            <a:ln w="9525" cap="flat" cmpd="sng">
              <a:solidFill>
                <a:schemeClr val="accent1"/>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pic>
          <p:nvPicPr>
            <p:cNvPr id="5378" name="Google Shape;5378;p265"/>
            <p:cNvPicPr preferRelativeResize="0"/>
            <p:nvPr/>
          </p:nvPicPr>
          <p:blipFill rotWithShape="1">
            <a:blip r:embed="rId10">
              <a:alphaModFix/>
            </a:blip>
            <a:srcRect/>
            <a:stretch/>
          </p:blipFill>
          <p:spPr>
            <a:xfrm>
              <a:off x="6140500" y="2527046"/>
              <a:ext cx="342900" cy="342900"/>
            </a:xfrm>
            <a:prstGeom prst="rect">
              <a:avLst/>
            </a:prstGeom>
            <a:noFill/>
            <a:ln>
              <a:noFill/>
            </a:ln>
          </p:spPr>
        </p:pic>
        <p:sp>
          <p:nvSpPr>
            <p:cNvPr id="5379" name="Google Shape;5379;p265"/>
            <p:cNvSpPr txBox="1"/>
            <p:nvPr/>
          </p:nvSpPr>
          <p:spPr>
            <a:xfrm>
              <a:off x="6516325" y="2602346"/>
              <a:ext cx="895500" cy="192379"/>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ea typeface="Arial"/>
                  <a:cs typeface="Arial"/>
                  <a:sym typeface="Arial"/>
                </a:rPr>
                <a:t>Config-as-code</a:t>
              </a:r>
              <a:endParaRPr sz="1067" kern="0">
                <a:solidFill>
                  <a:srgbClr val="FFFFFF"/>
                </a:solidFill>
                <a:latin typeface="Arial"/>
                <a:ea typeface="Arial"/>
                <a:cs typeface="Arial"/>
                <a:sym typeface="Arial"/>
              </a:endParaRPr>
            </a:p>
          </p:txBody>
        </p:sp>
      </p:grpSp>
      <p:grpSp>
        <p:nvGrpSpPr>
          <p:cNvPr id="5380" name="Google Shape;5380;p265"/>
          <p:cNvGrpSpPr/>
          <p:nvPr/>
        </p:nvGrpSpPr>
        <p:grpSpPr>
          <a:xfrm>
            <a:off x="9807484" y="3733800"/>
            <a:ext cx="1828800" cy="686000"/>
            <a:chOff x="7501113" y="2441246"/>
            <a:chExt cx="1371600" cy="514500"/>
          </a:xfrm>
        </p:grpSpPr>
        <p:sp>
          <p:nvSpPr>
            <p:cNvPr id="5381" name="Google Shape;5381;p265"/>
            <p:cNvSpPr/>
            <p:nvPr/>
          </p:nvSpPr>
          <p:spPr>
            <a:xfrm>
              <a:off x="7501113" y="2441246"/>
              <a:ext cx="1371600" cy="514500"/>
            </a:xfrm>
            <a:prstGeom prst="roundRect">
              <a:avLst>
                <a:gd name="adj" fmla="val 9623"/>
              </a:avLst>
            </a:prstGeom>
            <a:solidFill>
              <a:srgbClr val="0A0C10"/>
            </a:solidFill>
            <a:ln w="9525" cap="flat" cmpd="sng">
              <a:solidFill>
                <a:schemeClr val="accent1"/>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sp>
          <p:nvSpPr>
            <p:cNvPr id="5382" name="Google Shape;5382;p265"/>
            <p:cNvSpPr txBox="1"/>
            <p:nvPr/>
          </p:nvSpPr>
          <p:spPr>
            <a:xfrm>
              <a:off x="7936783" y="2602346"/>
              <a:ext cx="895500" cy="192379"/>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ea typeface="Arial"/>
                  <a:cs typeface="Arial"/>
                  <a:sym typeface="Arial"/>
                </a:rPr>
                <a:t>GitHub copilot</a:t>
              </a:r>
              <a:endParaRPr sz="1067" kern="0">
                <a:solidFill>
                  <a:srgbClr val="FFFFFF"/>
                </a:solidFill>
                <a:latin typeface="Arial"/>
                <a:ea typeface="Arial"/>
                <a:cs typeface="Arial"/>
                <a:sym typeface="Arial"/>
              </a:endParaRPr>
            </a:p>
          </p:txBody>
        </p:sp>
        <p:pic>
          <p:nvPicPr>
            <p:cNvPr id="5383" name="Google Shape;5383;p265" descr="Picture 2"/>
            <p:cNvPicPr preferRelativeResize="0"/>
            <p:nvPr/>
          </p:nvPicPr>
          <p:blipFill rotWithShape="1">
            <a:blip r:embed="rId11">
              <a:alphaModFix amt="89000"/>
            </a:blip>
            <a:srcRect/>
            <a:stretch/>
          </p:blipFill>
          <p:spPr>
            <a:xfrm>
              <a:off x="7603017" y="2573611"/>
              <a:ext cx="308610" cy="249770"/>
            </a:xfrm>
            <a:prstGeom prst="rect">
              <a:avLst/>
            </a:prstGeom>
            <a:noFill/>
            <a:ln>
              <a:noFill/>
            </a:ln>
          </p:spPr>
        </p:pic>
      </p:grpSp>
      <p:grpSp>
        <p:nvGrpSpPr>
          <p:cNvPr id="5384" name="Google Shape;5384;p265"/>
          <p:cNvGrpSpPr/>
          <p:nvPr/>
        </p:nvGrpSpPr>
        <p:grpSpPr>
          <a:xfrm>
            <a:off x="5943000" y="4972495"/>
            <a:ext cx="1944293" cy="686000"/>
            <a:chOff x="4542588" y="3738896"/>
            <a:chExt cx="1458220" cy="514500"/>
          </a:xfrm>
        </p:grpSpPr>
        <p:sp>
          <p:nvSpPr>
            <p:cNvPr id="5385" name="Google Shape;5385;p265"/>
            <p:cNvSpPr/>
            <p:nvPr/>
          </p:nvSpPr>
          <p:spPr>
            <a:xfrm>
              <a:off x="4542588" y="3738896"/>
              <a:ext cx="1371600" cy="514500"/>
            </a:xfrm>
            <a:prstGeom prst="roundRect">
              <a:avLst>
                <a:gd name="adj" fmla="val 9623"/>
              </a:avLst>
            </a:prstGeom>
            <a:solidFill>
              <a:srgbClr val="0A0C10"/>
            </a:solidFill>
            <a:ln w="9525" cap="flat" cmpd="sng">
              <a:solidFill>
                <a:schemeClr val="accent4"/>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pic>
          <p:nvPicPr>
            <p:cNvPr id="5386" name="Google Shape;5386;p265"/>
            <p:cNvPicPr preferRelativeResize="0"/>
            <p:nvPr/>
          </p:nvPicPr>
          <p:blipFill rotWithShape="1">
            <a:blip r:embed="rId12">
              <a:alphaModFix/>
            </a:blip>
            <a:srcRect/>
            <a:stretch/>
          </p:blipFill>
          <p:spPr>
            <a:xfrm>
              <a:off x="4662297" y="3824696"/>
              <a:ext cx="342900" cy="342900"/>
            </a:xfrm>
            <a:prstGeom prst="rect">
              <a:avLst/>
            </a:prstGeom>
            <a:noFill/>
            <a:ln>
              <a:noFill/>
            </a:ln>
          </p:spPr>
        </p:pic>
        <p:sp>
          <p:nvSpPr>
            <p:cNvPr id="5387" name="Google Shape;5387;p265"/>
            <p:cNvSpPr txBox="1"/>
            <p:nvPr/>
          </p:nvSpPr>
          <p:spPr>
            <a:xfrm>
              <a:off x="5013208" y="3838346"/>
              <a:ext cx="987600" cy="315537"/>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ea typeface="Arial"/>
                  <a:cs typeface="Arial"/>
                  <a:sym typeface="Arial"/>
                </a:rPr>
                <a:t>Code scanning &amp; variant analysis</a:t>
              </a:r>
              <a:endParaRPr sz="1067" kern="0">
                <a:solidFill>
                  <a:srgbClr val="FFFFFF"/>
                </a:solidFill>
                <a:latin typeface="Arial"/>
                <a:ea typeface="Arial"/>
                <a:cs typeface="Arial"/>
                <a:sym typeface="Arial"/>
              </a:endParaRPr>
            </a:p>
          </p:txBody>
        </p:sp>
      </p:grpSp>
      <p:grpSp>
        <p:nvGrpSpPr>
          <p:cNvPr id="5388" name="Google Shape;5388;p265"/>
          <p:cNvGrpSpPr/>
          <p:nvPr/>
        </p:nvGrpSpPr>
        <p:grpSpPr>
          <a:xfrm>
            <a:off x="7879624" y="4972493"/>
            <a:ext cx="1828800" cy="686000"/>
            <a:chOff x="6064238" y="3738896"/>
            <a:chExt cx="1371600" cy="514500"/>
          </a:xfrm>
        </p:grpSpPr>
        <p:sp>
          <p:nvSpPr>
            <p:cNvPr id="5389" name="Google Shape;5389;p265"/>
            <p:cNvSpPr/>
            <p:nvPr/>
          </p:nvSpPr>
          <p:spPr>
            <a:xfrm>
              <a:off x="6064238" y="3738896"/>
              <a:ext cx="1371600" cy="514500"/>
            </a:xfrm>
            <a:prstGeom prst="roundRect">
              <a:avLst>
                <a:gd name="adj" fmla="val 9623"/>
              </a:avLst>
            </a:prstGeom>
            <a:solidFill>
              <a:srgbClr val="0A0C10"/>
            </a:solidFill>
            <a:ln w="9525" cap="flat" cmpd="sng">
              <a:solidFill>
                <a:schemeClr val="accent4"/>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pic>
          <p:nvPicPr>
            <p:cNvPr id="5390" name="Google Shape;5390;p265"/>
            <p:cNvPicPr preferRelativeResize="0"/>
            <p:nvPr/>
          </p:nvPicPr>
          <p:blipFill rotWithShape="1">
            <a:blip r:embed="rId13">
              <a:alphaModFix/>
            </a:blip>
            <a:srcRect/>
            <a:stretch/>
          </p:blipFill>
          <p:spPr>
            <a:xfrm>
              <a:off x="6140500" y="3824696"/>
              <a:ext cx="342900" cy="342900"/>
            </a:xfrm>
            <a:prstGeom prst="rect">
              <a:avLst/>
            </a:prstGeom>
            <a:noFill/>
            <a:ln>
              <a:noFill/>
            </a:ln>
          </p:spPr>
        </p:pic>
        <p:sp>
          <p:nvSpPr>
            <p:cNvPr id="5391" name="Google Shape;5391;p265"/>
            <p:cNvSpPr txBox="1"/>
            <p:nvPr/>
          </p:nvSpPr>
          <p:spPr>
            <a:xfrm>
              <a:off x="6516325" y="3899996"/>
              <a:ext cx="895500" cy="192379"/>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ea typeface="Arial"/>
                  <a:cs typeface="Arial"/>
                  <a:sym typeface="Arial"/>
                </a:rPr>
                <a:t>Secret scanning</a:t>
              </a:r>
              <a:endParaRPr sz="1067" kern="0">
                <a:solidFill>
                  <a:srgbClr val="FFFFFF"/>
                </a:solidFill>
                <a:latin typeface="Arial"/>
                <a:ea typeface="Arial"/>
                <a:cs typeface="Arial"/>
                <a:sym typeface="Arial"/>
              </a:endParaRPr>
            </a:p>
          </p:txBody>
        </p:sp>
      </p:grpSp>
      <p:grpSp>
        <p:nvGrpSpPr>
          <p:cNvPr id="5392" name="Google Shape;5392;p265"/>
          <p:cNvGrpSpPr/>
          <p:nvPr/>
        </p:nvGrpSpPr>
        <p:grpSpPr>
          <a:xfrm>
            <a:off x="9807485" y="4972493"/>
            <a:ext cx="1866393" cy="686000"/>
            <a:chOff x="7470113" y="3738896"/>
            <a:chExt cx="1399795" cy="514500"/>
          </a:xfrm>
        </p:grpSpPr>
        <p:sp>
          <p:nvSpPr>
            <p:cNvPr id="5393" name="Google Shape;5393;p265"/>
            <p:cNvSpPr/>
            <p:nvPr/>
          </p:nvSpPr>
          <p:spPr>
            <a:xfrm>
              <a:off x="7470113" y="3738896"/>
              <a:ext cx="1371600" cy="514500"/>
            </a:xfrm>
            <a:prstGeom prst="roundRect">
              <a:avLst>
                <a:gd name="adj" fmla="val 9623"/>
              </a:avLst>
            </a:prstGeom>
            <a:solidFill>
              <a:srgbClr val="0A0C10"/>
            </a:solidFill>
            <a:ln w="9525" cap="flat" cmpd="sng">
              <a:solidFill>
                <a:schemeClr val="accent4"/>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pic>
          <p:nvPicPr>
            <p:cNvPr id="5394" name="Google Shape;5394;p265"/>
            <p:cNvPicPr preferRelativeResize="0"/>
            <p:nvPr/>
          </p:nvPicPr>
          <p:blipFill rotWithShape="1">
            <a:blip r:embed="rId14">
              <a:alphaModFix/>
            </a:blip>
            <a:srcRect/>
            <a:stretch/>
          </p:blipFill>
          <p:spPr>
            <a:xfrm>
              <a:off x="7585872" y="3824696"/>
              <a:ext cx="342900" cy="342900"/>
            </a:xfrm>
            <a:prstGeom prst="rect">
              <a:avLst/>
            </a:prstGeom>
            <a:noFill/>
            <a:ln>
              <a:noFill/>
            </a:ln>
          </p:spPr>
        </p:pic>
        <p:sp>
          <p:nvSpPr>
            <p:cNvPr id="5395" name="Google Shape;5395;p265"/>
            <p:cNvSpPr txBox="1"/>
            <p:nvPr/>
          </p:nvSpPr>
          <p:spPr>
            <a:xfrm>
              <a:off x="7882308" y="3900221"/>
              <a:ext cx="987600" cy="192379"/>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ea typeface="Arial"/>
                  <a:cs typeface="Arial"/>
                  <a:sym typeface="Arial"/>
                </a:rPr>
                <a:t>Security overview</a:t>
              </a:r>
              <a:endParaRPr sz="1067" kern="0">
                <a:solidFill>
                  <a:srgbClr val="FFFFFF"/>
                </a:solidFill>
                <a:latin typeface="Arial"/>
                <a:ea typeface="Arial"/>
                <a:cs typeface="Arial"/>
                <a:sym typeface="Arial"/>
              </a:endParaRPr>
            </a:p>
          </p:txBody>
        </p:sp>
      </p:grpSp>
      <p:grpSp>
        <p:nvGrpSpPr>
          <p:cNvPr id="5396" name="Google Shape;5396;p265"/>
          <p:cNvGrpSpPr/>
          <p:nvPr/>
        </p:nvGrpSpPr>
        <p:grpSpPr>
          <a:xfrm>
            <a:off x="4018884" y="4972495"/>
            <a:ext cx="1828800" cy="686000"/>
            <a:chOff x="3114663" y="3738896"/>
            <a:chExt cx="1371600" cy="514500"/>
          </a:xfrm>
        </p:grpSpPr>
        <p:sp>
          <p:nvSpPr>
            <p:cNvPr id="5397" name="Google Shape;5397;p265"/>
            <p:cNvSpPr/>
            <p:nvPr/>
          </p:nvSpPr>
          <p:spPr>
            <a:xfrm>
              <a:off x="3114663" y="3738896"/>
              <a:ext cx="1371600" cy="514500"/>
            </a:xfrm>
            <a:prstGeom prst="roundRect">
              <a:avLst>
                <a:gd name="adj" fmla="val 9623"/>
              </a:avLst>
            </a:prstGeom>
            <a:solidFill>
              <a:srgbClr val="0A0C10"/>
            </a:solidFill>
            <a:ln w="9525" cap="flat" cmpd="sng">
              <a:solidFill>
                <a:schemeClr val="accent4"/>
              </a:solidFill>
              <a:prstDash val="solid"/>
              <a:round/>
              <a:headEnd type="none" w="sm" len="sm"/>
              <a:tailEnd type="none" w="sm" len="sm"/>
            </a:ln>
          </p:spPr>
          <p:txBody>
            <a:bodyPr spcFirstLastPara="1" wrap="square" lIns="45700" tIns="45700" rIns="45700" bIns="45700" anchor="ctr" anchorCtr="0">
              <a:noAutofit/>
            </a:bodyPr>
            <a:lstStyle/>
            <a:p>
              <a:pPr defTabSz="1219170">
                <a:buClr>
                  <a:srgbClr val="000000"/>
                </a:buClr>
                <a:buSzPts val="1400"/>
              </a:pPr>
              <a:endParaRPr sz="1867" kern="0">
                <a:solidFill>
                  <a:srgbClr val="000000"/>
                </a:solidFill>
                <a:latin typeface="Calibri"/>
                <a:ea typeface="Calibri"/>
                <a:cs typeface="Calibri"/>
                <a:sym typeface="Calibri"/>
              </a:endParaRPr>
            </a:p>
          </p:txBody>
        </p:sp>
        <p:pic>
          <p:nvPicPr>
            <p:cNvPr id="5398" name="Google Shape;5398;p265"/>
            <p:cNvPicPr preferRelativeResize="0"/>
            <p:nvPr/>
          </p:nvPicPr>
          <p:blipFill rotWithShape="1">
            <a:blip r:embed="rId15">
              <a:alphaModFix/>
            </a:blip>
            <a:srcRect/>
            <a:stretch/>
          </p:blipFill>
          <p:spPr>
            <a:xfrm>
              <a:off x="3200963" y="3824696"/>
              <a:ext cx="342900" cy="342900"/>
            </a:xfrm>
            <a:prstGeom prst="rect">
              <a:avLst/>
            </a:prstGeom>
            <a:noFill/>
            <a:ln>
              <a:noFill/>
            </a:ln>
          </p:spPr>
        </p:pic>
        <p:sp>
          <p:nvSpPr>
            <p:cNvPr id="5399" name="Google Shape;5399;p265"/>
            <p:cNvSpPr txBox="1"/>
            <p:nvPr/>
          </p:nvSpPr>
          <p:spPr>
            <a:xfrm>
              <a:off x="3545193" y="3838346"/>
              <a:ext cx="895500" cy="315537"/>
            </a:xfrm>
            <a:prstGeom prst="rect">
              <a:avLst/>
            </a:prstGeom>
            <a:noFill/>
            <a:ln>
              <a:noFill/>
            </a:ln>
          </p:spPr>
          <p:txBody>
            <a:bodyPr spcFirstLastPara="1" wrap="square" lIns="91433" tIns="45700" rIns="91433" bIns="45700" anchor="t" anchorCtr="0">
              <a:spAutoFit/>
            </a:bodyPr>
            <a:lstStyle/>
            <a:p>
              <a:pPr defTabSz="1219170">
                <a:buClr>
                  <a:srgbClr val="8B949E"/>
                </a:buClr>
                <a:buSzPts val="800"/>
              </a:pPr>
              <a:r>
                <a:rPr lang="en" sz="1067" kern="0">
                  <a:solidFill>
                    <a:srgbClr val="FFFFFF"/>
                  </a:solidFill>
                  <a:latin typeface="Arial"/>
                  <a:ea typeface="Arial"/>
                  <a:cs typeface="Arial"/>
                  <a:sym typeface="Arial"/>
                </a:rPr>
                <a:t>SAML SSO </a:t>
              </a:r>
              <a:br>
                <a:rPr lang="en" sz="1067" kern="0">
                  <a:solidFill>
                    <a:srgbClr val="FFFFFF"/>
                  </a:solidFill>
                  <a:latin typeface="Arial"/>
                  <a:ea typeface="Arial"/>
                  <a:cs typeface="Arial"/>
                  <a:sym typeface="Arial"/>
                </a:rPr>
              </a:br>
              <a:r>
                <a:rPr lang="en" sz="1067" kern="0">
                  <a:solidFill>
                    <a:srgbClr val="FFFFFF"/>
                  </a:solidFill>
                  <a:latin typeface="Arial"/>
                  <a:ea typeface="Arial"/>
                  <a:cs typeface="Arial"/>
                  <a:sym typeface="Arial"/>
                </a:rPr>
                <a:t>&amp; </a:t>
              </a:r>
              <a:r>
                <a:rPr lang="en" sz="1067" kern="0">
                  <a:solidFill>
                    <a:srgbClr val="FFFFFF"/>
                  </a:solidFill>
                  <a:latin typeface="Arial"/>
                  <a:cs typeface="Arial"/>
                  <a:sym typeface="Arial"/>
                </a:rPr>
                <a:t>SCIM</a:t>
              </a:r>
              <a:endParaRPr sz="1067" kern="0">
                <a:solidFill>
                  <a:srgbClr val="FFFFFF"/>
                </a:solidFill>
                <a:latin typeface="Arial"/>
                <a:ea typeface="Arial"/>
                <a:cs typeface="Arial"/>
                <a:sym typeface="Arial"/>
              </a:endParaRPr>
            </a:p>
          </p:txBody>
        </p:sp>
      </p:grpSp>
    </p:spTree>
    <p:custDataLst>
      <p:tags r:id="rId1"/>
    </p:custData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GitHub project – table layout</a:t>
            </a:r>
            <a:endParaRPr lang="en-US" dirty="0"/>
          </a:p>
        </p:txBody>
      </p:sp>
      <p:pic>
        <p:nvPicPr>
          <p:cNvPr id="1026" name="Picture 2" descr="Screenshot showing an example table layout.">
            <a:extLst>
              <a:ext uri="{FF2B5EF4-FFF2-40B4-BE49-F238E27FC236}">
                <a16:creationId xmlns:a16="http://schemas.microsoft.com/office/drawing/2014/main" id="{6EC3A783-2EA5-135F-B5E7-75988D2E48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859790"/>
            <a:ext cx="12192000" cy="60055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59310641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GitHub project – board layout</a:t>
            </a:r>
            <a:endParaRPr lang="en-US" dirty="0"/>
          </a:p>
        </p:txBody>
      </p:sp>
      <p:pic>
        <p:nvPicPr>
          <p:cNvPr id="4" name="Picture 3">
            <a:extLst>
              <a:ext uri="{FF2B5EF4-FFF2-40B4-BE49-F238E27FC236}">
                <a16:creationId xmlns:a16="http://schemas.microsoft.com/office/drawing/2014/main" id="{7250A3DC-7B9E-32BA-7559-D20A6C2CD397}"/>
              </a:ext>
            </a:extLst>
          </p:cNvPr>
          <p:cNvPicPr>
            <a:picLocks noChangeAspect="1"/>
          </p:cNvPicPr>
          <p:nvPr/>
        </p:nvPicPr>
        <p:blipFill>
          <a:blip r:embed="rId5"/>
          <a:stretch>
            <a:fillRect/>
          </a:stretch>
        </p:blipFill>
        <p:spPr>
          <a:xfrm>
            <a:off x="472059" y="993452"/>
            <a:ext cx="10000923" cy="5910268"/>
          </a:xfrm>
          <a:prstGeom prst="rect">
            <a:avLst/>
          </a:prstGeom>
        </p:spPr>
      </p:pic>
    </p:spTree>
    <p:custDataLst>
      <p:tags r:id="rId1"/>
    </p:custDataLst>
    <p:extLst>
      <p:ext uri="{BB962C8B-B14F-4D97-AF65-F5344CB8AC3E}">
        <p14:creationId xmlns:p14="http://schemas.microsoft.com/office/powerpoint/2010/main" val="3006310136"/>
      </p:ext>
    </p:extLst>
  </p:cSld>
  <p:clrMapOvr>
    <a:masterClrMapping/>
  </p:clrMapOvr>
  <p:transition>
    <p:fade/>
  </p:transition>
  <p:extLst>
    <p:ext uri="{6950BFC3-D8DA-4A85-94F7-54DA5524770B}">
      <p188:commentRel xmlns:p188="http://schemas.microsoft.com/office/powerpoint/2018/8/main" r:id="rId4"/>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GitHub project – roadmap layout</a:t>
            </a:r>
            <a:endParaRPr lang="en-US" dirty="0"/>
          </a:p>
        </p:txBody>
      </p:sp>
      <p:pic>
        <p:nvPicPr>
          <p:cNvPr id="5" name="Picture 4">
            <a:extLst>
              <a:ext uri="{FF2B5EF4-FFF2-40B4-BE49-F238E27FC236}">
                <a16:creationId xmlns:a16="http://schemas.microsoft.com/office/drawing/2014/main" id="{83637C76-74B1-561E-1702-4B6E2B5C2282}"/>
              </a:ext>
            </a:extLst>
          </p:cNvPr>
          <p:cNvPicPr>
            <a:picLocks noChangeAspect="1"/>
          </p:cNvPicPr>
          <p:nvPr/>
        </p:nvPicPr>
        <p:blipFill>
          <a:blip r:embed="rId4"/>
          <a:stretch>
            <a:fillRect/>
          </a:stretch>
        </p:blipFill>
        <p:spPr>
          <a:xfrm>
            <a:off x="411480" y="973187"/>
            <a:ext cx="10766362" cy="5884813"/>
          </a:xfrm>
          <a:prstGeom prst="rect">
            <a:avLst/>
          </a:prstGeom>
        </p:spPr>
      </p:pic>
    </p:spTree>
    <p:custDataLst>
      <p:tags r:id="rId1"/>
    </p:custDataLst>
    <p:extLst>
      <p:ext uri="{BB962C8B-B14F-4D97-AF65-F5344CB8AC3E}">
        <p14:creationId xmlns:p14="http://schemas.microsoft.com/office/powerpoint/2010/main" val="9940455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Exercise two architecture</a:t>
            </a:r>
            <a:endParaRPr lang="en-US" dirty="0"/>
          </a:p>
        </p:txBody>
      </p:sp>
      <p:sp>
        <p:nvSpPr>
          <p:cNvPr id="8" name="Rectangle 7">
            <a:extLst>
              <a:ext uri="{FF2B5EF4-FFF2-40B4-BE49-F238E27FC236}">
                <a16:creationId xmlns:a16="http://schemas.microsoft.com/office/drawing/2014/main" id="{4779275D-D809-A8D7-5B40-2EED99C5A2AA}"/>
              </a:ext>
            </a:extLst>
          </p:cNvPr>
          <p:cNvSpPr/>
          <p:nvPr/>
        </p:nvSpPr>
        <p:spPr bwMode="auto">
          <a:xfrm>
            <a:off x="8233786" y="2261386"/>
            <a:ext cx="3305094"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21B71E54-C595-4449-86EA-D685FE2ABA85}"/>
              </a:ext>
            </a:extLst>
          </p:cNvPr>
          <p:cNvSpPr/>
          <p:nvPr/>
        </p:nvSpPr>
        <p:spPr bwMode="auto">
          <a:xfrm>
            <a:off x="3977672" y="2271671"/>
            <a:ext cx="4121289"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10" name="TextBox 9">
            <a:extLst>
              <a:ext uri="{FF2B5EF4-FFF2-40B4-BE49-F238E27FC236}">
                <a16:creationId xmlns:a16="http://schemas.microsoft.com/office/drawing/2014/main" id="{D731A70B-148E-6563-D498-6193FE872612}"/>
              </a:ext>
            </a:extLst>
          </p:cNvPr>
          <p:cNvSpPr txBox="1"/>
          <p:nvPr/>
        </p:nvSpPr>
        <p:spPr>
          <a:xfrm>
            <a:off x="4804149" y="2484607"/>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lication</a:t>
            </a:r>
          </a:p>
        </p:txBody>
      </p:sp>
      <p:sp>
        <p:nvSpPr>
          <p:cNvPr id="11" name="TextBox 10">
            <a:extLst>
              <a:ext uri="{FF2B5EF4-FFF2-40B4-BE49-F238E27FC236}">
                <a16:creationId xmlns:a16="http://schemas.microsoft.com/office/drawing/2014/main" id="{27DF047E-B628-815E-DCF4-36BC0C59ED54}"/>
              </a:ext>
            </a:extLst>
          </p:cNvPr>
          <p:cNvSpPr txBox="1"/>
          <p:nvPr/>
        </p:nvSpPr>
        <p:spPr>
          <a:xfrm>
            <a:off x="6043458" y="5012060"/>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irst-workflow.yml</a:t>
            </a:r>
          </a:p>
        </p:txBody>
      </p:sp>
      <p:sp>
        <p:nvSpPr>
          <p:cNvPr id="12" name="TextBox 11">
            <a:extLst>
              <a:ext uri="{FF2B5EF4-FFF2-40B4-BE49-F238E27FC236}">
                <a16:creationId xmlns:a16="http://schemas.microsoft.com/office/drawing/2014/main" id="{FE280238-6AD4-7E17-B3F6-F0F119BC0E1E}"/>
              </a:ext>
            </a:extLst>
          </p:cNvPr>
          <p:cNvSpPr txBox="1"/>
          <p:nvPr/>
        </p:nvSpPr>
        <p:spPr>
          <a:xfrm>
            <a:off x="8233785" y="2375930"/>
            <a:ext cx="2915950" cy="1754326"/>
          </a:xfrm>
          <a:prstGeom prst="rect">
            <a:avLst/>
          </a:prstGeom>
          <a:noFill/>
        </p:spPr>
        <p:txBody>
          <a:bodyPr wrap="square">
            <a:spAutoFit/>
          </a:bodyPr>
          <a:lstStyle/>
          <a:p>
            <a:pPr defTabSz="932472" fontAlgn="base">
              <a:spcBef>
                <a:spcPct val="0"/>
              </a:spcBef>
              <a:spcAft>
                <a:spcPct val="0"/>
              </a:spcAft>
            </a:pPr>
            <a:r>
              <a:rPr lang="en-US" sz="1800" b="1" dirty="0">
                <a:solidFill>
                  <a:schemeClr val="tx1"/>
                </a:solidFill>
                <a:ea typeface="Segoe UI" pitchFamily="34" charset="0"/>
                <a:cs typeface="Segoe UI" pitchFamily="34" charset="0"/>
              </a:rPr>
              <a:t>Issues</a:t>
            </a:r>
          </a:p>
          <a:p>
            <a:pPr defTabSz="932472" fontAlgn="base">
              <a:spcBef>
                <a:spcPct val="0"/>
              </a:spcBef>
              <a:spcAft>
                <a:spcPct val="0"/>
              </a:spcAft>
            </a:pPr>
            <a:r>
              <a:rPr lang="en-US" dirty="0">
                <a:ea typeface="Segoe UI" pitchFamily="34" charset="0"/>
                <a:cs typeface="Segoe UI" pitchFamily="34" charset="0"/>
              </a:rPr>
              <a:t>Issue 1 – Done</a:t>
            </a:r>
          </a:p>
          <a:p>
            <a:pPr defTabSz="932472" fontAlgn="base">
              <a:spcBef>
                <a:spcPct val="0"/>
              </a:spcBef>
              <a:spcAft>
                <a:spcPct val="0"/>
              </a:spcAft>
            </a:pPr>
            <a:r>
              <a:rPr lang="en-US" sz="1800" dirty="0">
                <a:solidFill>
                  <a:schemeClr val="tx1"/>
                </a:solidFill>
                <a:ea typeface="Segoe UI" pitchFamily="34" charset="0"/>
                <a:cs typeface="Segoe UI" pitchFamily="34" charset="0"/>
              </a:rPr>
              <a:t>Issue 2 - New</a:t>
            </a:r>
          </a:p>
          <a:p>
            <a:pPr defTabSz="932472" fontAlgn="base">
              <a:spcBef>
                <a:spcPct val="0"/>
              </a:spcBef>
              <a:spcAft>
                <a:spcPct val="0"/>
              </a:spcAft>
            </a:pPr>
            <a:r>
              <a:rPr lang="en-US" dirty="0">
                <a:ea typeface="Segoe UI" pitchFamily="34" charset="0"/>
                <a:cs typeface="Segoe UI" pitchFamily="34" charset="0"/>
              </a:rPr>
              <a:t>Issue 3 - New</a:t>
            </a:r>
          </a:p>
          <a:p>
            <a:pPr defTabSz="932472" fontAlgn="base">
              <a:spcBef>
                <a:spcPct val="0"/>
              </a:spcBef>
              <a:spcAft>
                <a:spcPct val="0"/>
              </a:spcAft>
            </a:pPr>
            <a:r>
              <a:rPr lang="en-US" sz="1800" dirty="0">
                <a:solidFill>
                  <a:schemeClr val="tx1"/>
                </a:solidFill>
                <a:ea typeface="Segoe UI" pitchFamily="34" charset="0"/>
                <a:cs typeface="Segoe UI" pitchFamily="34" charset="0"/>
              </a:rPr>
              <a:t>Issue 4 - New</a:t>
            </a:r>
          </a:p>
          <a:p>
            <a:pPr defTabSz="932472" fontAlgn="base">
              <a:spcBef>
                <a:spcPct val="0"/>
              </a:spcBef>
              <a:spcAft>
                <a:spcPct val="0"/>
              </a:spcAft>
            </a:pPr>
            <a:r>
              <a:rPr lang="en-US" dirty="0">
                <a:ea typeface="Segoe UI" pitchFamily="34" charset="0"/>
                <a:cs typeface="Segoe UI" pitchFamily="34" charset="0"/>
              </a:rPr>
              <a:t>Issue 5 - New</a:t>
            </a:r>
            <a:endParaRPr lang="en-US" sz="1800" dirty="0">
              <a:solidFill>
                <a:schemeClr val="tx1"/>
              </a:solidFill>
              <a:ea typeface="Segoe UI" pitchFamily="34" charset="0"/>
              <a:cs typeface="Segoe UI" pitchFamily="34" charset="0"/>
            </a:endParaRPr>
          </a:p>
        </p:txBody>
      </p:sp>
      <p:pic>
        <p:nvPicPr>
          <p:cNvPr id="13" name="Picture 12" descr="A black cat in a circle&#10;&#10;Description automatically generated">
            <a:extLst>
              <a:ext uri="{FF2B5EF4-FFF2-40B4-BE49-F238E27FC236}">
                <a16:creationId xmlns:a16="http://schemas.microsoft.com/office/drawing/2014/main" id="{002D00C4-97C0-1F89-A5C3-85FEF9B513C2}"/>
              </a:ext>
            </a:extLst>
          </p:cNvPr>
          <p:cNvPicPr>
            <a:picLocks noChangeAspect="1"/>
          </p:cNvPicPr>
          <p:nvPr/>
        </p:nvPicPr>
        <p:blipFill>
          <a:blip r:embed="rId4"/>
          <a:stretch>
            <a:fillRect/>
          </a:stretch>
        </p:blipFill>
        <p:spPr>
          <a:xfrm>
            <a:off x="1557430" y="3703347"/>
            <a:ext cx="609610" cy="609610"/>
          </a:xfrm>
          <a:prstGeom prst="rect">
            <a:avLst/>
          </a:prstGeom>
        </p:spPr>
      </p:pic>
      <p:sp>
        <p:nvSpPr>
          <p:cNvPr id="14" name="TextBox 13">
            <a:extLst>
              <a:ext uri="{FF2B5EF4-FFF2-40B4-BE49-F238E27FC236}">
                <a16:creationId xmlns:a16="http://schemas.microsoft.com/office/drawing/2014/main" id="{CBEDC36F-A6E6-A902-6429-1ED2275AF083}"/>
              </a:ext>
            </a:extLst>
          </p:cNvPr>
          <p:cNvSpPr txBox="1"/>
          <p:nvPr/>
        </p:nvSpPr>
        <p:spPr>
          <a:xfrm>
            <a:off x="834483" y="431295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ab</a:t>
            </a:r>
          </a:p>
          <a:p>
            <a:pPr algn="l" defTabSz="932472" fontAlgn="base">
              <a:spcBef>
                <a:spcPct val="0"/>
              </a:spcBef>
              <a:spcAft>
                <a:spcPct val="0"/>
              </a:spcAft>
            </a:pPr>
            <a:r>
              <a:rPr lang="en-US" sz="1800" dirty="0">
                <a:solidFill>
                  <a:schemeClr val="tx1"/>
                </a:solidFill>
                <a:ea typeface="Segoe UI" pitchFamily="34" charset="0"/>
                <a:cs typeface="Segoe UI" pitchFamily="34" charset="0"/>
              </a:rPr>
              <a:t>GitHub repository</a:t>
            </a:r>
          </a:p>
        </p:txBody>
      </p:sp>
      <p:cxnSp>
        <p:nvCxnSpPr>
          <p:cNvPr id="15" name="Straight Arrow Connector 14">
            <a:extLst>
              <a:ext uri="{FF2B5EF4-FFF2-40B4-BE49-F238E27FC236}">
                <a16:creationId xmlns:a16="http://schemas.microsoft.com/office/drawing/2014/main" id="{CF9208FE-2D49-41F8-C021-284B8AE97D65}"/>
              </a:ext>
            </a:extLst>
          </p:cNvPr>
          <p:cNvCxnSpPr>
            <a:cxnSpLocks/>
            <a:stCxn id="13" idx="3"/>
            <a:endCxn id="9" idx="1"/>
          </p:cNvCxnSpPr>
          <p:nvPr/>
        </p:nvCxnSpPr>
        <p:spPr>
          <a:xfrm>
            <a:off x="2167040" y="4008152"/>
            <a:ext cx="1810632"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6" name="Picture 15" descr="A black cat in a circle&#10;&#10;Description automatically generated">
            <a:extLst>
              <a:ext uri="{FF2B5EF4-FFF2-40B4-BE49-F238E27FC236}">
                <a16:creationId xmlns:a16="http://schemas.microsoft.com/office/drawing/2014/main" id="{82C7153C-F1DD-FFA3-3C28-C95AA0D5BE93}"/>
              </a:ext>
            </a:extLst>
          </p:cNvPr>
          <p:cNvPicPr>
            <a:picLocks noChangeAspect="1"/>
          </p:cNvPicPr>
          <p:nvPr/>
        </p:nvPicPr>
        <p:blipFill>
          <a:blip r:embed="rId4"/>
          <a:stretch>
            <a:fillRect/>
          </a:stretch>
        </p:blipFill>
        <p:spPr>
          <a:xfrm>
            <a:off x="4135567" y="1656926"/>
            <a:ext cx="609610" cy="609610"/>
          </a:xfrm>
          <a:prstGeom prst="rect">
            <a:avLst/>
          </a:prstGeom>
        </p:spPr>
      </p:pic>
      <p:sp>
        <p:nvSpPr>
          <p:cNvPr id="17" name="TextBox 16">
            <a:extLst>
              <a:ext uri="{FF2B5EF4-FFF2-40B4-BE49-F238E27FC236}">
                <a16:creationId xmlns:a16="http://schemas.microsoft.com/office/drawing/2014/main" id="{9EBFAC51-D7AF-C55B-F4BF-62BD6E51D612}"/>
              </a:ext>
            </a:extLst>
          </p:cNvPr>
          <p:cNvSpPr txBox="1"/>
          <p:nvPr/>
        </p:nvSpPr>
        <p:spPr>
          <a:xfrm>
            <a:off x="4681521" y="1909197"/>
            <a:ext cx="2759140"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Your GitHub repository</a:t>
            </a:r>
          </a:p>
        </p:txBody>
      </p:sp>
      <p:pic>
        <p:nvPicPr>
          <p:cNvPr id="18" name="Graphic 17">
            <a:extLst>
              <a:ext uri="{FF2B5EF4-FFF2-40B4-BE49-F238E27FC236}">
                <a16:creationId xmlns:a16="http://schemas.microsoft.com/office/drawing/2014/main" id="{CF4F7A4F-C513-ABE4-3C1F-2785BF2C09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26054" y="2375930"/>
            <a:ext cx="578095" cy="578095"/>
          </a:xfrm>
          <a:prstGeom prst="rect">
            <a:avLst/>
          </a:prstGeom>
        </p:spPr>
      </p:pic>
      <p:sp>
        <p:nvSpPr>
          <p:cNvPr id="19" name="TextBox 18">
            <a:extLst>
              <a:ext uri="{FF2B5EF4-FFF2-40B4-BE49-F238E27FC236}">
                <a16:creationId xmlns:a16="http://schemas.microsoft.com/office/drawing/2014/main" id="{EADA55EA-00B3-4218-0F87-B4C7D289A523}"/>
              </a:ext>
            </a:extLst>
          </p:cNvPr>
          <p:cNvSpPr txBox="1"/>
          <p:nvPr/>
        </p:nvSpPr>
        <p:spPr>
          <a:xfrm>
            <a:off x="4804149" y="3096166"/>
            <a:ext cx="2478618"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InfrastructureAsCode</a:t>
            </a:r>
          </a:p>
        </p:txBody>
      </p:sp>
      <p:pic>
        <p:nvPicPr>
          <p:cNvPr id="20" name="Graphic 19">
            <a:extLst>
              <a:ext uri="{FF2B5EF4-FFF2-40B4-BE49-F238E27FC236}">
                <a16:creationId xmlns:a16="http://schemas.microsoft.com/office/drawing/2014/main" id="{CC4E3342-C90B-6653-2C2B-B22100E2F7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26054" y="2991785"/>
            <a:ext cx="578095" cy="578095"/>
          </a:xfrm>
          <a:prstGeom prst="rect">
            <a:avLst/>
          </a:prstGeom>
        </p:spPr>
      </p:pic>
      <p:sp>
        <p:nvSpPr>
          <p:cNvPr id="21" name="TextBox 20">
            <a:extLst>
              <a:ext uri="{FF2B5EF4-FFF2-40B4-BE49-F238E27FC236}">
                <a16:creationId xmlns:a16="http://schemas.microsoft.com/office/drawing/2014/main" id="{0E10B03E-C686-B7D6-1206-7292FCF45FBC}"/>
              </a:ext>
            </a:extLst>
          </p:cNvPr>
          <p:cNvSpPr txBox="1"/>
          <p:nvPr/>
        </p:nvSpPr>
        <p:spPr>
          <a:xfrm>
            <a:off x="1889779" y="3675821"/>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lone</a:t>
            </a:r>
          </a:p>
        </p:txBody>
      </p:sp>
      <p:pic>
        <p:nvPicPr>
          <p:cNvPr id="22" name="Picture 21" descr="A black cat in a circle&#10;&#10;Description automatically generated">
            <a:extLst>
              <a:ext uri="{FF2B5EF4-FFF2-40B4-BE49-F238E27FC236}">
                <a16:creationId xmlns:a16="http://schemas.microsoft.com/office/drawing/2014/main" id="{189B5774-53F8-3F9A-32B8-5105D159CC36}"/>
              </a:ext>
            </a:extLst>
          </p:cNvPr>
          <p:cNvPicPr>
            <a:picLocks noChangeAspect="1"/>
          </p:cNvPicPr>
          <p:nvPr/>
        </p:nvPicPr>
        <p:blipFill>
          <a:blip r:embed="rId4"/>
          <a:stretch>
            <a:fillRect/>
          </a:stretch>
        </p:blipFill>
        <p:spPr>
          <a:xfrm>
            <a:off x="8412847" y="1634648"/>
            <a:ext cx="609610" cy="609610"/>
          </a:xfrm>
          <a:prstGeom prst="rect">
            <a:avLst/>
          </a:prstGeom>
        </p:spPr>
      </p:pic>
      <p:sp>
        <p:nvSpPr>
          <p:cNvPr id="23" name="TextBox 22">
            <a:extLst>
              <a:ext uri="{FF2B5EF4-FFF2-40B4-BE49-F238E27FC236}">
                <a16:creationId xmlns:a16="http://schemas.microsoft.com/office/drawing/2014/main" id="{3DC934C9-52D7-1E4F-2D59-14D8ECC67184}"/>
              </a:ext>
            </a:extLst>
          </p:cNvPr>
          <p:cNvSpPr txBox="1"/>
          <p:nvPr/>
        </p:nvSpPr>
        <p:spPr>
          <a:xfrm>
            <a:off x="8958801" y="1886919"/>
            <a:ext cx="2478618"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GitHub Project board</a:t>
            </a:r>
          </a:p>
        </p:txBody>
      </p:sp>
      <p:sp>
        <p:nvSpPr>
          <p:cNvPr id="24" name="TextBox 23">
            <a:extLst>
              <a:ext uri="{FF2B5EF4-FFF2-40B4-BE49-F238E27FC236}">
                <a16:creationId xmlns:a16="http://schemas.microsoft.com/office/drawing/2014/main" id="{0FDA22BA-A700-5EED-8AD9-2D64F74B84B0}"/>
              </a:ext>
            </a:extLst>
          </p:cNvPr>
          <p:cNvSpPr txBox="1"/>
          <p:nvPr/>
        </p:nvSpPr>
        <p:spPr>
          <a:xfrm>
            <a:off x="4804149" y="3777341"/>
            <a:ext cx="2478618"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github</a:t>
            </a:r>
          </a:p>
        </p:txBody>
      </p:sp>
      <p:pic>
        <p:nvPicPr>
          <p:cNvPr id="25" name="Graphic 24">
            <a:extLst>
              <a:ext uri="{FF2B5EF4-FFF2-40B4-BE49-F238E27FC236}">
                <a16:creationId xmlns:a16="http://schemas.microsoft.com/office/drawing/2014/main" id="{871542F5-3BE2-C57C-08E0-EF36316236C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26054" y="3672960"/>
            <a:ext cx="578095" cy="578095"/>
          </a:xfrm>
          <a:prstGeom prst="rect">
            <a:avLst/>
          </a:prstGeom>
        </p:spPr>
      </p:pic>
      <p:pic>
        <p:nvPicPr>
          <p:cNvPr id="26" name="Graphic 25">
            <a:extLst>
              <a:ext uri="{FF2B5EF4-FFF2-40B4-BE49-F238E27FC236}">
                <a16:creationId xmlns:a16="http://schemas.microsoft.com/office/drawing/2014/main" id="{408D9398-1DFB-D868-E0B5-392F0E804FB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92750" y="4312481"/>
            <a:ext cx="578095" cy="578095"/>
          </a:xfrm>
          <a:prstGeom prst="rect">
            <a:avLst/>
          </a:prstGeom>
        </p:spPr>
      </p:pic>
      <p:sp>
        <p:nvSpPr>
          <p:cNvPr id="27" name="TextBox 26">
            <a:extLst>
              <a:ext uri="{FF2B5EF4-FFF2-40B4-BE49-F238E27FC236}">
                <a16:creationId xmlns:a16="http://schemas.microsoft.com/office/drawing/2014/main" id="{39A7467D-7196-5023-8A55-E9087840B9CF}"/>
              </a:ext>
            </a:extLst>
          </p:cNvPr>
          <p:cNvSpPr txBox="1"/>
          <p:nvPr/>
        </p:nvSpPr>
        <p:spPr>
          <a:xfrm>
            <a:off x="5470845" y="4416862"/>
            <a:ext cx="1308246"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workflows</a:t>
            </a:r>
          </a:p>
        </p:txBody>
      </p:sp>
      <p:pic>
        <p:nvPicPr>
          <p:cNvPr id="28" name="Graphic 27">
            <a:extLst>
              <a:ext uri="{FF2B5EF4-FFF2-40B4-BE49-F238E27FC236}">
                <a16:creationId xmlns:a16="http://schemas.microsoft.com/office/drawing/2014/main" id="{F4284433-489C-7C66-8B4D-BF08FB8379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46874" y="4890575"/>
            <a:ext cx="578094" cy="578094"/>
          </a:xfrm>
          <a:prstGeom prst="rect">
            <a:avLst/>
          </a:prstGeom>
        </p:spPr>
      </p:pic>
    </p:spTree>
    <p:custDataLst>
      <p:tags r:id="rId1"/>
    </p:custDataLst>
    <p:extLst>
      <p:ext uri="{BB962C8B-B14F-4D97-AF65-F5344CB8AC3E}">
        <p14:creationId xmlns:p14="http://schemas.microsoft.com/office/powerpoint/2010/main" val="387023911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GitHub project</a:t>
            </a:r>
            <a:endParaRPr lang="en-US" dirty="0"/>
          </a:p>
        </p:txBody>
      </p:sp>
      <p:pic>
        <p:nvPicPr>
          <p:cNvPr id="7" name="Picture 6">
            <a:extLst>
              <a:ext uri="{FF2B5EF4-FFF2-40B4-BE49-F238E27FC236}">
                <a16:creationId xmlns:a16="http://schemas.microsoft.com/office/drawing/2014/main" id="{9F98BBEA-21BD-2409-FED7-B096DEF7C52D}"/>
              </a:ext>
            </a:extLst>
          </p:cNvPr>
          <p:cNvPicPr>
            <a:picLocks noChangeAspect="1"/>
          </p:cNvPicPr>
          <p:nvPr/>
        </p:nvPicPr>
        <p:blipFill>
          <a:blip r:embed="rId4"/>
          <a:stretch>
            <a:fillRect/>
          </a:stretch>
        </p:blipFill>
        <p:spPr>
          <a:xfrm>
            <a:off x="974338" y="2126110"/>
            <a:ext cx="10243312" cy="2996783"/>
          </a:xfrm>
          <a:prstGeom prst="rect">
            <a:avLst/>
          </a:prstGeom>
        </p:spPr>
      </p:pic>
    </p:spTree>
    <p:custDataLst>
      <p:tags r:id="rId1"/>
    </p:custDataLst>
    <p:extLst>
      <p:ext uri="{BB962C8B-B14F-4D97-AF65-F5344CB8AC3E}">
        <p14:creationId xmlns:p14="http://schemas.microsoft.com/office/powerpoint/2010/main" val="231386749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87FE99-E9EA-AB4B-66CE-242B2BE73AAA}"/>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800" b="1" i="0" u="none" strike="noStrike" kern="1200" cap="none" spc="0" normalizeH="0" baseline="0" noProof="0" dirty="0">
                <a:ln>
                  <a:noFill/>
                </a:ln>
                <a:solidFill>
                  <a:schemeClr val="bg1"/>
                </a:solidFill>
                <a:effectLst/>
                <a:uLnTx/>
                <a:uFillTx/>
                <a:latin typeface="+mj-lt"/>
                <a:ea typeface="+mn-ea"/>
                <a:cs typeface="Segoe UI"/>
              </a:rPr>
              <a:t>Exercise one</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3" name="Text Placeholder 2">
            <a:extLst>
              <a:ext uri="{FF2B5EF4-FFF2-40B4-BE49-F238E27FC236}">
                <a16:creationId xmlns:a16="http://schemas.microsoft.com/office/drawing/2014/main" id="{93D32733-86D9-3AFD-9C29-F918C925F55C}"/>
              </a:ext>
            </a:extLst>
          </p:cNvPr>
          <p:cNvSpPr>
            <a:spLocks noGrp="1"/>
          </p:cNvSpPr>
          <p:nvPr>
            <p:ph type="body" sz="quarter" idx="12"/>
          </p:nvPr>
        </p:nvSpPr>
        <p:spPr>
          <a:xfrm>
            <a:off x="584200" y="5252490"/>
            <a:ext cx="10480421" cy="369332"/>
          </a:xfrm>
        </p:spPr>
        <p:txBody>
          <a:bodyPr vert="horz" wrap="square" lIns="0" tIns="0" rIns="0" bIns="0" rtlCol="0" anchor="t">
            <a:spAutoFit/>
          </a:bodyPr>
          <a:lstStyle/>
          <a:p>
            <a:r>
              <a:rPr lang="en-US" dirty="0">
                <a:cs typeface="Segoe UI"/>
              </a:rPr>
              <a:t>Set up development environment</a:t>
            </a:r>
            <a:endParaRPr lang="en-US" dirty="0"/>
          </a:p>
        </p:txBody>
      </p:sp>
      <p:sp>
        <p:nvSpPr>
          <p:cNvPr id="4" name="Footer Placeholder 3">
            <a:extLst>
              <a:ext uri="{FF2B5EF4-FFF2-40B4-BE49-F238E27FC236}">
                <a16:creationId xmlns:a16="http://schemas.microsoft.com/office/drawing/2014/main" id="{2C57AA0B-4601-E924-DB3E-5A437D95F445}"/>
              </a:ext>
            </a:extLst>
          </p:cNvPr>
          <p:cNvSpPr>
            <a:spLocks noGrp="1"/>
          </p:cNvSpPr>
          <p:nvPr>
            <p:ph type="ftr" sz="quarter" idx="13"/>
          </p:nvPr>
        </p:nvSpPr>
        <p:spPr/>
        <p:txBody>
          <a:bodyPr/>
          <a:lstStyle/>
          <a:p>
            <a:r>
              <a:rPr lang="en-US"/>
              <a:t>Microsoft Confidential</a:t>
            </a:r>
          </a:p>
        </p:txBody>
      </p:sp>
    </p:spTree>
    <p:custDataLst>
      <p:tags r:id="rId1"/>
    </p:custDataLst>
    <p:extLst>
      <p:ext uri="{BB962C8B-B14F-4D97-AF65-F5344CB8AC3E}">
        <p14:creationId xmlns:p14="http://schemas.microsoft.com/office/powerpoint/2010/main" val="357013055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Navigate the project board</a:t>
            </a:r>
            <a:endParaRPr lang="en-US" dirty="0"/>
          </a:p>
        </p:txBody>
      </p:sp>
      <p:pic>
        <p:nvPicPr>
          <p:cNvPr id="4" name="Picture 3">
            <a:extLst>
              <a:ext uri="{FF2B5EF4-FFF2-40B4-BE49-F238E27FC236}">
                <a16:creationId xmlns:a16="http://schemas.microsoft.com/office/drawing/2014/main" id="{D7363D01-8972-B56E-F1E0-157A4B5C8E8E}"/>
              </a:ext>
            </a:extLst>
          </p:cNvPr>
          <p:cNvPicPr>
            <a:picLocks noChangeAspect="1"/>
          </p:cNvPicPr>
          <p:nvPr/>
        </p:nvPicPr>
        <p:blipFill>
          <a:blip r:embed="rId4"/>
          <a:stretch>
            <a:fillRect/>
          </a:stretch>
        </p:blipFill>
        <p:spPr>
          <a:xfrm>
            <a:off x="913951" y="1557366"/>
            <a:ext cx="10364098" cy="3743268"/>
          </a:xfrm>
          <a:prstGeom prst="rect">
            <a:avLst/>
          </a:prstGeom>
        </p:spPr>
      </p:pic>
    </p:spTree>
    <p:custDataLst>
      <p:tags r:id="rId1"/>
    </p:custDataLst>
    <p:extLst>
      <p:ext uri="{BB962C8B-B14F-4D97-AF65-F5344CB8AC3E}">
        <p14:creationId xmlns:p14="http://schemas.microsoft.com/office/powerpoint/2010/main" val="248305641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GitHub workflow with annotations</a:t>
            </a:r>
            <a:endParaRPr lang="en-US" dirty="0"/>
          </a:p>
        </p:txBody>
      </p:sp>
      <p:sp>
        <p:nvSpPr>
          <p:cNvPr id="7" name="TextBox 6">
            <a:extLst>
              <a:ext uri="{FF2B5EF4-FFF2-40B4-BE49-F238E27FC236}">
                <a16:creationId xmlns:a16="http://schemas.microsoft.com/office/drawing/2014/main" id="{CDCA47CE-8ADB-5254-A8F4-40DE83CA91C5}"/>
              </a:ext>
            </a:extLst>
          </p:cNvPr>
          <p:cNvSpPr txBox="1"/>
          <p:nvPr/>
        </p:nvSpPr>
        <p:spPr>
          <a:xfrm>
            <a:off x="407796" y="1231672"/>
            <a:ext cx="10793603" cy="5355312"/>
          </a:xfrm>
          <a:prstGeom prst="rect">
            <a:avLst/>
          </a:prstGeom>
          <a:noFill/>
        </p:spPr>
        <p:txBody>
          <a:bodyPr wrap="square">
            <a:spAutoFit/>
          </a:bodyPr>
          <a:lstStyle/>
          <a:p>
            <a:r>
              <a:rPr lang="en-US" dirty="0"/>
              <a:t># The name of the job is what will display on the GitHub repository in the Actions tab.</a:t>
            </a:r>
          </a:p>
          <a:p>
            <a:r>
              <a:rPr lang="en-US" dirty="0"/>
              <a:t>name: First Workflow</a:t>
            </a:r>
          </a:p>
          <a:p>
            <a:endParaRPr lang="en-US" dirty="0"/>
          </a:p>
          <a:p>
            <a:r>
              <a:rPr lang="en-US" dirty="0"/>
              <a:t># The 'on' section tells GitHub under what conditions we want to run this workflow.</a:t>
            </a:r>
          </a:p>
          <a:p>
            <a:r>
              <a:rPr lang="en-US" dirty="0"/>
              <a:t># https://docs.github.com/en/actions/using-workflows/events-that-trigger-workflows</a:t>
            </a:r>
          </a:p>
          <a:p>
            <a:r>
              <a:rPr lang="en-US" dirty="0"/>
              <a:t># Common scenarios include:</a:t>
            </a:r>
          </a:p>
          <a:p>
            <a:r>
              <a:rPr lang="en-US" dirty="0"/>
              <a:t>  # workflow-dispatch (manual execution)</a:t>
            </a:r>
          </a:p>
          <a:p>
            <a:r>
              <a:rPr lang="en-US" dirty="0"/>
              <a:t>  # issues</a:t>
            </a:r>
          </a:p>
          <a:p>
            <a:r>
              <a:rPr lang="en-US" dirty="0"/>
              <a:t>  # push</a:t>
            </a:r>
          </a:p>
          <a:p>
            <a:r>
              <a:rPr lang="en-US" dirty="0"/>
              <a:t>  # </a:t>
            </a:r>
            <a:r>
              <a:rPr lang="en-US" dirty="0" err="1"/>
              <a:t>pull_request</a:t>
            </a:r>
            <a:endParaRPr lang="en-US" dirty="0"/>
          </a:p>
          <a:p>
            <a:r>
              <a:rPr lang="en-US" dirty="0"/>
              <a:t>  # schedule</a:t>
            </a:r>
          </a:p>
          <a:p>
            <a:r>
              <a:rPr lang="en-US" dirty="0"/>
              <a:t>on:</a:t>
            </a:r>
          </a:p>
          <a:p>
            <a:r>
              <a:rPr lang="en-US" dirty="0"/>
              <a:t>  </a:t>
            </a:r>
            <a:r>
              <a:rPr lang="en-US" dirty="0" err="1"/>
              <a:t>workflow_dispatch</a:t>
            </a:r>
            <a:r>
              <a:rPr lang="en-US" dirty="0"/>
              <a:t>:</a:t>
            </a:r>
          </a:p>
          <a:p>
            <a:r>
              <a:rPr lang="en-US" dirty="0"/>
              <a:t>  issues:</a:t>
            </a:r>
          </a:p>
          <a:p>
            <a:r>
              <a:rPr lang="en-US" dirty="0"/>
              <a:t>    types: [opened]</a:t>
            </a:r>
          </a:p>
          <a:p>
            <a:endParaRPr lang="en-US" dirty="0"/>
          </a:p>
          <a:p>
            <a:r>
              <a:rPr lang="en-US" dirty="0"/>
              <a:t># This section covers the work to perform.</a:t>
            </a:r>
          </a:p>
          <a:p>
            <a:r>
              <a:rPr lang="en-US" dirty="0"/>
              <a:t># We include one or more jobs in this section.</a:t>
            </a:r>
          </a:p>
          <a:p>
            <a:endParaRPr lang="en-US" dirty="0"/>
          </a:p>
        </p:txBody>
      </p:sp>
    </p:spTree>
    <p:custDataLst>
      <p:tags r:id="rId1"/>
    </p:custDataLst>
    <p:extLst>
      <p:ext uri="{BB962C8B-B14F-4D97-AF65-F5344CB8AC3E}">
        <p14:creationId xmlns:p14="http://schemas.microsoft.com/office/powerpoint/2010/main" val="244829667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GitHub workflow</a:t>
            </a:r>
            <a:endParaRPr lang="en-US" dirty="0"/>
          </a:p>
        </p:txBody>
      </p:sp>
      <p:sp>
        <p:nvSpPr>
          <p:cNvPr id="7" name="TextBox 6">
            <a:extLst>
              <a:ext uri="{FF2B5EF4-FFF2-40B4-BE49-F238E27FC236}">
                <a16:creationId xmlns:a16="http://schemas.microsoft.com/office/drawing/2014/main" id="{CDCA47CE-8ADB-5254-A8F4-40DE83CA91C5}"/>
              </a:ext>
            </a:extLst>
          </p:cNvPr>
          <p:cNvSpPr txBox="1"/>
          <p:nvPr/>
        </p:nvSpPr>
        <p:spPr>
          <a:xfrm>
            <a:off x="407796" y="1231672"/>
            <a:ext cx="10793603" cy="5078313"/>
          </a:xfrm>
          <a:prstGeom prst="rect">
            <a:avLst/>
          </a:prstGeom>
          <a:noFill/>
        </p:spPr>
        <p:txBody>
          <a:bodyPr wrap="square">
            <a:spAutoFit/>
          </a:bodyPr>
          <a:lstStyle/>
          <a:p>
            <a:r>
              <a:rPr lang="en-US" dirty="0"/>
              <a:t>  job1:</a:t>
            </a:r>
          </a:p>
          <a:p>
            <a:r>
              <a:rPr lang="en-US" dirty="0"/>
              <a:t>    # We can run jobs on GitHub hosted VM runners in Windows, Ubuntu, and Mac OS.</a:t>
            </a:r>
          </a:p>
          <a:p>
            <a:r>
              <a:rPr lang="en-US" dirty="0"/>
              <a:t>    # We can also run jobs on self-hosted hardware.</a:t>
            </a:r>
          </a:p>
          <a:p>
            <a:r>
              <a:rPr lang="en-US" dirty="0"/>
              <a:t>    runs-on: ubuntu-latest</a:t>
            </a:r>
          </a:p>
          <a:p>
            <a:endParaRPr lang="en-US" dirty="0"/>
          </a:p>
          <a:p>
            <a:r>
              <a:rPr lang="en-US" dirty="0"/>
              <a:t>    # Each job contains one or more steps. A step needs to have at least a name and a command.</a:t>
            </a:r>
          </a:p>
          <a:p>
            <a:r>
              <a:rPr lang="en-US" dirty="0"/>
              <a:t>    steps:</a:t>
            </a:r>
          </a:p>
          <a:p>
            <a:r>
              <a:rPr lang="en-US" dirty="0"/>
              <a:t>    - name: Step one</a:t>
            </a:r>
          </a:p>
          <a:p>
            <a:r>
              <a:rPr lang="en-US" dirty="0"/>
              <a:t>      # The 'run' command executes a shell or command script. Because this is Ubuntu, the</a:t>
            </a:r>
          </a:p>
          <a:p>
            <a:r>
              <a:rPr lang="en-US" dirty="0"/>
              <a:t>      # default run command will be /bin/bash</a:t>
            </a:r>
          </a:p>
          <a:p>
            <a:r>
              <a:rPr lang="en-US" dirty="0"/>
              <a:t>      run: echo "Log from step one"</a:t>
            </a:r>
          </a:p>
          <a:p>
            <a:r>
              <a:rPr lang="en-US" dirty="0"/>
              <a:t>      # This section does not appear in the solution file but demonstrates how to set</a:t>
            </a:r>
          </a:p>
          <a:p>
            <a:r>
              <a:rPr lang="en-US" dirty="0"/>
              <a:t>      # custom variables that will be available in the run script.</a:t>
            </a:r>
          </a:p>
          <a:p>
            <a:r>
              <a:rPr lang="en-US" dirty="0"/>
              <a:t>      env:</a:t>
            </a:r>
          </a:p>
          <a:p>
            <a:r>
              <a:rPr lang="en-US" dirty="0"/>
              <a:t>        VARIABLE_NAME: value</a:t>
            </a:r>
          </a:p>
          <a:p>
            <a:r>
              <a:rPr lang="en-US" dirty="0"/>
              <a:t>    - name: Step two</a:t>
            </a:r>
          </a:p>
          <a:p>
            <a:r>
              <a:rPr lang="en-US" dirty="0"/>
              <a:t>      run: echo "Log from step two"</a:t>
            </a:r>
          </a:p>
          <a:p>
            <a:r>
              <a:rPr lang="en-US" dirty="0"/>
              <a:t>      </a:t>
            </a:r>
          </a:p>
        </p:txBody>
      </p:sp>
    </p:spTree>
    <p:custDataLst>
      <p:tags r:id="rId1"/>
    </p:custDataLst>
    <p:extLst>
      <p:ext uri="{BB962C8B-B14F-4D97-AF65-F5344CB8AC3E}">
        <p14:creationId xmlns:p14="http://schemas.microsoft.com/office/powerpoint/2010/main" val="16147837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GitHub workflow</a:t>
            </a:r>
            <a:endParaRPr lang="en-US" dirty="0"/>
          </a:p>
        </p:txBody>
      </p:sp>
      <p:sp>
        <p:nvSpPr>
          <p:cNvPr id="7" name="TextBox 6">
            <a:extLst>
              <a:ext uri="{FF2B5EF4-FFF2-40B4-BE49-F238E27FC236}">
                <a16:creationId xmlns:a16="http://schemas.microsoft.com/office/drawing/2014/main" id="{CDCA47CE-8ADB-5254-A8F4-40DE83CA91C5}"/>
              </a:ext>
            </a:extLst>
          </p:cNvPr>
          <p:cNvSpPr txBox="1"/>
          <p:nvPr/>
        </p:nvSpPr>
        <p:spPr>
          <a:xfrm>
            <a:off x="422592" y="978206"/>
            <a:ext cx="9612947" cy="5078313"/>
          </a:xfrm>
          <a:prstGeom prst="rect">
            <a:avLst/>
          </a:prstGeom>
          <a:noFill/>
        </p:spPr>
        <p:txBody>
          <a:bodyPr wrap="square">
            <a:spAutoFit/>
          </a:bodyPr>
          <a:lstStyle/>
          <a:p>
            <a:r>
              <a:rPr lang="en-US" dirty="0"/>
              <a:t>      </a:t>
            </a:r>
          </a:p>
          <a:p>
            <a:r>
              <a:rPr lang="en-US" dirty="0"/>
              <a:t>  job2:</a:t>
            </a:r>
          </a:p>
          <a:p>
            <a:r>
              <a:rPr lang="en-US" dirty="0"/>
              <a:t>    # Job 2 will only run after job 1 completes.</a:t>
            </a:r>
          </a:p>
          <a:p>
            <a:r>
              <a:rPr lang="en-US" dirty="0"/>
              <a:t>    # Removing this 'needs' section would make the jobs run simultaneously.</a:t>
            </a:r>
          </a:p>
          <a:p>
            <a:r>
              <a:rPr lang="en-US" dirty="0"/>
              <a:t>    needs: job1</a:t>
            </a:r>
          </a:p>
          <a:p>
            <a:r>
              <a:rPr lang="en-US" dirty="0"/>
              <a:t>    runs-on: ubuntu-latest</a:t>
            </a:r>
          </a:p>
          <a:p>
            <a:endParaRPr lang="en-US" dirty="0"/>
          </a:p>
          <a:p>
            <a:r>
              <a:rPr lang="en-US" dirty="0"/>
              <a:t>    steps:</a:t>
            </a:r>
          </a:p>
          <a:p>
            <a:r>
              <a:rPr lang="en-US" dirty="0"/>
              <a:t>    - name: </a:t>
            </a:r>
            <a:r>
              <a:rPr lang="en-US" dirty="0" err="1"/>
              <a:t>Cowsays</a:t>
            </a:r>
            <a:endParaRPr lang="en-US" dirty="0"/>
          </a:p>
          <a:p>
            <a:r>
              <a:rPr lang="en-US" dirty="0"/>
              <a:t>      # The 'uses' command executes a remote GitHub action.</a:t>
            </a:r>
          </a:p>
          <a:p>
            <a:r>
              <a:rPr lang="en-US" dirty="0"/>
              <a:t>      # A command like </a:t>
            </a:r>
            <a:r>
              <a:rPr lang="en-US" dirty="0" err="1"/>
              <a:t>mscoutermarsh</a:t>
            </a:r>
            <a:r>
              <a:rPr lang="en-US" dirty="0"/>
              <a:t>/</a:t>
            </a:r>
            <a:r>
              <a:rPr lang="en-US" dirty="0" err="1"/>
              <a:t>cowsays</a:t>
            </a:r>
            <a:r>
              <a:rPr lang="en-US" dirty="0"/>
              <a:t>-action means you can</a:t>
            </a:r>
          </a:p>
          <a:p>
            <a:r>
              <a:rPr lang="en-US" dirty="0"/>
              <a:t>      # find this code at https://github.com/mscoutermarsh/cowsays-action</a:t>
            </a:r>
          </a:p>
          <a:p>
            <a:r>
              <a:rPr lang="en-US" dirty="0"/>
              <a:t>      uses: </a:t>
            </a:r>
            <a:r>
              <a:rPr lang="en-US" dirty="0" err="1"/>
              <a:t>mscoutermarsh</a:t>
            </a:r>
            <a:r>
              <a:rPr lang="en-US" dirty="0"/>
              <a:t>/</a:t>
            </a:r>
            <a:r>
              <a:rPr lang="en-US" dirty="0" err="1"/>
              <a:t>cowsays-action@master</a:t>
            </a:r>
            <a:endParaRPr lang="en-US" dirty="0"/>
          </a:p>
          <a:p>
            <a:r>
              <a:rPr lang="en-US" dirty="0"/>
              <a:t>      # The 'with' block includes parameters that the workflow will pass</a:t>
            </a:r>
          </a:p>
          <a:p>
            <a:r>
              <a:rPr lang="en-US" dirty="0"/>
              <a:t>      # to this action. Parameters are all in key-value format.</a:t>
            </a:r>
          </a:p>
          <a:p>
            <a:r>
              <a:rPr lang="en-US" dirty="0"/>
              <a:t>      with:</a:t>
            </a:r>
          </a:p>
          <a:p>
            <a:r>
              <a:rPr lang="en-US" dirty="0"/>
              <a:t>        text: 'Ready for prod--ship it!'</a:t>
            </a:r>
          </a:p>
          <a:p>
            <a:r>
              <a:rPr lang="en-US" dirty="0"/>
              <a:t>        color: 'magenta'</a:t>
            </a:r>
          </a:p>
        </p:txBody>
      </p:sp>
    </p:spTree>
    <p:custDataLst>
      <p:tags r:id="rId1"/>
    </p:custDataLst>
    <p:extLst>
      <p:ext uri="{BB962C8B-B14F-4D97-AF65-F5344CB8AC3E}">
        <p14:creationId xmlns:p14="http://schemas.microsoft.com/office/powerpoint/2010/main" val="142414605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87FE99-E9EA-AB4B-66CE-242B2BE73AAA}"/>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800" b="1" i="0" u="none" strike="noStrike" kern="1200" cap="none" spc="0" normalizeH="0" baseline="0" noProof="0" dirty="0">
                <a:ln>
                  <a:noFill/>
                </a:ln>
                <a:solidFill>
                  <a:schemeClr val="bg1"/>
                </a:solidFill>
                <a:effectLst/>
                <a:uLnTx/>
                <a:uFillTx/>
                <a:latin typeface="+mj-lt"/>
                <a:ea typeface="+mn-ea"/>
                <a:cs typeface="Segoe UI"/>
              </a:rPr>
              <a:t>Exercise three</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3" name="Text Placeholder 2">
            <a:extLst>
              <a:ext uri="{FF2B5EF4-FFF2-40B4-BE49-F238E27FC236}">
                <a16:creationId xmlns:a16="http://schemas.microsoft.com/office/drawing/2014/main" id="{93D32733-86D9-3AFD-9C29-F918C925F55C}"/>
              </a:ext>
            </a:extLst>
          </p:cNvPr>
          <p:cNvSpPr>
            <a:spLocks noGrp="1"/>
          </p:cNvSpPr>
          <p:nvPr>
            <p:ph type="body" sz="quarter" idx="12"/>
          </p:nvPr>
        </p:nvSpPr>
        <p:spPr>
          <a:xfrm>
            <a:off x="584200" y="5252490"/>
            <a:ext cx="10480421" cy="369332"/>
          </a:xfrm>
        </p:spPr>
        <p:txBody>
          <a:bodyPr vert="horz" wrap="square" lIns="0" tIns="0" rIns="0" bIns="0" rtlCol="0" anchor="t">
            <a:spAutoFit/>
          </a:bodyPr>
          <a:lstStyle/>
          <a:p>
            <a:r>
              <a:rPr lang="en-US" dirty="0">
                <a:cs typeface="Segoe UI"/>
              </a:rPr>
              <a:t>Improve and deploy your application</a:t>
            </a:r>
            <a:endParaRPr lang="en-US" dirty="0"/>
          </a:p>
        </p:txBody>
      </p:sp>
      <p:sp>
        <p:nvSpPr>
          <p:cNvPr id="4" name="Footer Placeholder 3">
            <a:extLst>
              <a:ext uri="{FF2B5EF4-FFF2-40B4-BE49-F238E27FC236}">
                <a16:creationId xmlns:a16="http://schemas.microsoft.com/office/drawing/2014/main" id="{2C57AA0B-4601-E924-DB3E-5A437D95F445}"/>
              </a:ext>
            </a:extLst>
          </p:cNvPr>
          <p:cNvSpPr>
            <a:spLocks noGrp="1"/>
          </p:cNvSpPr>
          <p:nvPr>
            <p:ph type="ftr" sz="quarter" idx="13"/>
          </p:nvPr>
        </p:nvSpPr>
        <p:spPr/>
        <p:txBody>
          <a:bodyPr/>
          <a:lstStyle/>
          <a:p>
            <a:r>
              <a:rPr lang="en-US"/>
              <a:t>Microsoft Confidential</a:t>
            </a:r>
          </a:p>
        </p:txBody>
      </p:sp>
    </p:spTree>
    <p:custDataLst>
      <p:tags r:id="rId1"/>
    </p:custDataLst>
    <p:extLst>
      <p:ext uri="{BB962C8B-B14F-4D97-AF65-F5344CB8AC3E}">
        <p14:creationId xmlns:p14="http://schemas.microsoft.com/office/powerpoint/2010/main" val="186172161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a:xfrm>
            <a:off x="512484" y="5276096"/>
            <a:ext cx="4114800" cy="123111"/>
          </a:xfrm>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Bicep template</a:t>
            </a:r>
            <a:endParaRPr lang="en-US" dirty="0"/>
          </a:p>
        </p:txBody>
      </p:sp>
      <p:sp>
        <p:nvSpPr>
          <p:cNvPr id="5" name="Text Placeholder 4">
            <a:extLst>
              <a:ext uri="{FF2B5EF4-FFF2-40B4-BE49-F238E27FC236}">
                <a16:creationId xmlns:a16="http://schemas.microsoft.com/office/drawing/2014/main" id="{2A7BFAB2-E849-9CD4-0B05-39B37C196AE1}"/>
              </a:ext>
            </a:extLst>
          </p:cNvPr>
          <p:cNvSpPr>
            <a:spLocks noGrp="1"/>
          </p:cNvSpPr>
          <p:nvPr>
            <p:ph type="body" sz="quarter" idx="16"/>
          </p:nvPr>
        </p:nvSpPr>
        <p:spPr>
          <a:xfrm>
            <a:off x="431115" y="1016339"/>
            <a:ext cx="11310656" cy="984885"/>
          </a:xfrm>
        </p:spPr>
        <p:txBody>
          <a:bodyPr vert="horz" wrap="square" lIns="0" tIns="0" rIns="0" bIns="0" rtlCol="0" anchor="t">
            <a:spAutoFit/>
          </a:bodyPr>
          <a:lstStyle/>
          <a:p>
            <a:r>
              <a:rPr lang="en-US" sz="3200" b="0" i="0" dirty="0">
                <a:solidFill>
                  <a:schemeClr val="accent3">
                    <a:lumMod val="50000"/>
                  </a:schemeClr>
                </a:solidFill>
                <a:effectLst/>
                <a:latin typeface="+mj-lt"/>
              </a:rPr>
              <a:t>GitHub allows users to execute ARM and Bicep templates as part of a GitHub Actions workflow</a:t>
            </a:r>
          </a:p>
        </p:txBody>
      </p:sp>
      <p:sp>
        <p:nvSpPr>
          <p:cNvPr id="8" name="Rectangle 7">
            <a:extLst>
              <a:ext uri="{FF2B5EF4-FFF2-40B4-BE49-F238E27FC236}">
                <a16:creationId xmlns:a16="http://schemas.microsoft.com/office/drawing/2014/main" id="{A8FA921E-ABED-7068-7994-FA416A333513}"/>
              </a:ext>
              <a:ext uri="{C183D7F6-B498-43B3-948B-1728B52AA6E4}">
                <adec:decorative xmlns:adec="http://schemas.microsoft.com/office/drawing/2017/decorative" val="1"/>
              </a:ext>
            </a:extLst>
          </p:cNvPr>
          <p:cNvSpPr/>
          <p:nvPr/>
        </p:nvSpPr>
        <p:spPr bwMode="auto">
          <a:xfrm flipH="1">
            <a:off x="-71721" y="517668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8C1377B-EB30-F995-B207-4FAE27675671}"/>
              </a:ext>
            </a:extLst>
          </p:cNvPr>
          <p:cNvSpPr txBox="1"/>
          <p:nvPr/>
        </p:nvSpPr>
        <p:spPr>
          <a:xfrm>
            <a:off x="419185" y="206985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o deploy resources, you will need to log into Azure and then use the arm-deploy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actio</a:t>
            </a:r>
            <a:r>
              <a:rPr lang="en-US" dirty="0">
                <a:solidFill>
                  <a:srgbClr val="000000"/>
                </a:solidFill>
                <a:latin typeface="Segoe UI "/>
              </a:rPr>
              <a:t>n.</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7F94E6FB-98D2-F86B-6B54-8168A5C85E05}"/>
              </a:ext>
              <a:ext uri="{C183D7F6-B498-43B3-948B-1728B52AA6E4}">
                <adec:decorative xmlns:adec="http://schemas.microsoft.com/office/drawing/2017/decorative" val="1"/>
              </a:ext>
            </a:extLst>
          </p:cNvPr>
          <p:cNvSpPr/>
          <p:nvPr/>
        </p:nvSpPr>
        <p:spPr bwMode="auto">
          <a:xfrm>
            <a:off x="516546" y="261095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1" name="Freeform: Shape 10">
            <a:extLst>
              <a:ext uri="{FF2B5EF4-FFF2-40B4-BE49-F238E27FC236}">
                <a16:creationId xmlns:a16="http://schemas.microsoft.com/office/drawing/2014/main" id="{1BC0C6A6-6F1C-94A9-D7AA-22F4356A8B71}"/>
              </a:ext>
              <a:ext uri="{C183D7F6-B498-43B3-948B-1728B52AA6E4}">
                <adec:decorative xmlns:adec="http://schemas.microsoft.com/office/drawing/2017/decorative" val="1"/>
              </a:ext>
            </a:extLst>
          </p:cNvPr>
          <p:cNvSpPr/>
          <p:nvPr/>
        </p:nvSpPr>
        <p:spPr bwMode="auto">
          <a:xfrm>
            <a:off x="687044" y="277840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2" name="TextBox 11">
            <a:extLst>
              <a:ext uri="{FF2B5EF4-FFF2-40B4-BE49-F238E27FC236}">
                <a16:creationId xmlns:a16="http://schemas.microsoft.com/office/drawing/2014/main" id="{792A0DD5-D08A-444D-B965-1A6892E7A7B5}"/>
              </a:ext>
            </a:extLst>
          </p:cNvPr>
          <p:cNvSpPr txBox="1"/>
          <p:nvPr/>
        </p:nvSpPr>
        <p:spPr>
          <a:xfrm>
            <a:off x="1069290" y="2816384"/>
            <a:ext cx="9909976" cy="2862322"/>
          </a:xfrm>
          <a:prstGeom prst="rect">
            <a:avLst/>
          </a:prstGeom>
          <a:noFill/>
        </p:spPr>
        <p:txBody>
          <a:bodyPr wrap="square" lIns="91440" tIns="45720" rIns="91440" bIns="45720" anchor="t">
            <a:spAutoFit/>
          </a:bodyPr>
          <a:lstStyle/>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login@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creds: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CREDENTIALS</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name: Run ARM deploy</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arm-deploy@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subscriptionId</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SUBSCRIPTION_ID</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resourceGroupName</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RG</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template: ./</a:t>
            </a:r>
            <a:r>
              <a:rPr kumimoji="0" lang="en-US" b="1" i="0" u="none" strike="noStrike" kern="1200" cap="none" spc="0" normalizeH="0" baseline="0" noProof="0" dirty="0" err="1">
                <a:ln>
                  <a:noFill/>
                </a:ln>
                <a:solidFill>
                  <a:srgbClr val="444444"/>
                </a:solidFill>
                <a:effectLst/>
                <a:uLnTx/>
                <a:uFillTx/>
                <a:latin typeface="Courier New"/>
                <a:cs typeface="Courier New"/>
              </a:rPr>
              <a:t>InfrastructureAsCode</a:t>
            </a:r>
            <a:r>
              <a:rPr kumimoji="0" lang="en-US" b="1" i="0" u="none" strike="noStrike" kern="1200" cap="none" spc="0" normalizeH="0" baseline="0" noProof="0" dirty="0">
                <a:ln>
                  <a:noFill/>
                </a:ln>
                <a:solidFill>
                  <a:srgbClr val="444444"/>
                </a:solidFill>
                <a:effectLst/>
                <a:uLnTx/>
                <a:uFillTx/>
                <a:latin typeface="Courier New"/>
                <a:cs typeface="Courier New"/>
              </a:rPr>
              <a:t>/</a:t>
            </a:r>
            <a:r>
              <a:rPr kumimoji="0" lang="en-US" b="1" i="0" u="none" strike="noStrike" kern="1200" cap="none" spc="0" normalizeH="0" baseline="0" noProof="0" dirty="0" err="1">
                <a:ln>
                  <a:noFill/>
                </a:ln>
                <a:solidFill>
                  <a:srgbClr val="444444"/>
                </a:solidFill>
                <a:effectLst/>
                <a:uLnTx/>
                <a:uFillTx/>
                <a:latin typeface="Courier New"/>
                <a:cs typeface="Courier New"/>
              </a:rPr>
              <a:t>main.bicep</a:t>
            </a:r>
            <a:endParaRPr kumimoji="0" lang="en-US" b="1" i="0" u="none" strike="noStrike" kern="1200" cap="none" spc="0" normalizeH="0" baseline="0" noProof="0" dirty="0">
              <a:ln>
                <a:noFill/>
              </a:ln>
              <a:solidFill>
                <a:srgbClr val="444444"/>
              </a:solidFill>
              <a:effectLst/>
              <a:uLnTx/>
              <a:uFillTx/>
              <a:latin typeface="Courier New"/>
              <a:cs typeface="Courier New"/>
            </a:endParaRP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parameters: environment=${{ </a:t>
            </a:r>
            <a:r>
              <a:rPr kumimoji="0" lang="en-US" b="1" i="0" u="none" strike="noStrike" kern="1200" cap="none" spc="0" normalizeH="0" baseline="0" noProof="0" dirty="0" err="1">
                <a:ln>
                  <a:noFill/>
                </a:ln>
                <a:solidFill>
                  <a:srgbClr val="444444"/>
                </a:solidFill>
                <a:effectLst/>
                <a:uLnTx/>
                <a:uFillTx/>
                <a:latin typeface="Courier New"/>
                <a:cs typeface="Courier New"/>
              </a:rPr>
              <a:t>github.event.inputs.appenv</a:t>
            </a:r>
            <a:r>
              <a:rPr kumimoji="0" lang="en-US" b="1" i="0" u="none" strike="noStrike" kern="1200" cap="none" spc="0" normalizeH="0" baseline="0" noProof="0" dirty="0">
                <a:ln>
                  <a:noFill/>
                </a:ln>
                <a:solidFill>
                  <a:srgbClr val="444444"/>
                </a:solidFill>
                <a:effectLst/>
                <a:uLnTx/>
                <a:uFillTx/>
                <a:latin typeface="Courier New"/>
                <a:cs typeface="Courier New"/>
              </a:rPr>
              <a:t> }}</a:t>
            </a:r>
            <a:endParaRPr kumimoji="0" lang="en-US" b="1" i="0" u="none" strike="noStrike" kern="1200" cap="none" spc="0" normalizeH="0" baseline="0" noProof="0" dirty="0">
              <a:ln>
                <a:noFill/>
              </a:ln>
              <a:solidFill>
                <a:srgbClr val="000000"/>
              </a:solidFill>
              <a:effectLst/>
              <a:uLnTx/>
              <a:uFillTx/>
              <a:latin typeface="Courier New"/>
              <a:cs typeface="Courier New"/>
            </a:endParaRPr>
          </a:p>
        </p:txBody>
      </p:sp>
      <p:sp>
        <p:nvSpPr>
          <p:cNvPr id="13" name="TextBox 12">
            <a:extLst>
              <a:ext uri="{FF2B5EF4-FFF2-40B4-BE49-F238E27FC236}">
                <a16:creationId xmlns:a16="http://schemas.microsoft.com/office/drawing/2014/main" id="{61B5A930-8735-5FA6-1A23-D29B84CB4936}"/>
              </a:ext>
            </a:extLst>
          </p:cNvPr>
          <p:cNvSpPr txBox="1"/>
          <p:nvPr/>
        </p:nvSpPr>
        <p:spPr>
          <a:xfrm>
            <a:off x="519151" y="598648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action above will deploy a file called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main.bicep</a:t>
            </a:r>
            <a:r>
              <a:rPr kumimoji="0" lang="en-US" sz="1800" b="0" i="0" u="none" strike="noStrike" kern="1200" cap="none" spc="0" normalizeH="0" baseline="0" noProof="0" dirty="0">
                <a:ln>
                  <a:noFill/>
                </a:ln>
                <a:solidFill>
                  <a:srgbClr val="000000"/>
                </a:solidFill>
                <a:effectLst/>
                <a:uLnTx/>
                <a:uFillTx/>
                <a:latin typeface="Segoe UI"/>
                <a:ea typeface="+mn-ea"/>
                <a:cs typeface="+mn-cs"/>
              </a:rPr>
              <a:t> to Azure whenever the GitHub Actions workflow runs.</a:t>
            </a:r>
          </a:p>
        </p:txBody>
      </p:sp>
    </p:spTree>
    <p:custDataLst>
      <p:tags r:id="rId1"/>
    </p:custDataLst>
    <p:extLst>
      <p:ext uri="{BB962C8B-B14F-4D97-AF65-F5344CB8AC3E}">
        <p14:creationId xmlns:p14="http://schemas.microsoft.com/office/powerpoint/2010/main" val="46026181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1607800"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ltLang="zh-CN" sz="4800" spc="0" dirty="0">
                <a:ln>
                  <a:noFill/>
                </a:ln>
                <a:solidFill>
                  <a:schemeClr val="bg1"/>
                </a:solidFill>
                <a:latin typeface="+mj-lt"/>
              </a:rPr>
              <a:t>Exercise one: set up development environment</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s: set up development environment</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exercise, you’ll setup a development environment</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dirty="0">
                <a:solidFill>
                  <a:schemeClr val="tx2"/>
                </a:solidFill>
              </a:rPr>
              <a:t>After completing this exercise,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the necessary infrastructure for an Azure Dev Box.</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image for your Dev Box.</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 Dev Box.</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rant users permissions to create and access their Dev Box.</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 5">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5026577"/>
            <a:ext cx="472258" cy="472258"/>
            <a:chOff x="591756" y="2678861"/>
            <a:chExt cx="472258" cy="472258"/>
          </a:xfrm>
        </p:grpSpPr>
        <p:sp>
          <p:nvSpPr>
            <p:cNvPr id="40"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1" name="Oval 40">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2" name="TextBox 41">
            <a:extLst>
              <a:ext uri="{FF2B5EF4-FFF2-40B4-BE49-F238E27FC236}">
                <a16:creationId xmlns:a16="http://schemas.microsoft.com/office/drawing/2014/main" id="{9BB142AF-8A43-DF45-71A0-457F532822BA}"/>
              </a:ext>
            </a:extLst>
          </p:cNvPr>
          <p:cNvSpPr txBox="1"/>
          <p:nvPr/>
        </p:nvSpPr>
        <p:spPr>
          <a:xfrm>
            <a:off x="1230316" y="5108818"/>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GitHub Copilot and use it to assist with several activities.</a:t>
            </a:r>
          </a:p>
        </p:txBody>
      </p:sp>
      <p:sp>
        <p:nvSpPr>
          <p:cNvPr id="43"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5162303"/>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Exercise one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Azure Dev Box</a:t>
            </a:r>
            <a:endParaRPr lang="en-US" dirty="0"/>
          </a:p>
        </p:txBody>
      </p:sp>
      <p:pic>
        <p:nvPicPr>
          <p:cNvPr id="3" name="Picture 2" descr="A computer screen shot of a computer&#10;&#10;Description automatically generated">
            <a:extLst>
              <a:ext uri="{FF2B5EF4-FFF2-40B4-BE49-F238E27FC236}">
                <a16:creationId xmlns:a16="http://schemas.microsoft.com/office/drawing/2014/main" id="{9E3E1130-03CE-34E4-13E9-89339B18783A}"/>
              </a:ext>
            </a:extLst>
          </p:cNvPr>
          <p:cNvPicPr>
            <a:picLocks noChangeAspect="1"/>
          </p:cNvPicPr>
          <p:nvPr/>
        </p:nvPicPr>
        <p:blipFill>
          <a:blip r:embed="rId4"/>
          <a:stretch>
            <a:fillRect/>
          </a:stretch>
        </p:blipFill>
        <p:spPr>
          <a:xfrm>
            <a:off x="1481666" y="1515916"/>
            <a:ext cx="9584267" cy="4884884"/>
          </a:xfrm>
          <a:prstGeom prst="rect">
            <a:avLst/>
          </a:prstGeom>
        </p:spPr>
      </p:pic>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reate </a:t>
            </a:r>
            <a:r>
              <a:rPr lang="en-US" sz="2400" dirty="0">
                <a:latin typeface="Segoe UI Semibold"/>
                <a:cs typeface="Segoe UI Semibold"/>
              </a:rPr>
              <a:t>a Dev Box definit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BC0F9E41-CD44-AFD4-0C13-9E597B9D6EA1}"/>
              </a:ext>
              <a:ext uri="{C183D7F6-B498-43B3-948B-1728B52AA6E4}">
                <adec:decorative xmlns:adec="http://schemas.microsoft.com/office/drawing/2017/decorative" val="1"/>
              </a:ext>
            </a:extLst>
          </p:cNvPr>
          <p:cNvSpPr/>
          <p:nvPr/>
        </p:nvSpPr>
        <p:spPr bwMode="auto">
          <a:xfrm>
            <a:off x="3147184" y="5229286"/>
            <a:ext cx="955002" cy="247135"/>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A screenshot of a computer&#10;&#10;Description automatically generated">
            <a:extLst>
              <a:ext uri="{FF2B5EF4-FFF2-40B4-BE49-F238E27FC236}">
                <a16:creationId xmlns:a16="http://schemas.microsoft.com/office/drawing/2014/main" id="{5D2F75E8-88EC-6C2E-781C-ABB1831CD0A8}"/>
              </a:ext>
            </a:extLst>
          </p:cNvPr>
          <p:cNvPicPr>
            <a:picLocks noChangeAspect="1"/>
          </p:cNvPicPr>
          <p:nvPr/>
        </p:nvPicPr>
        <p:blipFill>
          <a:blip r:embed="rId7"/>
          <a:stretch>
            <a:fillRect/>
          </a:stretch>
        </p:blipFill>
        <p:spPr>
          <a:xfrm>
            <a:off x="690769" y="1828092"/>
            <a:ext cx="7190960" cy="390584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3827A853-7E09-FA4E-F769-B4094AC676C4}"/>
              </a:ext>
            </a:extLst>
          </p:cNvPr>
          <p:cNvPicPr>
            <a:picLocks noChangeAspect="1"/>
          </p:cNvPicPr>
          <p:nvPr/>
        </p:nvPicPr>
        <p:blipFill>
          <a:blip r:embed="rId8"/>
          <a:stretch>
            <a:fillRect/>
          </a:stretch>
        </p:blipFill>
        <p:spPr>
          <a:xfrm>
            <a:off x="7656444" y="2728509"/>
            <a:ext cx="3836504" cy="3438504"/>
          </a:xfrm>
          <a:prstGeom prst="rect">
            <a:avLst/>
          </a:prstGeom>
        </p:spPr>
      </p:pic>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E561A7A-B85E-E2B3-E123-926C72D75B83}"/>
              </a:ext>
            </a:extLst>
          </p:cNvPr>
          <p:cNvSpPr>
            <a:spLocks noGrp="1"/>
          </p:cNvSpPr>
          <p:nvPr>
            <p:ph type="body" sz="quarter" idx="11"/>
          </p:nvPr>
        </p:nvSpPr>
        <p:spPr/>
        <p:txBody>
          <a:bodyPr/>
          <a:lstStyle/>
          <a:p>
            <a:r>
              <a:rPr lang="en-US" dirty="0"/>
              <a:t>Create the components for Dev Box</a:t>
            </a:r>
          </a:p>
        </p:txBody>
      </p:sp>
      <p:pic>
        <p:nvPicPr>
          <p:cNvPr id="5" name="Graphic 4" descr="Monitor with solid fill">
            <a:extLst>
              <a:ext uri="{FF2B5EF4-FFF2-40B4-BE49-F238E27FC236}">
                <a16:creationId xmlns:a16="http://schemas.microsoft.com/office/drawing/2014/main" id="{59D907DD-6FE6-2644-2401-F06E90242E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16506" y="2235570"/>
            <a:ext cx="582100" cy="582100"/>
          </a:xfrm>
          <a:prstGeom prst="rect">
            <a:avLst/>
          </a:prstGeom>
        </p:spPr>
      </p:pic>
      <p:pic>
        <p:nvPicPr>
          <p:cNvPr id="6" name="Graphic 5" descr="Building with solid fill">
            <a:extLst>
              <a:ext uri="{FF2B5EF4-FFF2-40B4-BE49-F238E27FC236}">
                <a16:creationId xmlns:a16="http://schemas.microsoft.com/office/drawing/2014/main" id="{1802DD5F-07B0-E989-138A-88635C31A5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68743" y="2113507"/>
            <a:ext cx="914400" cy="914400"/>
          </a:xfrm>
          <a:prstGeom prst="rect">
            <a:avLst/>
          </a:prstGeom>
        </p:spPr>
      </p:pic>
      <p:sp>
        <p:nvSpPr>
          <p:cNvPr id="7" name="TextBox 6">
            <a:extLst>
              <a:ext uri="{FF2B5EF4-FFF2-40B4-BE49-F238E27FC236}">
                <a16:creationId xmlns:a16="http://schemas.microsoft.com/office/drawing/2014/main" id="{509AE50D-09FB-6320-67F3-1900209FAFE6}"/>
              </a:ext>
            </a:extLst>
          </p:cNvPr>
          <p:cNvSpPr txBox="1"/>
          <p:nvPr/>
        </p:nvSpPr>
        <p:spPr>
          <a:xfrm>
            <a:off x="5011543" y="3111085"/>
            <a:ext cx="18288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Arial"/>
                <a:ea typeface="+mn-ea"/>
                <a:cs typeface="+mn-cs"/>
              </a:rPr>
              <a:t>Dev Center</a:t>
            </a:r>
          </a:p>
        </p:txBody>
      </p:sp>
      <p:cxnSp>
        <p:nvCxnSpPr>
          <p:cNvPr id="8" name="Straight Connector 7">
            <a:extLst>
              <a:ext uri="{FF2B5EF4-FFF2-40B4-BE49-F238E27FC236}">
                <a16:creationId xmlns:a16="http://schemas.microsoft.com/office/drawing/2014/main" id="{004BE876-5F64-BE6B-08EC-6ED0EBFAD27F}"/>
              </a:ext>
            </a:extLst>
          </p:cNvPr>
          <p:cNvCxnSpPr/>
          <p:nvPr/>
        </p:nvCxnSpPr>
        <p:spPr>
          <a:xfrm>
            <a:off x="5925943" y="3704829"/>
            <a:ext cx="0" cy="87889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Graphic 8" descr="Meeting with solid fill">
            <a:extLst>
              <a:ext uri="{FF2B5EF4-FFF2-40B4-BE49-F238E27FC236}">
                <a16:creationId xmlns:a16="http://schemas.microsoft.com/office/drawing/2014/main" id="{F6766DEC-1BF2-9EDE-557D-72BF9147BE3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50083" y="4722593"/>
            <a:ext cx="618660" cy="618660"/>
          </a:xfrm>
          <a:prstGeom prst="rect">
            <a:avLst/>
          </a:prstGeom>
        </p:spPr>
      </p:pic>
      <p:pic>
        <p:nvPicPr>
          <p:cNvPr id="10" name="Graphic 9" descr="Meeting with solid fill">
            <a:extLst>
              <a:ext uri="{FF2B5EF4-FFF2-40B4-BE49-F238E27FC236}">
                <a16:creationId xmlns:a16="http://schemas.microsoft.com/office/drawing/2014/main" id="{D04CCEB6-9764-CF09-33F9-ADF3D837099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16613" y="4722593"/>
            <a:ext cx="618660" cy="618660"/>
          </a:xfrm>
          <a:prstGeom prst="rect">
            <a:avLst/>
          </a:prstGeom>
        </p:spPr>
      </p:pic>
      <p:pic>
        <p:nvPicPr>
          <p:cNvPr id="11" name="Graphic 10" descr="Meeting with solid fill">
            <a:extLst>
              <a:ext uri="{FF2B5EF4-FFF2-40B4-BE49-F238E27FC236}">
                <a16:creationId xmlns:a16="http://schemas.microsoft.com/office/drawing/2014/main" id="{4D2CD8CC-2F08-0FBB-BC6C-F1AFA495D14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83143" y="4722593"/>
            <a:ext cx="618660" cy="618660"/>
          </a:xfrm>
          <a:prstGeom prst="rect">
            <a:avLst/>
          </a:prstGeom>
        </p:spPr>
      </p:pic>
      <p:sp>
        <p:nvSpPr>
          <p:cNvPr id="12" name="TextBox 11">
            <a:extLst>
              <a:ext uri="{FF2B5EF4-FFF2-40B4-BE49-F238E27FC236}">
                <a16:creationId xmlns:a16="http://schemas.microsoft.com/office/drawing/2014/main" id="{A8AEB89F-DB06-0735-151C-F185B75922AB}"/>
              </a:ext>
            </a:extLst>
          </p:cNvPr>
          <p:cNvSpPr txBox="1"/>
          <p:nvPr/>
        </p:nvSpPr>
        <p:spPr>
          <a:xfrm>
            <a:off x="5011543" y="5341253"/>
            <a:ext cx="18288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Arial"/>
                <a:ea typeface="+mn-ea"/>
                <a:cs typeface="+mn-cs"/>
              </a:rPr>
              <a:t>Project(s)</a:t>
            </a:r>
          </a:p>
        </p:txBody>
      </p:sp>
      <p:cxnSp>
        <p:nvCxnSpPr>
          <p:cNvPr id="13" name="Straight Connector 12">
            <a:extLst>
              <a:ext uri="{FF2B5EF4-FFF2-40B4-BE49-F238E27FC236}">
                <a16:creationId xmlns:a16="http://schemas.microsoft.com/office/drawing/2014/main" id="{EADE7117-7596-21AD-2197-F998E6EA7E93}"/>
              </a:ext>
            </a:extLst>
          </p:cNvPr>
          <p:cNvCxnSpPr>
            <a:cxnSpLocks/>
          </p:cNvCxnSpPr>
          <p:nvPr/>
        </p:nvCxnSpPr>
        <p:spPr>
          <a:xfrm>
            <a:off x="6078343" y="4736119"/>
            <a:ext cx="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153BB40-8EE2-993B-97A8-353ED91D6E82}"/>
              </a:ext>
            </a:extLst>
          </p:cNvPr>
          <p:cNvCxnSpPr>
            <a:cxnSpLocks/>
          </p:cNvCxnSpPr>
          <p:nvPr/>
        </p:nvCxnSpPr>
        <p:spPr>
          <a:xfrm flipV="1">
            <a:off x="6692473" y="5345574"/>
            <a:ext cx="0" cy="47214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descr="Monitor with solid fill">
            <a:extLst>
              <a:ext uri="{FF2B5EF4-FFF2-40B4-BE49-F238E27FC236}">
                <a16:creationId xmlns:a16="http://schemas.microsoft.com/office/drawing/2014/main" id="{AC0456FD-2343-D995-F050-4A1DFD0A62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01423" y="5959913"/>
            <a:ext cx="582100" cy="582100"/>
          </a:xfrm>
          <a:prstGeom prst="rect">
            <a:avLst/>
          </a:prstGeom>
        </p:spPr>
      </p:pic>
      <p:sp>
        <p:nvSpPr>
          <p:cNvPr id="16" name="TextBox 15">
            <a:extLst>
              <a:ext uri="{FF2B5EF4-FFF2-40B4-BE49-F238E27FC236}">
                <a16:creationId xmlns:a16="http://schemas.microsoft.com/office/drawing/2014/main" id="{86C2E30F-DD24-5B66-9ACC-19461C693A89}"/>
              </a:ext>
            </a:extLst>
          </p:cNvPr>
          <p:cNvSpPr txBox="1"/>
          <p:nvPr/>
        </p:nvSpPr>
        <p:spPr>
          <a:xfrm>
            <a:off x="5011543" y="6093980"/>
            <a:ext cx="18288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Arial"/>
                <a:ea typeface="+mn-ea"/>
                <a:cs typeface="+mn-cs"/>
              </a:rPr>
              <a:t>Pool(s)</a:t>
            </a:r>
          </a:p>
        </p:txBody>
      </p:sp>
      <p:cxnSp>
        <p:nvCxnSpPr>
          <p:cNvPr id="17" name="Straight Connector 16">
            <a:extLst>
              <a:ext uri="{FF2B5EF4-FFF2-40B4-BE49-F238E27FC236}">
                <a16:creationId xmlns:a16="http://schemas.microsoft.com/office/drawing/2014/main" id="{FEE8D3EE-FE7C-C0A1-C4B2-61E7B17EB06D}"/>
              </a:ext>
            </a:extLst>
          </p:cNvPr>
          <p:cNvCxnSpPr>
            <a:cxnSpLocks/>
          </p:cNvCxnSpPr>
          <p:nvPr/>
        </p:nvCxnSpPr>
        <p:spPr>
          <a:xfrm>
            <a:off x="7137836" y="6250963"/>
            <a:ext cx="58982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C65B825-F8D9-6005-3E31-373ED07EB53D}"/>
              </a:ext>
            </a:extLst>
          </p:cNvPr>
          <p:cNvCxnSpPr>
            <a:cxnSpLocks/>
          </p:cNvCxnSpPr>
          <p:nvPr/>
        </p:nvCxnSpPr>
        <p:spPr>
          <a:xfrm flipV="1">
            <a:off x="7727657" y="3704829"/>
            <a:ext cx="0" cy="2546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Graphic 18" descr="Monitor with solid fill">
            <a:extLst>
              <a:ext uri="{FF2B5EF4-FFF2-40B4-BE49-F238E27FC236}">
                <a16:creationId xmlns:a16="http://schemas.microsoft.com/office/drawing/2014/main" id="{B82BFAED-DC4D-EB0D-C1BE-8FCD8A1A626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08425" y="2401720"/>
            <a:ext cx="582100" cy="582100"/>
          </a:xfrm>
          <a:prstGeom prst="rect">
            <a:avLst/>
          </a:prstGeom>
        </p:spPr>
      </p:pic>
      <p:sp>
        <p:nvSpPr>
          <p:cNvPr id="20" name="TextBox 19">
            <a:extLst>
              <a:ext uri="{FF2B5EF4-FFF2-40B4-BE49-F238E27FC236}">
                <a16:creationId xmlns:a16="http://schemas.microsoft.com/office/drawing/2014/main" id="{8A566CB9-29D7-C3C4-CA63-F521C306D794}"/>
              </a:ext>
            </a:extLst>
          </p:cNvPr>
          <p:cNvSpPr txBox="1"/>
          <p:nvPr/>
        </p:nvSpPr>
        <p:spPr>
          <a:xfrm>
            <a:off x="6813257" y="3012331"/>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Arial"/>
                <a:ea typeface="+mn-ea"/>
                <a:cs typeface="+mn-cs"/>
              </a:rPr>
              <a:t>Dev Box</a:t>
            </a:r>
            <a:br>
              <a:rPr kumimoji="0" lang="en-CA" sz="1800" b="0" i="0" u="none" strike="noStrike" kern="1200" cap="none" spc="0" normalizeH="0" baseline="0" noProof="0">
                <a:ln>
                  <a:noFill/>
                </a:ln>
                <a:solidFill>
                  <a:srgbClr val="FFFFFF"/>
                </a:solidFill>
                <a:effectLst/>
                <a:uLnTx/>
                <a:uFillTx/>
                <a:latin typeface="Arial"/>
                <a:ea typeface="+mn-ea"/>
                <a:cs typeface="+mn-cs"/>
              </a:rPr>
            </a:br>
            <a:r>
              <a:rPr kumimoji="0" lang="en-CA" sz="1800" b="0" i="0" u="none" strike="noStrike" kern="1200" cap="none" spc="0" normalizeH="0" baseline="0" noProof="0">
                <a:ln>
                  <a:noFill/>
                </a:ln>
                <a:solidFill>
                  <a:srgbClr val="FFFFFF"/>
                </a:solidFill>
                <a:effectLst/>
                <a:uLnTx/>
                <a:uFillTx/>
                <a:latin typeface="Arial"/>
                <a:ea typeface="+mn-ea"/>
                <a:cs typeface="+mn-cs"/>
              </a:rPr>
              <a:t>Definition(s)</a:t>
            </a:r>
          </a:p>
        </p:txBody>
      </p:sp>
      <p:cxnSp>
        <p:nvCxnSpPr>
          <p:cNvPr id="21" name="Straight Connector 20">
            <a:extLst>
              <a:ext uri="{FF2B5EF4-FFF2-40B4-BE49-F238E27FC236}">
                <a16:creationId xmlns:a16="http://schemas.microsoft.com/office/drawing/2014/main" id="{9B925F1E-8758-AF1B-96BE-3ABC3CCD65BF}"/>
              </a:ext>
            </a:extLst>
          </p:cNvPr>
          <p:cNvCxnSpPr>
            <a:cxnSpLocks/>
          </p:cNvCxnSpPr>
          <p:nvPr/>
        </p:nvCxnSpPr>
        <p:spPr>
          <a:xfrm flipH="1">
            <a:off x="6401423" y="2570707"/>
            <a:ext cx="6003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275AD8E-90C6-C7F7-EDA4-BB395486A3E1}"/>
              </a:ext>
            </a:extLst>
          </p:cNvPr>
          <p:cNvSpPr txBox="1"/>
          <p:nvPr/>
        </p:nvSpPr>
        <p:spPr>
          <a:xfrm>
            <a:off x="9653842" y="2420928"/>
            <a:ext cx="18288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Arial"/>
                <a:ea typeface="+mn-ea"/>
                <a:cs typeface="+mn-cs"/>
              </a:rPr>
              <a:t>SKU(s)</a:t>
            </a:r>
          </a:p>
        </p:txBody>
      </p:sp>
      <p:pic>
        <p:nvPicPr>
          <p:cNvPr id="23" name="Graphic 22" descr="Processor with solid fill">
            <a:extLst>
              <a:ext uri="{FF2B5EF4-FFF2-40B4-BE49-F238E27FC236}">
                <a16:creationId xmlns:a16="http://schemas.microsoft.com/office/drawing/2014/main" id="{66533A70-1480-638E-C2AB-942C3DEE4E0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40512" y="2292264"/>
            <a:ext cx="626660" cy="626660"/>
          </a:xfrm>
          <a:prstGeom prst="rect">
            <a:avLst/>
          </a:prstGeom>
        </p:spPr>
      </p:pic>
      <p:cxnSp>
        <p:nvCxnSpPr>
          <p:cNvPr id="24" name="Straight Connector 23">
            <a:extLst>
              <a:ext uri="{FF2B5EF4-FFF2-40B4-BE49-F238E27FC236}">
                <a16:creationId xmlns:a16="http://schemas.microsoft.com/office/drawing/2014/main" id="{62D3A90D-D7F4-92EA-0F71-C00B9FC3948F}"/>
              </a:ext>
            </a:extLst>
          </p:cNvPr>
          <p:cNvCxnSpPr>
            <a:cxnSpLocks/>
          </p:cNvCxnSpPr>
          <p:nvPr/>
        </p:nvCxnSpPr>
        <p:spPr>
          <a:xfrm>
            <a:off x="8231793" y="2605594"/>
            <a:ext cx="10317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51C2C36-63D1-A4E4-970D-600E5E1A1339}"/>
              </a:ext>
            </a:extLst>
          </p:cNvPr>
          <p:cNvCxnSpPr>
            <a:cxnSpLocks/>
          </p:cNvCxnSpPr>
          <p:nvPr/>
        </p:nvCxnSpPr>
        <p:spPr>
          <a:xfrm>
            <a:off x="3856992" y="4894437"/>
            <a:ext cx="1611751" cy="1193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6" name="Graphic 25" descr="Rope Knot with solid fill">
            <a:extLst>
              <a:ext uri="{FF2B5EF4-FFF2-40B4-BE49-F238E27FC236}">
                <a16:creationId xmlns:a16="http://schemas.microsoft.com/office/drawing/2014/main" id="{E5768CF9-21B6-3AEE-CC3C-CEFDA11CBB1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224228" y="4147331"/>
            <a:ext cx="626660" cy="626660"/>
          </a:xfrm>
          <a:prstGeom prst="rect">
            <a:avLst/>
          </a:prstGeom>
        </p:spPr>
      </p:pic>
      <p:sp>
        <p:nvSpPr>
          <p:cNvPr id="27" name="TextBox 26">
            <a:extLst>
              <a:ext uri="{FF2B5EF4-FFF2-40B4-BE49-F238E27FC236}">
                <a16:creationId xmlns:a16="http://schemas.microsoft.com/office/drawing/2014/main" id="{5938A4C8-2452-AF7A-0803-AD949DA5DEBC}"/>
              </a:ext>
            </a:extLst>
          </p:cNvPr>
          <p:cNvSpPr txBox="1"/>
          <p:nvPr/>
        </p:nvSpPr>
        <p:spPr>
          <a:xfrm>
            <a:off x="1310633" y="4123221"/>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Arial"/>
                <a:ea typeface="+mn-ea"/>
                <a:cs typeface="+mn-cs"/>
              </a:rPr>
              <a:t>Network Connection</a:t>
            </a:r>
          </a:p>
        </p:txBody>
      </p:sp>
      <p:cxnSp>
        <p:nvCxnSpPr>
          <p:cNvPr id="28" name="Straight Connector 27">
            <a:extLst>
              <a:ext uri="{FF2B5EF4-FFF2-40B4-BE49-F238E27FC236}">
                <a16:creationId xmlns:a16="http://schemas.microsoft.com/office/drawing/2014/main" id="{40E9793E-C1EF-8C41-D347-8844343018E2}"/>
              </a:ext>
            </a:extLst>
          </p:cNvPr>
          <p:cNvCxnSpPr>
            <a:cxnSpLocks/>
            <a:stCxn id="6" idx="1"/>
          </p:cNvCxnSpPr>
          <p:nvPr/>
        </p:nvCxnSpPr>
        <p:spPr>
          <a:xfrm flipH="1">
            <a:off x="3941919" y="2570707"/>
            <a:ext cx="1526824" cy="151640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09A9D77-2BCA-4245-EE99-530BCCFA34ED}"/>
              </a:ext>
            </a:extLst>
          </p:cNvPr>
          <p:cNvSpPr txBox="1"/>
          <p:nvPr/>
        </p:nvSpPr>
        <p:spPr>
          <a:xfrm>
            <a:off x="1400045" y="2257832"/>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Arial"/>
                <a:ea typeface="+mn-ea"/>
                <a:cs typeface="+mn-cs"/>
              </a:rPr>
              <a:t>Virtual</a:t>
            </a:r>
            <a:br>
              <a:rPr kumimoji="0" lang="en-CA" sz="1800" b="0" i="0" u="none" strike="noStrike" kern="1200" cap="none" spc="0" normalizeH="0" baseline="0" noProof="0">
                <a:ln>
                  <a:noFill/>
                </a:ln>
                <a:solidFill>
                  <a:srgbClr val="FFFFFF"/>
                </a:solidFill>
                <a:effectLst/>
                <a:uLnTx/>
                <a:uFillTx/>
                <a:latin typeface="Arial"/>
                <a:ea typeface="+mn-ea"/>
                <a:cs typeface="+mn-cs"/>
              </a:rPr>
            </a:br>
            <a:r>
              <a:rPr kumimoji="0" lang="en-CA" sz="1800" b="0" i="0" u="none" strike="noStrike" kern="1200" cap="none" spc="0" normalizeH="0" baseline="0" noProof="0">
                <a:ln>
                  <a:noFill/>
                </a:ln>
                <a:solidFill>
                  <a:srgbClr val="FFFFFF"/>
                </a:solidFill>
                <a:effectLst/>
                <a:uLnTx/>
                <a:uFillTx/>
                <a:latin typeface="Arial"/>
                <a:ea typeface="+mn-ea"/>
                <a:cs typeface="+mn-cs"/>
              </a:rPr>
              <a:t>Network</a:t>
            </a:r>
          </a:p>
        </p:txBody>
      </p:sp>
      <p:pic>
        <p:nvPicPr>
          <p:cNvPr id="30" name="Graphic 29" descr="Ethernet with solid fill">
            <a:extLst>
              <a:ext uri="{FF2B5EF4-FFF2-40B4-BE49-F238E27FC236}">
                <a16:creationId xmlns:a16="http://schemas.microsoft.com/office/drawing/2014/main" id="{3DA8FCE7-958F-A233-CED8-FEA5CC26B34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078267" y="2097924"/>
            <a:ext cx="914400" cy="914400"/>
          </a:xfrm>
          <a:prstGeom prst="rect">
            <a:avLst/>
          </a:prstGeom>
        </p:spPr>
      </p:pic>
      <p:cxnSp>
        <p:nvCxnSpPr>
          <p:cNvPr id="31" name="Straight Connector 30">
            <a:extLst>
              <a:ext uri="{FF2B5EF4-FFF2-40B4-BE49-F238E27FC236}">
                <a16:creationId xmlns:a16="http://schemas.microsoft.com/office/drawing/2014/main" id="{76C758EF-0C44-A8EB-FAE7-628F1ECBA03E}"/>
              </a:ext>
            </a:extLst>
          </p:cNvPr>
          <p:cNvCxnSpPr>
            <a:cxnSpLocks/>
            <a:stCxn id="30" idx="2"/>
          </p:cNvCxnSpPr>
          <p:nvPr/>
        </p:nvCxnSpPr>
        <p:spPr>
          <a:xfrm flipH="1">
            <a:off x="3531667" y="3012324"/>
            <a:ext cx="3800" cy="108507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A84ACD2-AB2A-C7D6-A101-C738D867915D}"/>
              </a:ext>
            </a:extLst>
          </p:cNvPr>
          <p:cNvCxnSpPr>
            <a:cxnSpLocks/>
          </p:cNvCxnSpPr>
          <p:nvPr/>
        </p:nvCxnSpPr>
        <p:spPr>
          <a:xfrm>
            <a:off x="8231793" y="2802213"/>
            <a:ext cx="1031700" cy="7526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3" name="Graphic 32" descr="Optical disc with solid fill">
            <a:extLst>
              <a:ext uri="{FF2B5EF4-FFF2-40B4-BE49-F238E27FC236}">
                <a16:creationId xmlns:a16="http://schemas.microsoft.com/office/drawing/2014/main" id="{CB140560-A11E-D2A7-A8B5-3C37628C568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6191" y="3383666"/>
            <a:ext cx="549992" cy="549992"/>
          </a:xfrm>
          <a:prstGeom prst="rect">
            <a:avLst/>
          </a:prstGeom>
        </p:spPr>
      </p:pic>
      <p:sp>
        <p:nvSpPr>
          <p:cNvPr id="34" name="TextBox 33">
            <a:extLst>
              <a:ext uri="{FF2B5EF4-FFF2-40B4-BE49-F238E27FC236}">
                <a16:creationId xmlns:a16="http://schemas.microsoft.com/office/drawing/2014/main" id="{23C1F0B5-4058-1AA0-EE8C-3D62DB601E58}"/>
              </a:ext>
            </a:extLst>
          </p:cNvPr>
          <p:cNvSpPr txBox="1"/>
          <p:nvPr/>
        </p:nvSpPr>
        <p:spPr>
          <a:xfrm>
            <a:off x="9740543" y="3500706"/>
            <a:ext cx="18288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Arial"/>
                <a:ea typeface="+mn-ea"/>
                <a:cs typeface="+mn-cs"/>
              </a:rPr>
              <a:t>Image</a:t>
            </a:r>
          </a:p>
        </p:txBody>
      </p:sp>
      <p:cxnSp>
        <p:nvCxnSpPr>
          <p:cNvPr id="35" name="Straight Connector 34">
            <a:extLst>
              <a:ext uri="{FF2B5EF4-FFF2-40B4-BE49-F238E27FC236}">
                <a16:creationId xmlns:a16="http://schemas.microsoft.com/office/drawing/2014/main" id="{5158EAF5-9304-4013-9B11-1AC32CF3F004}"/>
              </a:ext>
            </a:extLst>
          </p:cNvPr>
          <p:cNvCxnSpPr>
            <a:cxnSpLocks/>
          </p:cNvCxnSpPr>
          <p:nvPr/>
        </p:nvCxnSpPr>
        <p:spPr>
          <a:xfrm>
            <a:off x="9653842" y="4011996"/>
            <a:ext cx="7345" cy="115764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6" name="Graphic 35" descr="Database with solid fill">
            <a:extLst>
              <a:ext uri="{FF2B5EF4-FFF2-40B4-BE49-F238E27FC236}">
                <a16:creationId xmlns:a16="http://schemas.microsoft.com/office/drawing/2014/main" id="{021DBBC8-77D3-635B-E4CC-FDDB615B470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08536" y="5382719"/>
            <a:ext cx="705302" cy="705302"/>
          </a:xfrm>
          <a:prstGeom prst="rect">
            <a:avLst/>
          </a:prstGeom>
        </p:spPr>
      </p:pic>
      <p:sp>
        <p:nvSpPr>
          <p:cNvPr id="37" name="TextBox 36">
            <a:extLst>
              <a:ext uri="{FF2B5EF4-FFF2-40B4-BE49-F238E27FC236}">
                <a16:creationId xmlns:a16="http://schemas.microsoft.com/office/drawing/2014/main" id="{92C2A956-5327-320D-903F-A780CA80AB13}"/>
              </a:ext>
            </a:extLst>
          </p:cNvPr>
          <p:cNvSpPr txBox="1"/>
          <p:nvPr/>
        </p:nvSpPr>
        <p:spPr>
          <a:xfrm>
            <a:off x="9765916" y="5441690"/>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Arial"/>
                <a:ea typeface="+mn-ea"/>
                <a:cs typeface="+mn-cs"/>
              </a:rPr>
              <a:t>Compute</a:t>
            </a:r>
            <a:br>
              <a:rPr kumimoji="0" lang="en-CA" sz="1800" b="0" i="0" u="none" strike="noStrike" kern="1200" cap="none" spc="0" normalizeH="0" baseline="0" noProof="0">
                <a:ln>
                  <a:noFill/>
                </a:ln>
                <a:solidFill>
                  <a:srgbClr val="FFFFFF"/>
                </a:solidFill>
                <a:effectLst/>
                <a:uLnTx/>
                <a:uFillTx/>
                <a:latin typeface="Arial"/>
                <a:ea typeface="+mn-ea"/>
                <a:cs typeface="+mn-cs"/>
              </a:rPr>
            </a:br>
            <a:r>
              <a:rPr kumimoji="0" lang="en-CA" sz="1800" b="0" i="0" u="none" strike="noStrike" kern="1200" cap="none" spc="0" normalizeH="0" baseline="0" noProof="0">
                <a:ln>
                  <a:noFill/>
                </a:ln>
                <a:solidFill>
                  <a:srgbClr val="FFFFFF"/>
                </a:solidFill>
                <a:effectLst/>
                <a:uLnTx/>
                <a:uFillTx/>
                <a:latin typeface="Arial"/>
                <a:ea typeface="+mn-ea"/>
                <a:cs typeface="+mn-cs"/>
              </a:rPr>
              <a:t>Gallery</a:t>
            </a:r>
          </a:p>
        </p:txBody>
      </p:sp>
      <p:pic>
        <p:nvPicPr>
          <p:cNvPr id="38" name="Graphic 37" descr="Key with solid fill">
            <a:extLst>
              <a:ext uri="{FF2B5EF4-FFF2-40B4-BE49-F238E27FC236}">
                <a16:creationId xmlns:a16="http://schemas.microsoft.com/office/drawing/2014/main" id="{33A1D61E-743E-7FEC-AA03-5F9CCBBDA3B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rot="2662717">
            <a:off x="5177750" y="1799665"/>
            <a:ext cx="287940" cy="287940"/>
          </a:xfrm>
          <a:prstGeom prst="rect">
            <a:avLst/>
          </a:prstGeom>
        </p:spPr>
      </p:pic>
      <p:sp>
        <p:nvSpPr>
          <p:cNvPr id="39" name="TextBox 38">
            <a:extLst>
              <a:ext uri="{FF2B5EF4-FFF2-40B4-BE49-F238E27FC236}">
                <a16:creationId xmlns:a16="http://schemas.microsoft.com/office/drawing/2014/main" id="{F842A974-C5E9-78DF-84AC-C57A12448088}"/>
              </a:ext>
            </a:extLst>
          </p:cNvPr>
          <p:cNvSpPr txBox="1"/>
          <p:nvPr/>
        </p:nvSpPr>
        <p:spPr>
          <a:xfrm>
            <a:off x="5468743" y="1766235"/>
            <a:ext cx="293361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a:ln>
                  <a:noFill/>
                </a:ln>
                <a:solidFill>
                  <a:srgbClr val="FFC000"/>
                </a:solidFill>
                <a:effectLst/>
                <a:uLnTx/>
                <a:uFillTx/>
                <a:latin typeface="Arial"/>
                <a:ea typeface="+mn-ea"/>
                <a:cs typeface="+mn-cs"/>
              </a:rPr>
              <a:t>Managed Identity</a:t>
            </a:r>
          </a:p>
        </p:txBody>
      </p:sp>
      <p:cxnSp>
        <p:nvCxnSpPr>
          <p:cNvPr id="40" name="Straight Connector 39">
            <a:extLst>
              <a:ext uri="{FF2B5EF4-FFF2-40B4-BE49-F238E27FC236}">
                <a16:creationId xmlns:a16="http://schemas.microsoft.com/office/drawing/2014/main" id="{0A98F294-346C-FD8D-CA72-6B5B1734737D}"/>
              </a:ext>
            </a:extLst>
          </p:cNvPr>
          <p:cNvCxnSpPr>
            <a:cxnSpLocks/>
          </p:cNvCxnSpPr>
          <p:nvPr/>
        </p:nvCxnSpPr>
        <p:spPr>
          <a:xfrm>
            <a:off x="3224228" y="6250963"/>
            <a:ext cx="21067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Graphic 40" descr="Monitor with solid fill">
            <a:extLst>
              <a:ext uri="{FF2B5EF4-FFF2-40B4-BE49-F238E27FC236}">
                <a16:creationId xmlns:a16="http://schemas.microsoft.com/office/drawing/2014/main" id="{72AEF191-83BD-B468-B82E-163DE0740A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64442" y="5987596"/>
            <a:ext cx="582100" cy="582100"/>
          </a:xfrm>
          <a:prstGeom prst="rect">
            <a:avLst/>
          </a:prstGeom>
        </p:spPr>
      </p:pic>
      <p:sp>
        <p:nvSpPr>
          <p:cNvPr id="42" name="TextBox 41">
            <a:extLst>
              <a:ext uri="{FF2B5EF4-FFF2-40B4-BE49-F238E27FC236}">
                <a16:creationId xmlns:a16="http://schemas.microsoft.com/office/drawing/2014/main" id="{87066DB1-8E9A-6723-BFF3-1CB26845F5C6}"/>
              </a:ext>
            </a:extLst>
          </p:cNvPr>
          <p:cNvSpPr txBox="1"/>
          <p:nvPr/>
        </p:nvSpPr>
        <p:spPr>
          <a:xfrm>
            <a:off x="920017" y="5935169"/>
            <a:ext cx="1828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Arial"/>
                <a:ea typeface="+mn-ea"/>
                <a:cs typeface="+mn-cs"/>
              </a:rPr>
              <a:t>Dev </a:t>
            </a:r>
            <a:br>
              <a:rPr kumimoji="0" lang="en-CA" sz="1800" b="0" i="0" u="none" strike="noStrike" kern="1200" cap="none" spc="0" normalizeH="0" baseline="0" noProof="0">
                <a:ln>
                  <a:noFill/>
                </a:ln>
                <a:solidFill>
                  <a:srgbClr val="FFFFFF"/>
                </a:solidFill>
                <a:effectLst/>
                <a:uLnTx/>
                <a:uFillTx/>
                <a:latin typeface="Arial"/>
                <a:ea typeface="+mn-ea"/>
                <a:cs typeface="+mn-cs"/>
              </a:rPr>
            </a:br>
            <a:r>
              <a:rPr kumimoji="0" lang="en-CA" sz="1800" b="0" i="0" u="none" strike="noStrike" kern="1200" cap="none" spc="0" normalizeH="0" baseline="0" noProof="0">
                <a:ln>
                  <a:noFill/>
                </a:ln>
                <a:solidFill>
                  <a:srgbClr val="FFFFFF"/>
                </a:solidFill>
                <a:effectLst/>
                <a:uLnTx/>
                <a:uFillTx/>
                <a:latin typeface="Arial"/>
                <a:ea typeface="+mn-ea"/>
                <a:cs typeface="+mn-cs"/>
              </a:rPr>
              <a:t>Box(es)</a:t>
            </a:r>
          </a:p>
        </p:txBody>
      </p:sp>
    </p:spTree>
    <p:custDataLst>
      <p:tags r:id="rId1"/>
    </p:custDataLst>
    <p:extLst>
      <p:ext uri="{BB962C8B-B14F-4D97-AF65-F5344CB8AC3E}">
        <p14:creationId xmlns:p14="http://schemas.microsoft.com/office/powerpoint/2010/main" val="315853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nodeType="with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par>
                                <p:cTn id="39" presetID="10" presetClass="entr" presetSubtype="0" fill="hold" nodeType="with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500"/>
                                        <p:tgtEl>
                                          <p:spTgt spid="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4"/>
                                        </p:tgtEl>
                                        <p:attrNameLst>
                                          <p:attrName>style.visibility</p:attrName>
                                        </p:attrNameLst>
                                      </p:cBhvr>
                                      <p:to>
                                        <p:strVal val="visible"/>
                                      </p:to>
                                    </p:set>
                                    <p:animEffect transition="in" filter="fade">
                                      <p:cBhvr>
                                        <p:cTn id="46" dur="500"/>
                                        <p:tgtEl>
                                          <p:spTgt spid="24"/>
                                        </p:tgtEl>
                                      </p:cBhvr>
                                    </p:animEffect>
                                  </p:childTnLst>
                                </p:cTn>
                              </p:par>
                              <p:par>
                                <p:cTn id="47" presetID="10" presetClass="entr" presetSubtype="0" fill="hold" nodeType="withEffect">
                                  <p:stCondLst>
                                    <p:cond delay="0"/>
                                  </p:stCondLst>
                                  <p:childTnLst>
                                    <p:set>
                                      <p:cBhvr>
                                        <p:cTn id="48" dur="1" fill="hold">
                                          <p:stCondLst>
                                            <p:cond delay="0"/>
                                          </p:stCondLst>
                                        </p:cTn>
                                        <p:tgtEl>
                                          <p:spTgt spid="23"/>
                                        </p:tgtEl>
                                        <p:attrNameLst>
                                          <p:attrName>style.visibility</p:attrName>
                                        </p:attrNameLst>
                                      </p:cBhvr>
                                      <p:to>
                                        <p:strVal val="visible"/>
                                      </p:to>
                                    </p:set>
                                    <p:animEffect transition="in" filter="fade">
                                      <p:cBhvr>
                                        <p:cTn id="49" dur="500"/>
                                        <p:tgtEl>
                                          <p:spTgt spid="2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2"/>
                                        </p:tgtEl>
                                        <p:attrNameLst>
                                          <p:attrName>style.visibility</p:attrName>
                                        </p:attrNameLst>
                                      </p:cBhvr>
                                      <p:to>
                                        <p:strVal val="visible"/>
                                      </p:to>
                                    </p:set>
                                    <p:animEffect transition="in" filter="fade">
                                      <p:cBhvr>
                                        <p:cTn id="57" dur="500"/>
                                        <p:tgtEl>
                                          <p:spTgt spid="32"/>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4"/>
                                        </p:tgtEl>
                                        <p:attrNameLst>
                                          <p:attrName>style.visibility</p:attrName>
                                        </p:attrNameLst>
                                      </p:cBhvr>
                                      <p:to>
                                        <p:strVal val="visible"/>
                                      </p:to>
                                    </p:set>
                                    <p:animEffect transition="in" filter="fade">
                                      <p:cBhvr>
                                        <p:cTn id="60" dur="500"/>
                                        <p:tgtEl>
                                          <p:spTgt spid="34"/>
                                        </p:tgtEl>
                                      </p:cBhvr>
                                    </p:animEffect>
                                  </p:childTnLst>
                                </p:cTn>
                              </p:par>
                              <p:par>
                                <p:cTn id="61" presetID="10" presetClass="entr" presetSubtype="0" fill="hold" nodeType="with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500"/>
                                        <p:tgtEl>
                                          <p:spTgt spid="33"/>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fade">
                                      <p:cBhvr>
                                        <p:cTn id="68" dur="500"/>
                                        <p:tgtEl>
                                          <p:spTgt spid="39"/>
                                        </p:tgtEl>
                                      </p:cBhvr>
                                    </p:animEffect>
                                  </p:childTnLst>
                                </p:cTn>
                              </p:par>
                              <p:par>
                                <p:cTn id="69" presetID="10" presetClass="entr" presetSubtype="0" fill="hold" nodeType="with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500"/>
                                        <p:tgtEl>
                                          <p:spTgt spid="38"/>
                                        </p:tgtEl>
                                      </p:cBhvr>
                                    </p:animEffect>
                                  </p:childTnLst>
                                </p:cTn>
                              </p:par>
                              <p:par>
                                <p:cTn id="72" presetID="10" presetClass="entr" presetSubtype="0" fill="hold" nodeType="withEffect">
                                  <p:stCondLst>
                                    <p:cond delay="0"/>
                                  </p:stCondLst>
                                  <p:childTnLst>
                                    <p:set>
                                      <p:cBhvr>
                                        <p:cTn id="73" dur="1" fill="hold">
                                          <p:stCondLst>
                                            <p:cond delay="0"/>
                                          </p:stCondLst>
                                        </p:cTn>
                                        <p:tgtEl>
                                          <p:spTgt spid="35"/>
                                        </p:tgtEl>
                                        <p:attrNameLst>
                                          <p:attrName>style.visibility</p:attrName>
                                        </p:attrNameLst>
                                      </p:cBhvr>
                                      <p:to>
                                        <p:strVal val="visible"/>
                                      </p:to>
                                    </p:set>
                                    <p:animEffect transition="in" filter="fade">
                                      <p:cBhvr>
                                        <p:cTn id="74" dur="500"/>
                                        <p:tgtEl>
                                          <p:spTgt spid="35"/>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7"/>
                                        </p:tgtEl>
                                        <p:attrNameLst>
                                          <p:attrName>style.visibility</p:attrName>
                                        </p:attrNameLst>
                                      </p:cBhvr>
                                      <p:to>
                                        <p:strVal val="visible"/>
                                      </p:to>
                                    </p:set>
                                    <p:animEffect transition="in" filter="fade">
                                      <p:cBhvr>
                                        <p:cTn id="77" dur="500"/>
                                        <p:tgtEl>
                                          <p:spTgt spid="37"/>
                                        </p:tgtEl>
                                      </p:cBhvr>
                                    </p:animEffect>
                                  </p:childTnLst>
                                </p:cTn>
                              </p:par>
                              <p:par>
                                <p:cTn id="78" presetID="10" presetClass="entr" presetSubtype="0" fill="hold" nodeType="with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fade">
                                      <p:cBhvr>
                                        <p:cTn id="80" dur="500"/>
                                        <p:tgtEl>
                                          <p:spTgt spid="36"/>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30"/>
                                        </p:tgtEl>
                                        <p:attrNameLst>
                                          <p:attrName>style.visibility</p:attrName>
                                        </p:attrNameLst>
                                      </p:cBhvr>
                                      <p:to>
                                        <p:strVal val="visible"/>
                                      </p:to>
                                    </p:set>
                                    <p:animEffect transition="in" filter="fade">
                                      <p:cBhvr>
                                        <p:cTn id="85" dur="500"/>
                                        <p:tgtEl>
                                          <p:spTgt spid="3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9"/>
                                        </p:tgtEl>
                                        <p:attrNameLst>
                                          <p:attrName>style.visibility</p:attrName>
                                        </p:attrNameLst>
                                      </p:cBhvr>
                                      <p:to>
                                        <p:strVal val="visible"/>
                                      </p:to>
                                    </p:set>
                                    <p:animEffect transition="in" filter="fade">
                                      <p:cBhvr>
                                        <p:cTn id="88" dur="500"/>
                                        <p:tgtEl>
                                          <p:spTgt spid="29"/>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31"/>
                                        </p:tgtEl>
                                        <p:attrNameLst>
                                          <p:attrName>style.visibility</p:attrName>
                                        </p:attrNameLst>
                                      </p:cBhvr>
                                      <p:to>
                                        <p:strVal val="visible"/>
                                      </p:to>
                                    </p:set>
                                    <p:animEffect transition="in" filter="fade">
                                      <p:cBhvr>
                                        <p:cTn id="93" dur="500"/>
                                        <p:tgtEl>
                                          <p:spTgt spid="31"/>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7"/>
                                        </p:tgtEl>
                                        <p:attrNameLst>
                                          <p:attrName>style.visibility</p:attrName>
                                        </p:attrNameLst>
                                      </p:cBhvr>
                                      <p:to>
                                        <p:strVal val="visible"/>
                                      </p:to>
                                    </p:set>
                                    <p:animEffect transition="in" filter="fade">
                                      <p:cBhvr>
                                        <p:cTn id="96" dur="500"/>
                                        <p:tgtEl>
                                          <p:spTgt spid="27"/>
                                        </p:tgtEl>
                                      </p:cBhvr>
                                    </p:animEffect>
                                  </p:childTnLst>
                                </p:cTn>
                              </p:par>
                              <p:par>
                                <p:cTn id="97" presetID="10" presetClass="entr" presetSubtype="0" fill="hold" nodeType="withEffect">
                                  <p:stCondLst>
                                    <p:cond delay="0"/>
                                  </p:stCondLst>
                                  <p:childTnLst>
                                    <p:set>
                                      <p:cBhvr>
                                        <p:cTn id="98" dur="1" fill="hold">
                                          <p:stCondLst>
                                            <p:cond delay="0"/>
                                          </p:stCondLst>
                                        </p:cTn>
                                        <p:tgtEl>
                                          <p:spTgt spid="26"/>
                                        </p:tgtEl>
                                        <p:attrNameLst>
                                          <p:attrName>style.visibility</p:attrName>
                                        </p:attrNameLst>
                                      </p:cBhvr>
                                      <p:to>
                                        <p:strVal val="visible"/>
                                      </p:to>
                                    </p:set>
                                    <p:animEffect transition="in" filter="fade">
                                      <p:cBhvr>
                                        <p:cTn id="99" dur="500"/>
                                        <p:tgtEl>
                                          <p:spTgt spid="26"/>
                                        </p:tgtEl>
                                      </p:cBhvr>
                                    </p:animEffect>
                                  </p:childTnLst>
                                </p:cTn>
                              </p:par>
                              <p:par>
                                <p:cTn id="100" presetID="10" presetClass="entr" presetSubtype="0" fill="hold" nodeType="withEffect">
                                  <p:stCondLst>
                                    <p:cond delay="0"/>
                                  </p:stCondLst>
                                  <p:childTnLst>
                                    <p:set>
                                      <p:cBhvr>
                                        <p:cTn id="101" dur="1" fill="hold">
                                          <p:stCondLst>
                                            <p:cond delay="0"/>
                                          </p:stCondLst>
                                        </p:cTn>
                                        <p:tgtEl>
                                          <p:spTgt spid="28"/>
                                        </p:tgtEl>
                                        <p:attrNameLst>
                                          <p:attrName>style.visibility</p:attrName>
                                        </p:attrNameLst>
                                      </p:cBhvr>
                                      <p:to>
                                        <p:strVal val="visible"/>
                                      </p:to>
                                    </p:set>
                                    <p:animEffect transition="in" filter="fade">
                                      <p:cBhvr>
                                        <p:cTn id="102" dur="500"/>
                                        <p:tgtEl>
                                          <p:spTgt spid="28"/>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16"/>
                                        </p:tgtEl>
                                        <p:attrNameLst>
                                          <p:attrName>style.visibility</p:attrName>
                                        </p:attrNameLst>
                                      </p:cBhvr>
                                      <p:to>
                                        <p:strVal val="visible"/>
                                      </p:to>
                                    </p:set>
                                    <p:animEffect transition="in" filter="fade">
                                      <p:cBhvr>
                                        <p:cTn id="107" dur="500"/>
                                        <p:tgtEl>
                                          <p:spTgt spid="16"/>
                                        </p:tgtEl>
                                      </p:cBhvr>
                                    </p:animEffect>
                                  </p:childTnLst>
                                </p:cTn>
                              </p:par>
                              <p:par>
                                <p:cTn id="108" presetID="10" presetClass="entr" presetSubtype="0" fill="hold" nodeType="withEffect">
                                  <p:stCondLst>
                                    <p:cond delay="0"/>
                                  </p:stCondLst>
                                  <p:childTnLst>
                                    <p:set>
                                      <p:cBhvr>
                                        <p:cTn id="109" dur="1" fill="hold">
                                          <p:stCondLst>
                                            <p:cond delay="0"/>
                                          </p:stCondLst>
                                        </p:cTn>
                                        <p:tgtEl>
                                          <p:spTgt spid="15"/>
                                        </p:tgtEl>
                                        <p:attrNameLst>
                                          <p:attrName>style.visibility</p:attrName>
                                        </p:attrNameLst>
                                      </p:cBhvr>
                                      <p:to>
                                        <p:strVal val="visible"/>
                                      </p:to>
                                    </p:set>
                                    <p:animEffect transition="in" filter="fade">
                                      <p:cBhvr>
                                        <p:cTn id="110" dur="500"/>
                                        <p:tgtEl>
                                          <p:spTgt spid="15"/>
                                        </p:tgtEl>
                                      </p:cBhvr>
                                    </p:animEffect>
                                  </p:childTnLst>
                                </p:cTn>
                              </p:par>
                              <p:par>
                                <p:cTn id="111" presetID="10" presetClass="entr" presetSubtype="0" fill="hold" nodeType="withEffect">
                                  <p:stCondLst>
                                    <p:cond delay="0"/>
                                  </p:stCondLst>
                                  <p:childTnLst>
                                    <p:set>
                                      <p:cBhvr>
                                        <p:cTn id="112" dur="1" fill="hold">
                                          <p:stCondLst>
                                            <p:cond delay="0"/>
                                          </p:stCondLst>
                                        </p:cTn>
                                        <p:tgtEl>
                                          <p:spTgt spid="14"/>
                                        </p:tgtEl>
                                        <p:attrNameLst>
                                          <p:attrName>style.visibility</p:attrName>
                                        </p:attrNameLst>
                                      </p:cBhvr>
                                      <p:to>
                                        <p:strVal val="visible"/>
                                      </p:to>
                                    </p:set>
                                    <p:animEffect transition="in" filter="fade">
                                      <p:cBhvr>
                                        <p:cTn id="113" dur="500"/>
                                        <p:tgtEl>
                                          <p:spTgt spid="14"/>
                                        </p:tgtEl>
                                      </p:cBhvr>
                                    </p:animEffect>
                                  </p:childTnLst>
                                </p:cTn>
                              </p:par>
                              <p:par>
                                <p:cTn id="114" presetID="10" presetClass="entr" presetSubtype="0" fill="hold" nodeType="withEffect">
                                  <p:stCondLst>
                                    <p:cond delay="0"/>
                                  </p:stCondLst>
                                  <p:childTnLst>
                                    <p:set>
                                      <p:cBhvr>
                                        <p:cTn id="115" dur="1" fill="hold">
                                          <p:stCondLst>
                                            <p:cond delay="0"/>
                                          </p:stCondLst>
                                        </p:cTn>
                                        <p:tgtEl>
                                          <p:spTgt spid="17"/>
                                        </p:tgtEl>
                                        <p:attrNameLst>
                                          <p:attrName>style.visibility</p:attrName>
                                        </p:attrNameLst>
                                      </p:cBhvr>
                                      <p:to>
                                        <p:strVal val="visible"/>
                                      </p:to>
                                    </p:set>
                                    <p:animEffect transition="in" filter="fade">
                                      <p:cBhvr>
                                        <p:cTn id="116" dur="500"/>
                                        <p:tgtEl>
                                          <p:spTgt spid="17"/>
                                        </p:tgtEl>
                                      </p:cBhvr>
                                    </p:animEffect>
                                  </p:childTnLst>
                                </p:cTn>
                              </p:par>
                              <p:par>
                                <p:cTn id="117" presetID="10" presetClass="entr" presetSubtype="0" fill="hold" nodeType="withEffect">
                                  <p:stCondLst>
                                    <p:cond delay="0"/>
                                  </p:stCondLst>
                                  <p:childTnLst>
                                    <p:set>
                                      <p:cBhvr>
                                        <p:cTn id="118" dur="1" fill="hold">
                                          <p:stCondLst>
                                            <p:cond delay="0"/>
                                          </p:stCondLst>
                                        </p:cTn>
                                        <p:tgtEl>
                                          <p:spTgt spid="18"/>
                                        </p:tgtEl>
                                        <p:attrNameLst>
                                          <p:attrName>style.visibility</p:attrName>
                                        </p:attrNameLst>
                                      </p:cBhvr>
                                      <p:to>
                                        <p:strVal val="visible"/>
                                      </p:to>
                                    </p:set>
                                    <p:animEffect transition="in" filter="fade">
                                      <p:cBhvr>
                                        <p:cTn id="119" dur="500"/>
                                        <p:tgtEl>
                                          <p:spTgt spid="18"/>
                                        </p:tgtEl>
                                      </p:cBhvr>
                                    </p:animEffect>
                                  </p:childTnLst>
                                </p:cTn>
                              </p:par>
                              <p:par>
                                <p:cTn id="120" presetID="10" presetClass="entr" presetSubtype="0" fill="hold" nodeType="withEffect">
                                  <p:stCondLst>
                                    <p:cond delay="0"/>
                                  </p:stCondLst>
                                  <p:childTnLst>
                                    <p:set>
                                      <p:cBhvr>
                                        <p:cTn id="121" dur="1" fill="hold">
                                          <p:stCondLst>
                                            <p:cond delay="0"/>
                                          </p:stCondLst>
                                        </p:cTn>
                                        <p:tgtEl>
                                          <p:spTgt spid="25"/>
                                        </p:tgtEl>
                                        <p:attrNameLst>
                                          <p:attrName>style.visibility</p:attrName>
                                        </p:attrNameLst>
                                      </p:cBhvr>
                                      <p:to>
                                        <p:strVal val="visible"/>
                                      </p:to>
                                    </p:set>
                                    <p:animEffect transition="in" filter="fade">
                                      <p:cBhvr>
                                        <p:cTn id="122" dur="500"/>
                                        <p:tgtEl>
                                          <p:spTgt spid="25"/>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nodeType="clickEffect">
                                  <p:stCondLst>
                                    <p:cond delay="0"/>
                                  </p:stCondLst>
                                  <p:childTnLst>
                                    <p:set>
                                      <p:cBhvr>
                                        <p:cTn id="126" dur="1" fill="hold">
                                          <p:stCondLst>
                                            <p:cond delay="0"/>
                                          </p:stCondLst>
                                        </p:cTn>
                                        <p:tgtEl>
                                          <p:spTgt spid="40"/>
                                        </p:tgtEl>
                                        <p:attrNameLst>
                                          <p:attrName>style.visibility</p:attrName>
                                        </p:attrNameLst>
                                      </p:cBhvr>
                                      <p:to>
                                        <p:strVal val="visible"/>
                                      </p:to>
                                    </p:set>
                                    <p:animEffect transition="in" filter="fade">
                                      <p:cBhvr>
                                        <p:cTn id="127" dur="500"/>
                                        <p:tgtEl>
                                          <p:spTgt spid="40"/>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42"/>
                                        </p:tgtEl>
                                        <p:attrNameLst>
                                          <p:attrName>style.visibility</p:attrName>
                                        </p:attrNameLst>
                                      </p:cBhvr>
                                      <p:to>
                                        <p:strVal val="visible"/>
                                      </p:to>
                                    </p:set>
                                    <p:animEffect transition="in" filter="fade">
                                      <p:cBhvr>
                                        <p:cTn id="130" dur="500"/>
                                        <p:tgtEl>
                                          <p:spTgt spid="42"/>
                                        </p:tgtEl>
                                      </p:cBhvr>
                                    </p:animEffect>
                                  </p:childTnLst>
                                </p:cTn>
                              </p:par>
                              <p:par>
                                <p:cTn id="131" presetID="10" presetClass="entr" presetSubtype="0" fill="hold" nodeType="withEffect">
                                  <p:stCondLst>
                                    <p:cond delay="0"/>
                                  </p:stCondLst>
                                  <p:childTnLst>
                                    <p:set>
                                      <p:cBhvr>
                                        <p:cTn id="132" dur="1" fill="hold">
                                          <p:stCondLst>
                                            <p:cond delay="0"/>
                                          </p:stCondLst>
                                        </p:cTn>
                                        <p:tgtEl>
                                          <p:spTgt spid="41"/>
                                        </p:tgtEl>
                                        <p:attrNameLst>
                                          <p:attrName>style.visibility</p:attrName>
                                        </p:attrNameLst>
                                      </p:cBhvr>
                                      <p:to>
                                        <p:strVal val="visible"/>
                                      </p:to>
                                    </p:set>
                                    <p:animEffect transition="in" filter="fade">
                                      <p:cBhvr>
                                        <p:cTn id="13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2" grpId="0"/>
      <p:bldP spid="16" grpId="0"/>
      <p:bldP spid="20" grpId="0"/>
      <p:bldP spid="22" grpId="0"/>
      <p:bldP spid="27" grpId="0"/>
      <p:bldP spid="29" grpId="0"/>
      <p:bldP spid="34" grpId="0"/>
      <p:bldP spid="37" grpId="0"/>
      <p:bldP spid="39" grpId="0"/>
      <p:bldP spid="4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9DC32FC-7D88-4098-BBDA-40061F133983}"/>
              </a:ext>
              <a:ext uri="{C183D7F6-B498-43B3-948B-1728B52AA6E4}">
                <adec:decorative xmlns:adec="http://schemas.microsoft.com/office/drawing/2017/decorative" val="1"/>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 name="Title 1">
            <a:extLst>
              <a:ext uri="{FF2B5EF4-FFF2-40B4-BE49-F238E27FC236}">
                <a16:creationId xmlns:a16="http://schemas.microsoft.com/office/drawing/2014/main" id="{4CF3C0D8-6161-F876-224D-802A44AE60F5}"/>
              </a:ext>
              <a:ext uri="{C183D7F6-B498-43B3-948B-1728B52AA6E4}">
                <adec:decorative xmlns:adec="http://schemas.microsoft.com/office/drawing/2017/decorative" val="0"/>
              </a:ext>
            </a:extLst>
          </p:cNvPr>
          <p:cNvSpPr>
            <a:spLocks noGrp="1"/>
          </p:cNvSpPr>
          <p:nvPr>
            <p:ph type="title"/>
          </p:nvPr>
        </p:nvSpPr>
        <p:spPr>
          <a:xfrm>
            <a:off x="588263" y="457200"/>
            <a:ext cx="2688337" cy="1415772"/>
          </a:xfrm>
        </p:spPr>
        <p:txBody>
          <a:bodyPr/>
          <a:lstStyle/>
          <a:p>
            <a:r>
              <a:rPr lang="en-US" dirty="0">
                <a:solidFill>
                  <a:schemeClr val="bg1"/>
                </a:solidFill>
                <a:cs typeface="Segoe UI"/>
              </a:rPr>
              <a:t>Exercise one summary</a:t>
            </a:r>
            <a:br>
              <a:rPr lang="en-US" b="0" spc="0" dirty="0">
                <a:ln>
                  <a:noFill/>
                </a:ln>
                <a:cs typeface="+mn-cs"/>
              </a:rPr>
            </a:br>
            <a:r>
              <a:rPr lang="en-US" altLang="zh-CN" sz="1800" spc="0" dirty="0">
                <a:ln>
                  <a:noFill/>
                </a:ln>
                <a:solidFill>
                  <a:schemeClr val="bg1"/>
                </a:solidFill>
                <a:latin typeface="+mj-lt"/>
              </a:rPr>
              <a:t>Set up development environment</a:t>
            </a:r>
            <a:endParaRPr lang="en-US" sz="1800" dirty="0">
              <a:solidFill>
                <a:schemeClr val="bg1"/>
              </a:solidFill>
            </a:endParaRPr>
          </a:p>
        </p:txBody>
      </p:sp>
      <p:sp>
        <p:nvSpPr>
          <p:cNvPr id="10" name="Freeform: Shape 9">
            <a:extLst>
              <a:ext uri="{FF2B5EF4-FFF2-40B4-BE49-F238E27FC236}">
                <a16:creationId xmlns:a16="http://schemas.microsoft.com/office/drawing/2014/main" id="{1E98F374-AEB3-0659-95E2-34C88EF9BD14}"/>
              </a:ext>
              <a:ext uri="{C183D7F6-B498-43B3-948B-1728B52AA6E4}">
                <adec:decorative xmlns:adec="http://schemas.microsoft.com/office/drawing/2017/decorative" val="0"/>
              </a:ext>
            </a:extLst>
          </p:cNvPr>
          <p:cNvSpPr/>
          <p:nvPr/>
        </p:nvSpPr>
        <p:spPr bwMode="auto">
          <a:xfrm>
            <a:off x="3588977" y="210620"/>
            <a:ext cx="8603023" cy="605683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 uri="{C183D7F6-B498-43B3-948B-1728B52AA6E4}">
                <adec:decorative xmlns:adec="http://schemas.microsoft.com/office/drawing/2017/decorative" val="0"/>
              </a:ext>
            </a:extLst>
          </p:cNvPr>
          <p:cNvSpPr/>
          <p:nvPr/>
        </p:nvSpPr>
        <p:spPr bwMode="auto">
          <a:xfrm>
            <a:off x="3729802" y="281360"/>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ea typeface="+mn-ea"/>
                <a:cs typeface="+mn-cs"/>
              </a:rPr>
              <a:t>In this exercise you:</a:t>
            </a:r>
          </a:p>
        </p:txBody>
      </p:sp>
      <p:grpSp>
        <p:nvGrpSpPr>
          <p:cNvPr id="13" name="Group 12">
            <a:extLst>
              <a:ext uri="{FF2B5EF4-FFF2-40B4-BE49-F238E27FC236}">
                <a16:creationId xmlns:a16="http://schemas.microsoft.com/office/drawing/2014/main" id="{36A25F59-5F30-9691-A845-51AAB6A9473E}"/>
              </a:ext>
              <a:ext uri="{C183D7F6-B498-43B3-948B-1728B52AA6E4}">
                <adec:decorative xmlns:adec="http://schemas.microsoft.com/office/drawing/2017/decorative" val="1"/>
              </a:ext>
            </a:extLst>
          </p:cNvPr>
          <p:cNvGrpSpPr/>
          <p:nvPr/>
        </p:nvGrpSpPr>
        <p:grpSpPr>
          <a:xfrm>
            <a:off x="3810887" y="377378"/>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ext Placeholder 4">
            <a:extLst>
              <a:ext uri="{FF2B5EF4-FFF2-40B4-BE49-F238E27FC236}">
                <a16:creationId xmlns:a16="http://schemas.microsoft.com/office/drawing/2014/main" id="{430363F1-F33D-6CF1-83DE-0DF963811E1A}"/>
              </a:ext>
            </a:extLst>
          </p:cNvPr>
          <p:cNvSpPr txBox="1">
            <a:spLocks/>
          </p:cNvSpPr>
          <p:nvPr/>
        </p:nvSpPr>
        <p:spPr>
          <a:xfrm>
            <a:off x="3729802" y="1452720"/>
            <a:ext cx="8014760" cy="3615349"/>
          </a:xfrm>
          <a:prstGeom prst="rect">
            <a:avLst/>
          </a:prstGeom>
        </p:spPr>
        <p:txBody>
          <a:bodyPr vert="horz" wrap="square" lIns="0" tIns="0" rIns="0" bIns="0" rtlCol="0" anchor="t">
            <a:spAutoFit/>
          </a:bodyPr>
          <a:lstStyle>
            <a:defPPr>
              <a:defRPr lang="en-US"/>
            </a:defPPr>
            <a:lvl1pPr marL="228600" marR="0" indent="-228600" defTabSz="932742" fontAlgn="auto">
              <a:lnSpc>
                <a:spcPct val="90000"/>
              </a:lnSpc>
              <a:spcBef>
                <a:spcPts val="1000"/>
              </a:spcBef>
              <a:spcAft>
                <a:spcPts val="0"/>
              </a:spcAft>
              <a:buClrTx/>
              <a:buSzPct val="120000"/>
              <a:buFont typeface="Arial" panose="020B0604020202020204" pitchFamily="34" charset="0"/>
              <a:buChar char="•"/>
              <a:tabLst/>
              <a:defRPr sz="2800" spc="0" baseline="0">
                <a:latin typeface="+mj-lt"/>
                <a:cs typeface="Arial"/>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dirty="0"/>
              <a:t> Deployed Microsoft </a:t>
            </a:r>
            <a:r>
              <a:rPr lang="en-US" dirty="0" err="1"/>
              <a:t>DevBox</a:t>
            </a:r>
            <a:r>
              <a:rPr lang="en-US" dirty="0"/>
              <a:t> infrastructure for  </a:t>
            </a:r>
            <a:br>
              <a:rPr lang="en-US" dirty="0"/>
            </a:br>
            <a:r>
              <a:rPr lang="en-US" dirty="0"/>
              <a:t> </a:t>
            </a:r>
            <a:r>
              <a:rPr lang="en-US" dirty="0" err="1"/>
              <a:t>DevBox</a:t>
            </a:r>
            <a:r>
              <a:rPr lang="en-US" dirty="0"/>
              <a:t>.</a:t>
            </a:r>
          </a:p>
          <a:p>
            <a:r>
              <a:rPr lang="en-US" dirty="0"/>
              <a:t> Created an image for your </a:t>
            </a:r>
            <a:r>
              <a:rPr lang="en-US" dirty="0" err="1"/>
              <a:t>DevBox</a:t>
            </a:r>
            <a:r>
              <a:rPr lang="en-US" dirty="0"/>
              <a:t>.</a:t>
            </a:r>
          </a:p>
          <a:p>
            <a:r>
              <a:rPr lang="en-US" dirty="0"/>
              <a:t> Created a </a:t>
            </a:r>
            <a:r>
              <a:rPr lang="en-US" dirty="0" err="1"/>
              <a:t>DevBox</a:t>
            </a:r>
            <a:r>
              <a:rPr lang="en-US" dirty="0"/>
              <a:t>.</a:t>
            </a:r>
          </a:p>
          <a:p>
            <a:r>
              <a:rPr lang="en-US" dirty="0"/>
              <a:t> Granted users permissions to create and access </a:t>
            </a:r>
            <a:br>
              <a:rPr lang="en-US" dirty="0"/>
            </a:br>
            <a:r>
              <a:rPr lang="en-US" dirty="0"/>
              <a:t> their </a:t>
            </a:r>
            <a:r>
              <a:rPr lang="en-US" dirty="0" err="1"/>
              <a:t>DevBox</a:t>
            </a:r>
            <a:r>
              <a:rPr lang="en-US" dirty="0"/>
              <a:t>.</a:t>
            </a:r>
          </a:p>
          <a:p>
            <a:r>
              <a:rPr lang="en-US" dirty="0"/>
              <a:t>Installed the GitHub Copilot extension for Visual Studio Code.</a:t>
            </a:r>
          </a:p>
        </p:txBody>
      </p:sp>
    </p:spTree>
    <p:custDataLst>
      <p:tags r:id="rId1"/>
    </p:custDataLst>
    <p:extLst>
      <p:ext uri="{BB962C8B-B14F-4D97-AF65-F5344CB8AC3E}">
        <p14:creationId xmlns:p14="http://schemas.microsoft.com/office/powerpoint/2010/main" val="414781909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1081774"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buSzPct val="90000"/>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a:rPr>
              <a:t>Exercise two: start working in GitHub</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 start working in GitHub</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exercise, you’ll begin by creating a GitHub repository. From there, you will create a GitHub Project and associate issues with that project. Finally, you will create a simple GitHub Actions workflow.</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dirty="0">
                <a:solidFill>
                  <a:schemeClr val="tx2"/>
                </a:solidFill>
              </a:rPr>
              <a:t>After completing this exercise,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GitHub repository.</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GitHub Project.</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Assign issues to teammates and navigate a project board.</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Add custom fields to issues.</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0" name="TextBox 39">
            <a:extLst>
              <a:ext uri="{FF2B5EF4-FFF2-40B4-BE49-F238E27FC236}">
                <a16:creationId xmlns:a16="http://schemas.microsoft.com/office/drawing/2014/main" id="{A88F3369-17EB-9EF5-A3F3-A951AC048B83}"/>
              </a:ext>
            </a:extLst>
          </p:cNvPr>
          <p:cNvSpPr txBox="1"/>
          <p:nvPr/>
        </p:nvSpPr>
        <p:spPr>
          <a:xfrm>
            <a:off x="1223358" y="5108819"/>
            <a:ext cx="10319499" cy="307777"/>
          </a:xfrm>
          <a:prstGeom prst="rect">
            <a:avLst/>
          </a:prstGeom>
          <a:noFill/>
        </p:spPr>
        <p:txBody>
          <a:bodyPr wrap="square" lIns="0">
            <a:spAutoFit/>
          </a:bodyPr>
          <a:lstStyle/>
          <a:p>
            <a:pPr algn="l"/>
            <a:r>
              <a:rPr lang="en-US" sz="1400" b="0" i="0" dirty="0">
                <a:solidFill>
                  <a:srgbClr val="1F2328"/>
                </a:solidFill>
                <a:effectLst/>
              </a:rPr>
              <a:t>Create a GitHub Actions workflo</a:t>
            </a:r>
            <a:r>
              <a:rPr lang="en-US" sz="1400" dirty="0">
                <a:solidFill>
                  <a:srgbClr val="1F2328"/>
                </a:solidFill>
              </a:rPr>
              <a:t>w.</a:t>
            </a:r>
            <a:endParaRPr lang="en-US" sz="1400" b="0" i="0" dirty="0">
              <a:solidFill>
                <a:srgbClr val="1F2328"/>
              </a:solidFill>
              <a:effectLst/>
            </a:endParaRPr>
          </a:p>
        </p:txBody>
      </p:sp>
      <p:grpSp>
        <p:nvGrpSpPr>
          <p:cNvPr id="86" name="Group 85">
            <a:extLst>
              <a:ext uri="{FF2B5EF4-FFF2-40B4-BE49-F238E27FC236}">
                <a16:creationId xmlns:a16="http://schemas.microsoft.com/office/drawing/2014/main" id="{84D40719-65F2-4EEC-7410-F77EEA808F61}"/>
              </a:ext>
              <a:ext uri="{C183D7F6-B498-43B3-948B-1728B52AA6E4}">
                <adec:decorative xmlns:adec="http://schemas.microsoft.com/office/drawing/2017/decorative" val="1"/>
              </a:ext>
            </a:extLst>
          </p:cNvPr>
          <p:cNvGrpSpPr/>
          <p:nvPr/>
        </p:nvGrpSpPr>
        <p:grpSpPr>
          <a:xfrm>
            <a:off x="601762" y="5026578"/>
            <a:ext cx="472258" cy="472258"/>
            <a:chOff x="591756" y="5150308"/>
            <a:chExt cx="472258" cy="472258"/>
          </a:xfrm>
        </p:grpSpPr>
        <p:grpSp>
          <p:nvGrpSpPr>
            <p:cNvPr id="41" name="Group 40">
              <a:extLst>
                <a:ext uri="{FF2B5EF4-FFF2-40B4-BE49-F238E27FC236}">
                  <a16:creationId xmlns:a16="http://schemas.microsoft.com/office/drawing/2014/main" id="{9252A0C6-63FA-BA5A-4969-881191D38BC5}"/>
                </a:ext>
                <a:ext uri="{C183D7F6-B498-43B3-948B-1728B52AA6E4}">
                  <adec:decorative xmlns:adec="http://schemas.microsoft.com/office/drawing/2017/decorative" val="1"/>
                </a:ext>
              </a:extLst>
            </p:cNvPr>
            <p:cNvGrpSpPr/>
            <p:nvPr/>
          </p:nvGrpSpPr>
          <p:grpSpPr>
            <a:xfrm>
              <a:off x="591756" y="5150308"/>
              <a:ext cx="472258" cy="472258"/>
              <a:chOff x="4863419" y="201635"/>
              <a:chExt cx="1828800" cy="1828800"/>
            </a:xfrm>
          </p:grpSpPr>
          <p:sp>
            <p:nvSpPr>
              <p:cNvPr id="42" name="Freeform: Shape 11">
                <a:extLst>
                  <a:ext uri="{FF2B5EF4-FFF2-40B4-BE49-F238E27FC236}">
                    <a16:creationId xmlns:a16="http://schemas.microsoft.com/office/drawing/2014/main" id="{A189FD56-D35C-DA34-41F0-A8139AC85596}"/>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3" name="Oval 42">
                <a:extLst>
                  <a:ext uri="{FF2B5EF4-FFF2-40B4-BE49-F238E27FC236}">
                    <a16:creationId xmlns:a16="http://schemas.microsoft.com/office/drawing/2014/main" id="{BC8F3283-6D68-C7FE-838F-5B8C127AFE3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6" name="hand_2">
              <a:extLst>
                <a:ext uri="{FF2B5EF4-FFF2-40B4-BE49-F238E27FC236}">
                  <a16:creationId xmlns:a16="http://schemas.microsoft.com/office/drawing/2014/main" id="{F7B2730C-6398-44C6-A285-D206E7539CB0}"/>
                </a:ext>
                <a:ext uri="{C183D7F6-B498-43B3-948B-1728B52AA6E4}">
                  <adec:decorative xmlns:adec="http://schemas.microsoft.com/office/drawing/2017/decorative" val="1"/>
                </a:ext>
              </a:extLst>
            </p:cNvPr>
            <p:cNvSpPr>
              <a:spLocks noChangeAspect="1"/>
            </p:cNvSpPr>
            <p:nvPr/>
          </p:nvSpPr>
          <p:spPr bwMode="auto">
            <a:xfrm>
              <a:off x="698507" y="5322037"/>
              <a:ext cx="258756" cy="128800"/>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6" name="TextBox 55">
            <a:extLst>
              <a:ext uri="{FF2B5EF4-FFF2-40B4-BE49-F238E27FC236}">
                <a16:creationId xmlns:a16="http://schemas.microsoft.com/office/drawing/2014/main" id="{87C697D9-D5F1-EBDD-81F9-D4CB7DC374D4}"/>
              </a:ext>
            </a:extLst>
          </p:cNvPr>
          <p:cNvSpPr txBox="1"/>
          <p:nvPr/>
        </p:nvSpPr>
        <p:spPr>
          <a:xfrm>
            <a:off x="1223358" y="5764863"/>
            <a:ext cx="10319499" cy="307777"/>
          </a:xfrm>
          <a:prstGeom prst="rect">
            <a:avLst/>
          </a:prstGeom>
          <a:noFill/>
        </p:spPr>
        <p:txBody>
          <a:bodyPr wrap="square" lIns="0">
            <a:spAutoFit/>
          </a:bodyPr>
          <a:lstStyle/>
          <a:p>
            <a:pPr algn="l"/>
            <a:r>
              <a:rPr lang="en-US" sz="1400" b="0" i="0" dirty="0">
                <a:solidFill>
                  <a:srgbClr val="1F2328"/>
                </a:solidFill>
                <a:effectLst/>
              </a:rPr>
              <a:t>Extend a GitHub Actions workflow with multiple jobs.</a:t>
            </a:r>
          </a:p>
        </p:txBody>
      </p:sp>
      <p:grpSp>
        <p:nvGrpSpPr>
          <p:cNvPr id="87" name="Group 86">
            <a:extLst>
              <a:ext uri="{FF2B5EF4-FFF2-40B4-BE49-F238E27FC236}">
                <a16:creationId xmlns:a16="http://schemas.microsoft.com/office/drawing/2014/main" id="{1C7385E7-8DC4-81A8-63CF-52C305F40F85}"/>
              </a:ext>
              <a:ext uri="{C183D7F6-B498-43B3-948B-1728B52AA6E4}">
                <adec:decorative xmlns:adec="http://schemas.microsoft.com/office/drawing/2017/decorative" val="1"/>
              </a:ext>
            </a:extLst>
          </p:cNvPr>
          <p:cNvGrpSpPr/>
          <p:nvPr/>
        </p:nvGrpSpPr>
        <p:grpSpPr>
          <a:xfrm>
            <a:off x="601762" y="5682622"/>
            <a:ext cx="472258" cy="472258"/>
            <a:chOff x="591756" y="5806049"/>
            <a:chExt cx="472258" cy="472258"/>
          </a:xfrm>
        </p:grpSpPr>
        <p:grpSp>
          <p:nvGrpSpPr>
            <p:cNvPr id="57" name="Group 56">
              <a:extLst>
                <a:ext uri="{FF2B5EF4-FFF2-40B4-BE49-F238E27FC236}">
                  <a16:creationId xmlns:a16="http://schemas.microsoft.com/office/drawing/2014/main" id="{22EDF683-B51C-3712-6AC1-59A383F3DB66}"/>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Trackers_EADF_bidi">
              <a:extLst>
                <a:ext uri="{FF2B5EF4-FFF2-40B4-BE49-F238E27FC236}">
                  <a16:creationId xmlns:a16="http://schemas.microsoft.com/office/drawing/2014/main" id="{5FC56D04-6461-7BEE-637B-221EBDD72AB4}"/>
                </a:ext>
                <a:ext uri="{C183D7F6-B498-43B3-948B-1728B52AA6E4}">
                  <adec:decorative xmlns:adec="http://schemas.microsoft.com/office/drawing/2017/decorative" val="1"/>
                </a:ext>
              </a:extLst>
            </p:cNvPr>
            <p:cNvSpPr>
              <a:spLocks noChangeAspect="1" noEditPoints="1"/>
            </p:cNvSpPr>
            <p:nvPr/>
          </p:nvSpPr>
          <p:spPr bwMode="auto">
            <a:xfrm>
              <a:off x="743365" y="5926931"/>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80">
            <a:extLst>
              <a:ext uri="{FF2B5EF4-FFF2-40B4-BE49-F238E27FC236}">
                <a16:creationId xmlns:a16="http://schemas.microsoft.com/office/drawing/2014/main" id="{3061E654-F3BE-3765-28BD-C4506424D989}"/>
              </a:ext>
              <a:ext uri="{C183D7F6-B498-43B3-948B-1728B52AA6E4}">
                <adec:decorative xmlns:adec="http://schemas.microsoft.com/office/drawing/2017/decorative" val="1"/>
              </a:ext>
            </a:extLst>
          </p:cNvPr>
          <p:cNvGrpSpPr/>
          <p:nvPr/>
        </p:nvGrpSpPr>
        <p:grpSpPr>
          <a:xfrm>
            <a:off x="588263" y="6297784"/>
            <a:ext cx="499256" cy="499256"/>
            <a:chOff x="2472943" y="4323374"/>
            <a:chExt cx="499256" cy="499256"/>
          </a:xfrm>
        </p:grpSpPr>
        <p:grpSp>
          <p:nvGrpSpPr>
            <p:cNvPr id="52" name="Group 51">
              <a:extLst>
                <a:ext uri="{FF2B5EF4-FFF2-40B4-BE49-F238E27FC236}">
                  <a16:creationId xmlns:a16="http://schemas.microsoft.com/office/drawing/2014/main" id="{DAF368C1-103F-FA9B-F83D-067BC4E16501}"/>
                </a:ext>
              </a:extLst>
            </p:cNvPr>
            <p:cNvGrpSpPr/>
            <p:nvPr/>
          </p:nvGrpSpPr>
          <p:grpSpPr>
            <a:xfrm>
              <a:off x="2472943" y="4323374"/>
              <a:ext cx="499256" cy="499256"/>
              <a:chOff x="4863419" y="201635"/>
              <a:chExt cx="1828800" cy="1828800"/>
            </a:xfrm>
          </p:grpSpPr>
          <p:sp>
            <p:nvSpPr>
              <p:cNvPr id="73" name="Freeform: Shape 11">
                <a:extLst>
                  <a:ext uri="{FF2B5EF4-FFF2-40B4-BE49-F238E27FC236}">
                    <a16:creationId xmlns:a16="http://schemas.microsoft.com/office/drawing/2014/main" id="{8D80EF2F-D7D3-4CEB-AD94-5FCF9DB4911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74" name="Oval 73">
                <a:extLst>
                  <a:ext uri="{FF2B5EF4-FFF2-40B4-BE49-F238E27FC236}">
                    <a16:creationId xmlns:a16="http://schemas.microsoft.com/office/drawing/2014/main" id="{B99191AD-EFB5-53D6-0EC0-1AF74CEED6C3}"/>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62" name="Shield_EA18" title="Icon of a shield">
              <a:extLst>
                <a:ext uri="{FF2B5EF4-FFF2-40B4-BE49-F238E27FC236}">
                  <a16:creationId xmlns:a16="http://schemas.microsoft.com/office/drawing/2014/main" id="{BCA68169-B76B-A4FD-0C44-046B7C9E033C}"/>
                </a:ext>
              </a:extLst>
            </p:cNvPr>
            <p:cNvSpPr>
              <a:spLocks noChangeAspect="1"/>
            </p:cNvSpPr>
            <p:nvPr/>
          </p:nvSpPr>
          <p:spPr bwMode="auto">
            <a:xfrm>
              <a:off x="2616674" y="4460257"/>
              <a:ext cx="211794" cy="22549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sp>
        <p:nvSpPr>
          <p:cNvPr id="93" name="TextBox 92">
            <a:extLst>
              <a:ext uri="{FF2B5EF4-FFF2-40B4-BE49-F238E27FC236}">
                <a16:creationId xmlns:a16="http://schemas.microsoft.com/office/drawing/2014/main" id="{2B1453E2-ACBA-BEB3-B9D0-21B7AFFD153B}"/>
              </a:ext>
            </a:extLst>
          </p:cNvPr>
          <p:cNvSpPr txBox="1"/>
          <p:nvPr/>
        </p:nvSpPr>
        <p:spPr>
          <a:xfrm>
            <a:off x="1223358" y="6393524"/>
            <a:ext cx="10319499" cy="307777"/>
          </a:xfrm>
          <a:prstGeom prst="rect">
            <a:avLst/>
          </a:prstGeom>
          <a:noFill/>
        </p:spPr>
        <p:txBody>
          <a:bodyPr wrap="square" lIns="0">
            <a:spAutoFit/>
          </a:bodyPr>
          <a:lstStyle/>
          <a:p>
            <a:pPr algn="l"/>
            <a:r>
              <a:rPr lang="en-US" sz="1400" b="0" i="0" dirty="0">
                <a:solidFill>
                  <a:srgbClr val="1F2328"/>
                </a:solidFill>
                <a:effectLst/>
              </a:rPr>
              <a:t>Incorporate workflow actions from the GitHub Marketplace.</a:t>
            </a:r>
          </a:p>
        </p:txBody>
      </p:sp>
    </p:spTree>
    <p:custDataLst>
      <p:tags r:id="rId1"/>
    </p:custDataLst>
    <p:extLst>
      <p:ext uri="{BB962C8B-B14F-4D97-AF65-F5344CB8AC3E}">
        <p14:creationId xmlns:p14="http://schemas.microsoft.com/office/powerpoint/2010/main" val="236336952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5BB033A2-4E7D-6024-A2B4-E25023EB8B47}"/>
              </a:ext>
            </a:extLst>
          </p:cNvPr>
          <p:cNvSpPr/>
          <p:nvPr/>
        </p:nvSpPr>
        <p:spPr bwMode="auto">
          <a:xfrm>
            <a:off x="8362122" y="1603664"/>
            <a:ext cx="3305094"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two architecture </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8" y="1613949"/>
            <a:ext cx="4121289"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F857C626-A946-0108-CFE7-5BB76268A9F5}"/>
              </a:ext>
            </a:extLst>
          </p:cNvPr>
          <p:cNvSpPr txBox="1"/>
          <p:nvPr/>
        </p:nvSpPr>
        <p:spPr>
          <a:xfrm>
            <a:off x="4932485" y="1826885"/>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lication</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171794" y="435433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irst-workflow.yml</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362121" y="1718208"/>
            <a:ext cx="2915950" cy="1754326"/>
          </a:xfrm>
          <a:prstGeom prst="rect">
            <a:avLst/>
          </a:prstGeom>
          <a:noFill/>
        </p:spPr>
        <p:txBody>
          <a:bodyPr wrap="square">
            <a:spAutoFit/>
          </a:bodyPr>
          <a:lstStyle/>
          <a:p>
            <a:pPr defTabSz="932472" fontAlgn="base">
              <a:spcBef>
                <a:spcPct val="0"/>
              </a:spcBef>
              <a:spcAft>
                <a:spcPct val="0"/>
              </a:spcAft>
            </a:pPr>
            <a:r>
              <a:rPr lang="en-US" sz="1800" b="1" dirty="0">
                <a:solidFill>
                  <a:schemeClr val="tx1"/>
                </a:solidFill>
                <a:ea typeface="Segoe UI" pitchFamily="34" charset="0"/>
                <a:cs typeface="Segoe UI" pitchFamily="34" charset="0"/>
              </a:rPr>
              <a:t>Issues</a:t>
            </a:r>
          </a:p>
          <a:p>
            <a:pPr defTabSz="932472" fontAlgn="base">
              <a:spcBef>
                <a:spcPct val="0"/>
              </a:spcBef>
              <a:spcAft>
                <a:spcPct val="0"/>
              </a:spcAft>
            </a:pPr>
            <a:r>
              <a:rPr lang="en-US" dirty="0">
                <a:ea typeface="Segoe UI" pitchFamily="34" charset="0"/>
                <a:cs typeface="Segoe UI" pitchFamily="34" charset="0"/>
              </a:rPr>
              <a:t>Issue 1 – Done</a:t>
            </a:r>
          </a:p>
          <a:p>
            <a:pPr defTabSz="932472" fontAlgn="base">
              <a:spcBef>
                <a:spcPct val="0"/>
              </a:spcBef>
              <a:spcAft>
                <a:spcPct val="0"/>
              </a:spcAft>
            </a:pPr>
            <a:r>
              <a:rPr lang="en-US" sz="1800" dirty="0">
                <a:solidFill>
                  <a:schemeClr val="tx1"/>
                </a:solidFill>
                <a:ea typeface="Segoe UI" pitchFamily="34" charset="0"/>
                <a:cs typeface="Segoe UI" pitchFamily="34" charset="0"/>
              </a:rPr>
              <a:t>Issue 2 - New</a:t>
            </a:r>
          </a:p>
          <a:p>
            <a:pPr defTabSz="932472" fontAlgn="base">
              <a:spcBef>
                <a:spcPct val="0"/>
              </a:spcBef>
              <a:spcAft>
                <a:spcPct val="0"/>
              </a:spcAft>
            </a:pPr>
            <a:r>
              <a:rPr lang="en-US" dirty="0">
                <a:ea typeface="Segoe UI" pitchFamily="34" charset="0"/>
                <a:cs typeface="Segoe UI" pitchFamily="34" charset="0"/>
              </a:rPr>
              <a:t>Issue 3 - New</a:t>
            </a:r>
          </a:p>
          <a:p>
            <a:pPr defTabSz="932472" fontAlgn="base">
              <a:spcBef>
                <a:spcPct val="0"/>
              </a:spcBef>
              <a:spcAft>
                <a:spcPct val="0"/>
              </a:spcAft>
            </a:pPr>
            <a:r>
              <a:rPr lang="en-US" sz="1800" dirty="0">
                <a:solidFill>
                  <a:schemeClr val="tx1"/>
                </a:solidFill>
                <a:ea typeface="Segoe UI" pitchFamily="34" charset="0"/>
                <a:cs typeface="Segoe UI" pitchFamily="34" charset="0"/>
              </a:rPr>
              <a:t>Issue 4 - New</a:t>
            </a:r>
          </a:p>
          <a:p>
            <a:pPr defTabSz="932472" fontAlgn="base">
              <a:spcBef>
                <a:spcPct val="0"/>
              </a:spcBef>
              <a:spcAft>
                <a:spcPct val="0"/>
              </a:spcAft>
            </a:pPr>
            <a:r>
              <a:rPr lang="en-US" dirty="0">
                <a:ea typeface="Segoe UI" pitchFamily="34" charset="0"/>
                <a:cs typeface="Segoe UI" pitchFamily="34" charset="0"/>
              </a:rPr>
              <a:t>Issue 5 - New</a:t>
            </a:r>
            <a:endParaRPr lang="en-US" sz="1800" dirty="0">
              <a:solidFill>
                <a:schemeClr val="tx1"/>
              </a:solidFill>
              <a:ea typeface="Segoe UI" pitchFamily="34" charset="0"/>
              <a:cs typeface="Segoe UI" pitchFamily="34" charset="0"/>
            </a:endParaRPr>
          </a:p>
        </p:txBody>
      </p:sp>
      <p:pic>
        <p:nvPicPr>
          <p:cNvPr id="16" name="Picture 15" descr="A black cat in a circle&#10;&#10;Description automatically generated">
            <a:extLst>
              <a:ext uri="{FF2B5EF4-FFF2-40B4-BE49-F238E27FC236}">
                <a16:creationId xmlns:a16="http://schemas.microsoft.com/office/drawing/2014/main" id="{8FA8EC0F-AD9C-DCC7-205B-54E604302FDA}"/>
              </a:ext>
            </a:extLst>
          </p:cNvPr>
          <p:cNvPicPr>
            <a:picLocks noChangeAspect="1"/>
          </p:cNvPicPr>
          <p:nvPr/>
        </p:nvPicPr>
        <p:blipFill>
          <a:blip r:embed="rId4"/>
          <a:stretch>
            <a:fillRect/>
          </a:stretch>
        </p:blipFill>
        <p:spPr>
          <a:xfrm>
            <a:off x="1685766" y="3045625"/>
            <a:ext cx="609610" cy="609610"/>
          </a:xfrm>
          <a:prstGeom prst="rect">
            <a:avLst/>
          </a:prstGeom>
        </p:spPr>
      </p:pic>
      <p:sp>
        <p:nvSpPr>
          <p:cNvPr id="18" name="TextBox 17">
            <a:extLst>
              <a:ext uri="{FF2B5EF4-FFF2-40B4-BE49-F238E27FC236}">
                <a16:creationId xmlns:a16="http://schemas.microsoft.com/office/drawing/2014/main" id="{3760FC5A-7135-9075-8470-7B9DE75B4C3A}"/>
              </a:ext>
            </a:extLst>
          </p:cNvPr>
          <p:cNvSpPr txBox="1"/>
          <p:nvPr/>
        </p:nvSpPr>
        <p:spPr>
          <a:xfrm>
            <a:off x="962819" y="365523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ab</a:t>
            </a:r>
          </a:p>
          <a:p>
            <a:pPr algn="l" defTabSz="932472" fontAlgn="base">
              <a:spcBef>
                <a:spcPct val="0"/>
              </a:spcBef>
              <a:spcAft>
                <a:spcPct val="0"/>
              </a:spcAft>
            </a:pPr>
            <a:r>
              <a:rPr lang="en-US" sz="1800" dirty="0">
                <a:solidFill>
                  <a:schemeClr val="tx1"/>
                </a:solidFill>
                <a:ea typeface="Segoe UI" pitchFamily="34" charset="0"/>
                <a:cs typeface="Segoe UI" pitchFamily="34" charset="0"/>
              </a:rPr>
              <a:t>GitHub repository</a:t>
            </a:r>
          </a:p>
        </p:txBody>
      </p:sp>
      <p:cxnSp>
        <p:nvCxnSpPr>
          <p:cNvPr id="23" name="Straight Arrow Connector 22">
            <a:extLst>
              <a:ext uri="{FF2B5EF4-FFF2-40B4-BE49-F238E27FC236}">
                <a16:creationId xmlns:a16="http://schemas.microsoft.com/office/drawing/2014/main" id="{56CF9BA3-5C6F-D1C6-7BEC-7EB1605BB3A9}"/>
              </a:ext>
            </a:extLst>
          </p:cNvPr>
          <p:cNvCxnSpPr>
            <a:cxnSpLocks/>
            <a:stCxn id="16" idx="3"/>
            <a:endCxn id="3" idx="1"/>
          </p:cNvCxnSpPr>
          <p:nvPr/>
        </p:nvCxnSpPr>
        <p:spPr>
          <a:xfrm>
            <a:off x="2295376" y="3350430"/>
            <a:ext cx="1810632"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7" name="Picture 26" descr="A black cat in a circle&#10;&#10;Description automatically generated">
            <a:extLst>
              <a:ext uri="{FF2B5EF4-FFF2-40B4-BE49-F238E27FC236}">
                <a16:creationId xmlns:a16="http://schemas.microsoft.com/office/drawing/2014/main" id="{7B3990FA-9FE5-8CA3-49A7-7CD8910B1608}"/>
              </a:ext>
            </a:extLst>
          </p:cNvPr>
          <p:cNvPicPr>
            <a:picLocks noChangeAspect="1"/>
          </p:cNvPicPr>
          <p:nvPr/>
        </p:nvPicPr>
        <p:blipFill>
          <a:blip r:embed="rId4"/>
          <a:stretch>
            <a:fillRect/>
          </a:stretch>
        </p:blipFill>
        <p:spPr>
          <a:xfrm>
            <a:off x="4263903" y="999204"/>
            <a:ext cx="609610" cy="609610"/>
          </a:xfrm>
          <a:prstGeom prst="rect">
            <a:avLst/>
          </a:prstGeom>
        </p:spPr>
      </p:pic>
      <p:sp>
        <p:nvSpPr>
          <p:cNvPr id="28" name="TextBox 27">
            <a:extLst>
              <a:ext uri="{FF2B5EF4-FFF2-40B4-BE49-F238E27FC236}">
                <a16:creationId xmlns:a16="http://schemas.microsoft.com/office/drawing/2014/main" id="{12D73785-4849-90A9-AD8D-6DCA79D6BDC0}"/>
              </a:ext>
            </a:extLst>
          </p:cNvPr>
          <p:cNvSpPr txBox="1"/>
          <p:nvPr/>
        </p:nvSpPr>
        <p:spPr>
          <a:xfrm>
            <a:off x="4809857" y="1251475"/>
            <a:ext cx="2759140"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Your GitHub repository</a:t>
            </a:r>
          </a:p>
        </p:txBody>
      </p:sp>
      <p:pic>
        <p:nvPicPr>
          <p:cNvPr id="30" name="Graphic 29">
            <a:extLst>
              <a:ext uri="{FF2B5EF4-FFF2-40B4-BE49-F238E27FC236}">
                <a16:creationId xmlns:a16="http://schemas.microsoft.com/office/drawing/2014/main" id="{7E601925-CA61-115D-773B-91AA09F6AD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4390" y="1718208"/>
            <a:ext cx="578095" cy="578095"/>
          </a:xfrm>
          <a:prstGeom prst="rect">
            <a:avLst/>
          </a:prstGeom>
        </p:spPr>
      </p:pic>
      <p:sp>
        <p:nvSpPr>
          <p:cNvPr id="31" name="TextBox 30">
            <a:extLst>
              <a:ext uri="{FF2B5EF4-FFF2-40B4-BE49-F238E27FC236}">
                <a16:creationId xmlns:a16="http://schemas.microsoft.com/office/drawing/2014/main" id="{DD5DE15E-A614-765B-4430-4119F2189C93}"/>
              </a:ext>
            </a:extLst>
          </p:cNvPr>
          <p:cNvSpPr txBox="1"/>
          <p:nvPr/>
        </p:nvSpPr>
        <p:spPr>
          <a:xfrm>
            <a:off x="4932485" y="2438444"/>
            <a:ext cx="2478618"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InfrastructureAsCode</a:t>
            </a:r>
          </a:p>
        </p:txBody>
      </p:sp>
      <p:pic>
        <p:nvPicPr>
          <p:cNvPr id="32" name="Graphic 31">
            <a:extLst>
              <a:ext uri="{FF2B5EF4-FFF2-40B4-BE49-F238E27FC236}">
                <a16:creationId xmlns:a16="http://schemas.microsoft.com/office/drawing/2014/main" id="{3DD9872B-2718-2CF6-C40E-51C5CBAC0B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4390" y="2334063"/>
            <a:ext cx="578095" cy="578095"/>
          </a:xfrm>
          <a:prstGeom prst="rect">
            <a:avLst/>
          </a:prstGeom>
        </p:spPr>
      </p:pic>
      <p:sp>
        <p:nvSpPr>
          <p:cNvPr id="35" name="TextBox 34">
            <a:extLst>
              <a:ext uri="{FF2B5EF4-FFF2-40B4-BE49-F238E27FC236}">
                <a16:creationId xmlns:a16="http://schemas.microsoft.com/office/drawing/2014/main" id="{F34420CB-F9DB-EE84-D973-52211AEE1BDA}"/>
              </a:ext>
            </a:extLst>
          </p:cNvPr>
          <p:cNvSpPr txBox="1"/>
          <p:nvPr/>
        </p:nvSpPr>
        <p:spPr>
          <a:xfrm>
            <a:off x="2018115" y="3018099"/>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lone</a:t>
            </a:r>
          </a:p>
        </p:txBody>
      </p:sp>
      <p:pic>
        <p:nvPicPr>
          <p:cNvPr id="37" name="Picture 36" descr="A black cat in a circle&#10;&#10;Description automatically generated">
            <a:extLst>
              <a:ext uri="{FF2B5EF4-FFF2-40B4-BE49-F238E27FC236}">
                <a16:creationId xmlns:a16="http://schemas.microsoft.com/office/drawing/2014/main" id="{4768EB5C-C7D0-1941-06C6-73BB35148C5A}"/>
              </a:ext>
            </a:extLst>
          </p:cNvPr>
          <p:cNvPicPr>
            <a:picLocks noChangeAspect="1"/>
          </p:cNvPicPr>
          <p:nvPr/>
        </p:nvPicPr>
        <p:blipFill>
          <a:blip r:embed="rId4"/>
          <a:stretch>
            <a:fillRect/>
          </a:stretch>
        </p:blipFill>
        <p:spPr>
          <a:xfrm>
            <a:off x="8541183" y="976926"/>
            <a:ext cx="609610" cy="609610"/>
          </a:xfrm>
          <a:prstGeom prst="rect">
            <a:avLst/>
          </a:prstGeom>
        </p:spPr>
      </p:pic>
      <p:sp>
        <p:nvSpPr>
          <p:cNvPr id="38" name="TextBox 37">
            <a:extLst>
              <a:ext uri="{FF2B5EF4-FFF2-40B4-BE49-F238E27FC236}">
                <a16:creationId xmlns:a16="http://schemas.microsoft.com/office/drawing/2014/main" id="{F72C5F29-DD71-E205-498F-16EAA868A4DB}"/>
              </a:ext>
            </a:extLst>
          </p:cNvPr>
          <p:cNvSpPr txBox="1"/>
          <p:nvPr/>
        </p:nvSpPr>
        <p:spPr>
          <a:xfrm>
            <a:off x="9087137" y="1229197"/>
            <a:ext cx="2478618"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GitHub Project board</a:t>
            </a:r>
          </a:p>
        </p:txBody>
      </p:sp>
      <p:sp>
        <p:nvSpPr>
          <p:cNvPr id="41" name="TextBox 40">
            <a:extLst>
              <a:ext uri="{FF2B5EF4-FFF2-40B4-BE49-F238E27FC236}">
                <a16:creationId xmlns:a16="http://schemas.microsoft.com/office/drawing/2014/main" id="{D40F5CAB-5026-D5CF-97C2-C6BC6C348AAA}"/>
              </a:ext>
            </a:extLst>
          </p:cNvPr>
          <p:cNvSpPr txBox="1"/>
          <p:nvPr/>
        </p:nvSpPr>
        <p:spPr>
          <a:xfrm>
            <a:off x="4932485" y="3119619"/>
            <a:ext cx="2478618"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github</a:t>
            </a:r>
          </a:p>
        </p:txBody>
      </p:sp>
      <p:pic>
        <p:nvPicPr>
          <p:cNvPr id="42" name="Graphic 41">
            <a:extLst>
              <a:ext uri="{FF2B5EF4-FFF2-40B4-BE49-F238E27FC236}">
                <a16:creationId xmlns:a16="http://schemas.microsoft.com/office/drawing/2014/main" id="{BABEE028-BA69-3B78-F592-CAB13F795F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4390" y="3015238"/>
            <a:ext cx="578095" cy="578095"/>
          </a:xfrm>
          <a:prstGeom prst="rect">
            <a:avLst/>
          </a:prstGeom>
        </p:spPr>
      </p:pic>
      <p:pic>
        <p:nvPicPr>
          <p:cNvPr id="43" name="Graphic 42">
            <a:extLst>
              <a:ext uri="{FF2B5EF4-FFF2-40B4-BE49-F238E27FC236}">
                <a16:creationId xmlns:a16="http://schemas.microsoft.com/office/drawing/2014/main" id="{B77711B4-CD7E-73A7-CADC-BC112D0EA4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21086" y="3654759"/>
            <a:ext cx="578095" cy="578095"/>
          </a:xfrm>
          <a:prstGeom prst="rect">
            <a:avLst/>
          </a:prstGeom>
        </p:spPr>
      </p:pic>
      <p:sp>
        <p:nvSpPr>
          <p:cNvPr id="44" name="TextBox 43">
            <a:extLst>
              <a:ext uri="{FF2B5EF4-FFF2-40B4-BE49-F238E27FC236}">
                <a16:creationId xmlns:a16="http://schemas.microsoft.com/office/drawing/2014/main" id="{D11D9292-98CF-56BB-F864-8720C791BB63}"/>
              </a:ext>
            </a:extLst>
          </p:cNvPr>
          <p:cNvSpPr txBox="1"/>
          <p:nvPr/>
        </p:nvSpPr>
        <p:spPr>
          <a:xfrm>
            <a:off x="5599181" y="3759140"/>
            <a:ext cx="1308246"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workflows</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75210" y="4232853"/>
            <a:ext cx="578094" cy="578094"/>
          </a:xfrm>
          <a:prstGeom prst="rect">
            <a:avLst/>
          </a:prstGeom>
        </p:spPr>
      </p:pic>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reate a GitHub project</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316993-B58B-2A6D-153D-2A49AE3A5504}"/>
              </a:ext>
            </a:extLst>
          </p:cNvPr>
          <p:cNvPicPr>
            <a:picLocks noChangeAspect="1"/>
          </p:cNvPicPr>
          <p:nvPr/>
        </p:nvPicPr>
        <p:blipFill>
          <a:blip r:embed="rId7"/>
          <a:stretch>
            <a:fillRect/>
          </a:stretch>
        </p:blipFill>
        <p:spPr>
          <a:xfrm>
            <a:off x="974338" y="2126110"/>
            <a:ext cx="10243312" cy="2996783"/>
          </a:xfrm>
          <a:prstGeom prst="rect">
            <a:avLst/>
          </a:prstGeom>
        </p:spPr>
      </p:pic>
    </p:spTree>
    <p:custDataLst>
      <p:tags r:id="rId1"/>
    </p:custDataLst>
    <p:extLst>
      <p:ext uri="{BB962C8B-B14F-4D97-AF65-F5344CB8AC3E}">
        <p14:creationId xmlns:p14="http://schemas.microsoft.com/office/powerpoint/2010/main" val="25809765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Navigate the project board</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F711AB-E07B-AD74-C9E9-40262DF4E182}"/>
              </a:ext>
            </a:extLst>
          </p:cNvPr>
          <p:cNvPicPr>
            <a:picLocks noChangeAspect="1"/>
          </p:cNvPicPr>
          <p:nvPr/>
        </p:nvPicPr>
        <p:blipFill>
          <a:blip r:embed="rId7"/>
          <a:stretch>
            <a:fillRect/>
          </a:stretch>
        </p:blipFill>
        <p:spPr>
          <a:xfrm>
            <a:off x="914394" y="1967443"/>
            <a:ext cx="10363200" cy="3741669"/>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C79AD7-3B63-95BF-0348-69B59460F416}"/>
              </a:ext>
            </a:extLst>
          </p:cNvPr>
          <p:cNvSpPr>
            <a:spLocks noGrp="1"/>
          </p:cNvSpPr>
          <p:nvPr>
            <p:ph type="title"/>
          </p:nvPr>
        </p:nvSpPr>
        <p:spPr>
          <a:xfrm>
            <a:off x="588263" y="457200"/>
            <a:ext cx="11018520" cy="430887"/>
          </a:xfrm>
        </p:spPr>
        <p:txBody>
          <a:bodyPr/>
          <a:lstStyle/>
          <a:p>
            <a:r>
              <a:rPr lang="en-US" noProof="0" dirty="0"/>
              <a:t>Create a GitHub actions workflow</a:t>
            </a:r>
            <a:endParaRPr lang="en-IN" dirty="0"/>
          </a:p>
        </p:txBody>
      </p:sp>
      <p:sp>
        <p:nvSpPr>
          <p:cNvPr id="8" name="Rectangle: Top Corners Rounded 7">
            <a:extLst>
              <a:ext uri="{FF2B5EF4-FFF2-40B4-BE49-F238E27FC236}">
                <a16:creationId xmlns:a16="http://schemas.microsoft.com/office/drawing/2014/main" id="{AAAFFF89-759B-82E4-1E2D-B9D72E2C4B4E}"/>
              </a:ext>
              <a:ext uri="{C183D7F6-B498-43B3-948B-1728B52AA6E4}">
                <adec:decorative xmlns:adec="http://schemas.microsoft.com/office/drawing/2017/decorative" val="1"/>
              </a:ext>
            </a:extLst>
          </p:cNvPr>
          <p:cNvSpPr/>
          <p:nvPr/>
        </p:nvSpPr>
        <p:spPr bwMode="auto">
          <a:xfrm rot="16200000" flipH="1">
            <a:off x="6373306" y="789408"/>
            <a:ext cx="4616834"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TextBox 8">
            <a:extLst>
              <a:ext uri="{FF2B5EF4-FFF2-40B4-BE49-F238E27FC236}">
                <a16:creationId xmlns:a16="http://schemas.microsoft.com/office/drawing/2014/main" id="{5C2A083B-BB45-9818-F793-6F13F3C96420}"/>
              </a:ext>
            </a:extLst>
          </p:cNvPr>
          <p:cNvSpPr txBox="1"/>
          <p:nvPr/>
        </p:nvSpPr>
        <p:spPr>
          <a:xfrm>
            <a:off x="590868" y="1549662"/>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the first of several GitHub Actions workflows.</a:t>
            </a:r>
          </a:p>
        </p:txBody>
      </p:sp>
      <p:sp>
        <p:nvSpPr>
          <p:cNvPr id="10" name="Rectangle: Rounded Corners 9">
            <a:extLst>
              <a:ext uri="{FF2B5EF4-FFF2-40B4-BE49-F238E27FC236}">
                <a16:creationId xmlns:a16="http://schemas.microsoft.com/office/drawing/2014/main" id="{498924BE-6247-3CE0-0094-F7DCCDCDEA44}"/>
              </a:ext>
              <a:ext uri="{C183D7F6-B498-43B3-948B-1728B52AA6E4}">
                <adec:decorative xmlns:adec="http://schemas.microsoft.com/office/drawing/2017/decorative" val="1"/>
              </a:ext>
            </a:extLst>
          </p:cNvPr>
          <p:cNvSpPr/>
          <p:nvPr/>
        </p:nvSpPr>
        <p:spPr bwMode="auto">
          <a:xfrm>
            <a:off x="5274901" y="2182647"/>
            <a:ext cx="6912021" cy="4314867"/>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name: First Workf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o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workflow_dispatc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issu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ypes: [open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job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two</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two"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2:</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needs: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uses: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mscoutermars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ction@master</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with:</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ext: 'Ready for prod--ship i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color: 'magenta'</a:t>
            </a:r>
            <a:endParaRPr kumimoji="0" lang="en-IN"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p:txBody>
      </p:sp>
      <p:sp>
        <p:nvSpPr>
          <p:cNvPr id="38" name="Rectangle 37">
            <a:extLst>
              <a:ext uri="{FF2B5EF4-FFF2-40B4-BE49-F238E27FC236}">
                <a16:creationId xmlns:a16="http://schemas.microsoft.com/office/drawing/2014/main" id="{026B2647-DB4F-2695-9F8D-E63D01317442}"/>
              </a:ext>
              <a:ext uri="{C183D7F6-B498-43B3-948B-1728B52AA6E4}">
                <adec:decorative xmlns:adec="http://schemas.microsoft.com/office/drawing/2017/decorative" val="1"/>
              </a:ext>
            </a:extLst>
          </p:cNvPr>
          <p:cNvSpPr/>
          <p:nvPr/>
        </p:nvSpPr>
        <p:spPr bwMode="auto">
          <a:xfrm>
            <a:off x="0" y="2366139"/>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0" name="TextBox 39">
            <a:extLst>
              <a:ext uri="{FF2B5EF4-FFF2-40B4-BE49-F238E27FC236}">
                <a16:creationId xmlns:a16="http://schemas.microsoft.com/office/drawing/2014/main" id="{F1CEAFEB-D5ED-FB06-9897-A532572E1E91}"/>
              </a:ext>
            </a:extLst>
          </p:cNvPr>
          <p:cNvSpPr txBox="1">
            <a:spLocks/>
          </p:cNvSpPr>
          <p:nvPr/>
        </p:nvSpPr>
        <p:spPr>
          <a:xfrm>
            <a:off x="930867" y="2519174"/>
            <a:ext cx="4082567"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llow the workflow to run manually.</a:t>
            </a:r>
          </a:p>
        </p:txBody>
      </p:sp>
      <p:sp>
        <p:nvSpPr>
          <p:cNvPr id="43" name="TextBox 42">
            <a:extLst>
              <a:ext uri="{FF2B5EF4-FFF2-40B4-BE49-F238E27FC236}">
                <a16:creationId xmlns:a16="http://schemas.microsoft.com/office/drawing/2014/main" id="{ADDDD5EE-98FB-771F-FFC7-A130268543D0}"/>
              </a:ext>
            </a:extLst>
          </p:cNvPr>
          <p:cNvSpPr txBox="1">
            <a:spLocks/>
          </p:cNvSpPr>
          <p:nvPr/>
        </p:nvSpPr>
        <p:spPr>
          <a:xfrm>
            <a:off x="930866" y="3357941"/>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has one or more jobs. We will create two jobs.</a:t>
            </a:r>
          </a:p>
        </p:txBody>
      </p:sp>
      <p:sp>
        <p:nvSpPr>
          <p:cNvPr id="46" name="TextBox 45">
            <a:extLst>
              <a:ext uri="{FF2B5EF4-FFF2-40B4-BE49-F238E27FC236}">
                <a16:creationId xmlns:a16="http://schemas.microsoft.com/office/drawing/2014/main" id="{22FF6E5F-FF18-E4EB-2DB0-85B82DC1FF55}"/>
              </a:ext>
            </a:extLst>
          </p:cNvPr>
          <p:cNvSpPr txBox="1">
            <a:spLocks/>
          </p:cNvSpPr>
          <p:nvPr/>
        </p:nvSpPr>
        <p:spPr>
          <a:xfrm>
            <a:off x="930866" y="4450708"/>
            <a:ext cx="4092901"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job has one or more steps.</a:t>
            </a:r>
          </a:p>
        </p:txBody>
      </p:sp>
      <p:sp>
        <p:nvSpPr>
          <p:cNvPr id="49" name="TextBox 48">
            <a:extLst>
              <a:ext uri="{FF2B5EF4-FFF2-40B4-BE49-F238E27FC236}">
                <a16:creationId xmlns:a16="http://schemas.microsoft.com/office/drawing/2014/main" id="{07477294-2093-1F49-9B4E-FC48E5CF640D}"/>
              </a:ext>
            </a:extLst>
          </p:cNvPr>
          <p:cNvSpPr txBox="1">
            <a:spLocks/>
          </p:cNvSpPr>
          <p:nvPr/>
        </p:nvSpPr>
        <p:spPr>
          <a:xfrm>
            <a:off x="930866" y="5081608"/>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You’ll include the </a:t>
            </a:r>
            <a:r>
              <a:rPr kumimoji="0" lang="en-US" sz="1600" b="0" i="0" u="none" strike="noStrike" kern="1200" cap="none" spc="0" normalizeH="0" baseline="0" noProof="0" dirty="0" err="1">
                <a:ln>
                  <a:noFill/>
                </a:ln>
                <a:solidFill>
                  <a:srgbClr val="000000"/>
                </a:solidFill>
                <a:effectLst/>
                <a:uLnTx/>
                <a:uFillTx/>
                <a:latin typeface="Segoe UI "/>
                <a:ea typeface="+mn-ea"/>
                <a:cs typeface="+mn-cs"/>
              </a:rPr>
              <a:t>cowsays</a:t>
            </a:r>
            <a:r>
              <a:rPr kumimoji="0" lang="en-US" sz="1600" b="0" i="0" u="none" strike="noStrike" kern="1200" cap="none" spc="0" normalizeH="0" baseline="0" noProof="0" dirty="0">
                <a:ln>
                  <a:noFill/>
                </a:ln>
                <a:solidFill>
                  <a:srgbClr val="000000"/>
                </a:solidFill>
                <a:effectLst/>
                <a:uLnTx/>
                <a:uFillTx/>
                <a:latin typeface="Segoe UI "/>
                <a:ea typeface="+mn-ea"/>
                <a:cs typeface="+mn-cs"/>
              </a:rPr>
              <a:t> action from the GitHub Marketplace.</a:t>
            </a:r>
          </a:p>
        </p:txBody>
      </p:sp>
      <p:grpSp>
        <p:nvGrpSpPr>
          <p:cNvPr id="2" name="Group 1">
            <a:extLst>
              <a:ext uri="{FF2B5EF4-FFF2-40B4-BE49-F238E27FC236}">
                <a16:creationId xmlns:a16="http://schemas.microsoft.com/office/drawing/2014/main" id="{3CF809F5-2550-BF8E-523A-FCCD3774B9C5}"/>
              </a:ext>
              <a:ext uri="{C183D7F6-B498-43B3-948B-1728B52AA6E4}">
                <adec:decorative xmlns:adec="http://schemas.microsoft.com/office/drawing/2017/decorative" val="1"/>
              </a:ext>
            </a:extLst>
          </p:cNvPr>
          <p:cNvGrpSpPr/>
          <p:nvPr/>
        </p:nvGrpSpPr>
        <p:grpSpPr>
          <a:xfrm>
            <a:off x="588264" y="2582660"/>
            <a:ext cx="120396" cy="2745170"/>
            <a:chOff x="588264" y="2582660"/>
            <a:chExt cx="120396" cy="2745170"/>
          </a:xfrm>
        </p:grpSpPr>
        <p:sp>
          <p:nvSpPr>
            <p:cNvPr id="41" name="Freeform: Shape 11">
              <a:extLst>
                <a:ext uri="{FF2B5EF4-FFF2-40B4-BE49-F238E27FC236}">
                  <a16:creationId xmlns:a16="http://schemas.microsoft.com/office/drawing/2014/main" id="{39C4BF0C-1BAC-B460-9C28-9616F6814A33}"/>
                </a:ext>
              </a:extLst>
            </p:cNvPr>
            <p:cNvSpPr>
              <a:spLocks/>
            </p:cNvSpPr>
            <p:nvPr/>
          </p:nvSpPr>
          <p:spPr bwMode="auto">
            <a:xfrm>
              <a:off x="588264" y="25826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4" name="Freeform: Shape 11">
              <a:extLst>
                <a:ext uri="{FF2B5EF4-FFF2-40B4-BE49-F238E27FC236}">
                  <a16:creationId xmlns:a16="http://schemas.microsoft.com/office/drawing/2014/main" id="{89496162-7614-AA94-3047-31A5272185A6}"/>
                </a:ext>
              </a:extLst>
            </p:cNvPr>
            <p:cNvSpPr>
              <a:spLocks/>
            </p:cNvSpPr>
            <p:nvPr/>
          </p:nvSpPr>
          <p:spPr bwMode="auto">
            <a:xfrm>
              <a:off x="588264" y="3418901"/>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7" name="Freeform: Shape 11">
              <a:extLst>
                <a:ext uri="{FF2B5EF4-FFF2-40B4-BE49-F238E27FC236}">
                  <a16:creationId xmlns:a16="http://schemas.microsoft.com/office/drawing/2014/main" id="{D58CE2AD-070D-2791-87A9-D161A52A1229}"/>
                </a:ext>
              </a:extLst>
            </p:cNvPr>
            <p:cNvSpPr>
              <a:spLocks/>
            </p:cNvSpPr>
            <p:nvPr/>
          </p:nvSpPr>
          <p:spPr bwMode="auto">
            <a:xfrm>
              <a:off x="588264" y="4526908"/>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0" name="Freeform: Shape 11">
              <a:extLst>
                <a:ext uri="{FF2B5EF4-FFF2-40B4-BE49-F238E27FC236}">
                  <a16:creationId xmlns:a16="http://schemas.microsoft.com/office/drawing/2014/main" id="{FE654C99-8821-911E-CE37-81E32493087B}"/>
                </a:ext>
              </a:extLst>
            </p:cNvPr>
            <p:cNvSpPr>
              <a:spLocks/>
            </p:cNvSpPr>
            <p:nvPr/>
          </p:nvSpPr>
          <p:spPr bwMode="auto">
            <a:xfrm>
              <a:off x="588264" y="5207434"/>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81159828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9DC32FC-7D88-4098-BBDA-40061F133983}"/>
              </a:ext>
              <a:ext uri="{C183D7F6-B498-43B3-948B-1728B52AA6E4}">
                <adec:decorative xmlns:adec="http://schemas.microsoft.com/office/drawing/2017/decorative" val="1"/>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 name="Title 1">
            <a:extLst>
              <a:ext uri="{FF2B5EF4-FFF2-40B4-BE49-F238E27FC236}">
                <a16:creationId xmlns:a16="http://schemas.microsoft.com/office/drawing/2014/main" id="{4CF3C0D8-6161-F876-224D-802A44AE60F5}"/>
              </a:ext>
              <a:ext uri="{C183D7F6-B498-43B3-948B-1728B52AA6E4}">
                <adec:decorative xmlns:adec="http://schemas.microsoft.com/office/drawing/2017/decorative" val="0"/>
              </a:ext>
            </a:extLst>
          </p:cNvPr>
          <p:cNvSpPr>
            <a:spLocks noGrp="1"/>
          </p:cNvSpPr>
          <p:nvPr>
            <p:ph type="title"/>
          </p:nvPr>
        </p:nvSpPr>
        <p:spPr>
          <a:xfrm>
            <a:off x="588263" y="457200"/>
            <a:ext cx="2688337" cy="1138773"/>
          </a:xfrm>
        </p:spPr>
        <p:txBody>
          <a:bodyPr/>
          <a:lstStyle/>
          <a:p>
            <a:r>
              <a:rPr lang="en-US" dirty="0">
                <a:solidFill>
                  <a:schemeClr val="bg1"/>
                </a:solidFill>
                <a:cs typeface="Segoe UI"/>
              </a:rPr>
              <a:t>Exercise two summary</a:t>
            </a:r>
            <a:br>
              <a:rPr lang="en-US" b="0" spc="0" dirty="0">
                <a:ln>
                  <a:noFill/>
                </a:ln>
                <a:cs typeface="+mn-cs"/>
              </a:rPr>
            </a:br>
            <a:r>
              <a:rPr lang="en-US" sz="1800" spc="0" dirty="0">
                <a:ln>
                  <a:noFill/>
                </a:ln>
                <a:solidFill>
                  <a:srgbClr val="FFFFFF"/>
                </a:solidFill>
                <a:latin typeface="Segoe UI "/>
                <a:cs typeface="Segoe UI"/>
              </a:rPr>
              <a:t>Start working in GitHub</a:t>
            </a:r>
            <a:endParaRPr lang="en-US" sz="1800" dirty="0">
              <a:solidFill>
                <a:schemeClr val="bg1"/>
              </a:solidFill>
            </a:endParaRPr>
          </a:p>
        </p:txBody>
      </p:sp>
      <p:sp>
        <p:nvSpPr>
          <p:cNvPr id="10" name="Freeform: Shape 9">
            <a:extLst>
              <a:ext uri="{FF2B5EF4-FFF2-40B4-BE49-F238E27FC236}">
                <a16:creationId xmlns:a16="http://schemas.microsoft.com/office/drawing/2014/main" id="{1E98F374-AEB3-0659-95E2-34C88EF9BD14}"/>
              </a:ext>
              <a:ext uri="{C183D7F6-B498-43B3-948B-1728B52AA6E4}">
                <adec:decorative xmlns:adec="http://schemas.microsoft.com/office/drawing/2017/decorative" val="0"/>
              </a:ext>
            </a:extLst>
          </p:cNvPr>
          <p:cNvSpPr/>
          <p:nvPr/>
        </p:nvSpPr>
        <p:spPr bwMode="auto">
          <a:xfrm>
            <a:off x="3588977" y="210620"/>
            <a:ext cx="8603023" cy="605683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 uri="{C183D7F6-B498-43B3-948B-1728B52AA6E4}">
                <adec:decorative xmlns:adec="http://schemas.microsoft.com/office/drawing/2017/decorative" val="0"/>
              </a:ext>
            </a:extLst>
          </p:cNvPr>
          <p:cNvSpPr/>
          <p:nvPr/>
        </p:nvSpPr>
        <p:spPr bwMode="auto">
          <a:xfrm>
            <a:off x="3729802" y="281360"/>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ea typeface="+mn-ea"/>
                <a:cs typeface="+mn-cs"/>
              </a:rPr>
              <a:t>In this exercise you:</a:t>
            </a:r>
          </a:p>
        </p:txBody>
      </p:sp>
      <p:grpSp>
        <p:nvGrpSpPr>
          <p:cNvPr id="13" name="Group 12">
            <a:extLst>
              <a:ext uri="{FF2B5EF4-FFF2-40B4-BE49-F238E27FC236}">
                <a16:creationId xmlns:a16="http://schemas.microsoft.com/office/drawing/2014/main" id="{36A25F59-5F30-9691-A845-51AAB6A9473E}"/>
              </a:ext>
              <a:ext uri="{C183D7F6-B498-43B3-948B-1728B52AA6E4}">
                <adec:decorative xmlns:adec="http://schemas.microsoft.com/office/drawing/2017/decorative" val="1"/>
              </a:ext>
            </a:extLst>
          </p:cNvPr>
          <p:cNvGrpSpPr/>
          <p:nvPr/>
        </p:nvGrpSpPr>
        <p:grpSpPr>
          <a:xfrm>
            <a:off x="3810887" y="377378"/>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ext Placeholder 4">
            <a:extLst>
              <a:ext uri="{FF2B5EF4-FFF2-40B4-BE49-F238E27FC236}">
                <a16:creationId xmlns:a16="http://schemas.microsoft.com/office/drawing/2014/main" id="{430363F1-F33D-6CF1-83DE-0DF963811E1A}"/>
              </a:ext>
            </a:extLst>
          </p:cNvPr>
          <p:cNvSpPr txBox="1">
            <a:spLocks/>
          </p:cNvSpPr>
          <p:nvPr/>
        </p:nvSpPr>
        <p:spPr>
          <a:xfrm>
            <a:off x="3588976" y="1256146"/>
            <a:ext cx="8462198" cy="4010329"/>
          </a:xfrm>
          <a:prstGeom prst="rect">
            <a:avLst/>
          </a:prstGeom>
        </p:spPr>
        <p:txBody>
          <a:bodyPr vert="horz" wrap="square" lIns="0" tIns="0" rIns="0" bIns="0" rtlCol="0" anchor="t">
            <a:spAutoFit/>
          </a:bodyPr>
          <a:lstStyle>
            <a:defPPr>
              <a:defRPr lang="en-US"/>
            </a:defPPr>
            <a:lvl1pPr marL="228600" marR="0" indent="-228600" defTabSz="932742" fontAlgn="auto">
              <a:lnSpc>
                <a:spcPct val="90000"/>
              </a:lnSpc>
              <a:spcBef>
                <a:spcPts val="1000"/>
              </a:spcBef>
              <a:spcAft>
                <a:spcPts val="0"/>
              </a:spcAft>
              <a:buClrTx/>
              <a:buSzPct val="120000"/>
              <a:buFont typeface="Arial" panose="020B0604020202020204" pitchFamily="34" charset="0"/>
              <a:buChar char="•"/>
              <a:tabLst/>
              <a:defRPr sz="2800" spc="0" baseline="0">
                <a:latin typeface="+mj-lt"/>
                <a:cs typeface="Arial"/>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2600" dirty="0"/>
              <a:t> Created a GitHub repository.</a:t>
            </a:r>
          </a:p>
          <a:p>
            <a:r>
              <a:rPr lang="en-US" sz="2600" dirty="0"/>
              <a:t> Created a GitHub project.</a:t>
            </a:r>
          </a:p>
          <a:p>
            <a:r>
              <a:rPr lang="en-US" sz="2600" dirty="0"/>
              <a:t> Assigned issues to teammates and navigated through a </a:t>
            </a:r>
            <a:br>
              <a:rPr lang="en-US" sz="2600" dirty="0"/>
            </a:br>
            <a:r>
              <a:rPr lang="en-US" sz="2600" dirty="0"/>
              <a:t> project board.</a:t>
            </a:r>
          </a:p>
          <a:p>
            <a:r>
              <a:rPr lang="en-US" sz="2600" dirty="0"/>
              <a:t> Added custom fields to issues.</a:t>
            </a:r>
          </a:p>
          <a:p>
            <a:r>
              <a:rPr lang="en-US" sz="2600" dirty="0"/>
              <a:t> Created a GitHub Actions workflow.</a:t>
            </a:r>
          </a:p>
          <a:p>
            <a:r>
              <a:rPr lang="en-US" sz="2600" b="0" i="0" dirty="0">
                <a:solidFill>
                  <a:srgbClr val="1F2328"/>
                </a:solidFill>
                <a:effectLst/>
              </a:rPr>
              <a:t> Extended a GitHub Actions workflow with multiple jobs.</a:t>
            </a:r>
          </a:p>
          <a:p>
            <a:r>
              <a:rPr lang="en-US" sz="2600" b="0" i="0" dirty="0">
                <a:solidFill>
                  <a:srgbClr val="1F2328"/>
                </a:solidFill>
                <a:effectLst/>
              </a:rPr>
              <a:t> Incorporated workflow actions from the GitHub </a:t>
            </a:r>
            <a:br>
              <a:rPr lang="en-US" sz="2600" b="0" i="0" dirty="0">
                <a:solidFill>
                  <a:srgbClr val="1F2328"/>
                </a:solidFill>
                <a:effectLst/>
              </a:rPr>
            </a:br>
            <a:r>
              <a:rPr lang="en-US" sz="2600" b="0" i="0" dirty="0">
                <a:solidFill>
                  <a:srgbClr val="1F2328"/>
                </a:solidFill>
                <a:effectLst/>
              </a:rPr>
              <a:t> Marketplace.</a:t>
            </a:r>
            <a:endParaRPr lang="en-US" sz="2600" dirty="0"/>
          </a:p>
        </p:txBody>
      </p:sp>
    </p:spTree>
    <p:custDataLst>
      <p:tags r:id="rId1"/>
    </p:custDataLst>
    <p:extLst>
      <p:ext uri="{BB962C8B-B14F-4D97-AF65-F5344CB8AC3E}">
        <p14:creationId xmlns:p14="http://schemas.microsoft.com/office/powerpoint/2010/main" val="281877602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6">
            <a:extLst>
              <a:ext uri="{FF2B5EF4-FFF2-40B4-BE49-F238E27FC236}">
                <a16:creationId xmlns:a16="http://schemas.microsoft.com/office/drawing/2014/main" id="{4FA998FA-BA73-17AE-7C4E-AE91A5568B7F}"/>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08657" y="50800"/>
            <a:ext cx="823686" cy="823686"/>
          </a:xfrm>
          <a:prstGeom prst="rect">
            <a:avLst/>
          </a:prstGeom>
        </p:spPr>
      </p:pic>
      <p:sp>
        <p:nvSpPr>
          <p:cNvPr id="4" name="Text Placeholder 3">
            <a:extLst>
              <a:ext uri="{FF2B5EF4-FFF2-40B4-BE49-F238E27FC236}">
                <a16:creationId xmlns:a16="http://schemas.microsoft.com/office/drawing/2014/main" id="{1FA412C0-57D7-8C2B-8BC3-73B3B1695764}"/>
              </a:ext>
            </a:extLst>
          </p:cNvPr>
          <p:cNvSpPr>
            <a:spLocks noGrp="1"/>
          </p:cNvSpPr>
          <p:nvPr>
            <p:ph type="title" idx="4294967295"/>
          </p:nvPr>
        </p:nvSpPr>
        <p:spPr>
          <a:xfrm>
            <a:off x="563563" y="185738"/>
            <a:ext cx="11045825"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mj-lt"/>
                <a:ea typeface="+mn-ea"/>
                <a:cs typeface="Segoe UI"/>
              </a:rPr>
              <a:t>Debrief exercises one and two</a:t>
            </a:r>
            <a:endParaRPr kumimoji="0" lang="en-US" sz="36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7" name="Rectangle: Rounded Corners 6">
            <a:extLst>
              <a:ext uri="{FF2B5EF4-FFF2-40B4-BE49-F238E27FC236}">
                <a16:creationId xmlns:a16="http://schemas.microsoft.com/office/drawing/2014/main" id="{086F9494-2AFD-5898-F852-5F0736907418}"/>
              </a:ext>
              <a:ext uri="{C183D7F6-B498-43B3-948B-1728B52AA6E4}">
                <adec:decorative xmlns:adec="http://schemas.microsoft.com/office/drawing/2017/decorative" val="1"/>
              </a:ext>
            </a:extLst>
          </p:cNvPr>
          <p:cNvSpPr/>
          <p:nvPr/>
        </p:nvSpPr>
        <p:spPr bwMode="auto">
          <a:xfrm>
            <a:off x="509953" y="1020070"/>
            <a:ext cx="10937630" cy="761729"/>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endParaRPr lang="en-US" sz="2000">
              <a:solidFill>
                <a:schemeClr val="bg1"/>
              </a:solidFill>
            </a:endParaRPr>
          </a:p>
        </p:txBody>
      </p:sp>
      <p:pic>
        <p:nvPicPr>
          <p:cNvPr id="9" name="Graphic 9">
            <a:extLst>
              <a:ext uri="{FF2B5EF4-FFF2-40B4-BE49-F238E27FC236}">
                <a16:creationId xmlns:a16="http://schemas.microsoft.com/office/drawing/2014/main" id="{2B356D82-89FC-1F71-E5F5-110E6D3C5777}"/>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4417" y="1083990"/>
            <a:ext cx="674077" cy="668216"/>
          </a:xfrm>
          <a:prstGeom prst="rect">
            <a:avLst/>
          </a:prstGeom>
        </p:spPr>
      </p:pic>
      <p:sp>
        <p:nvSpPr>
          <p:cNvPr id="8" name="TextBox 7">
            <a:extLst>
              <a:ext uri="{FF2B5EF4-FFF2-40B4-BE49-F238E27FC236}">
                <a16:creationId xmlns:a16="http://schemas.microsoft.com/office/drawing/2014/main" id="{744BEB9B-A7B9-F8EC-8D8A-29FD70E00A30}"/>
              </a:ext>
            </a:extLst>
          </p:cNvPr>
          <p:cNvSpPr txBox="1"/>
          <p:nvPr/>
        </p:nvSpPr>
        <p:spPr>
          <a:xfrm>
            <a:off x="1570893" y="1267602"/>
            <a:ext cx="9699858"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dirty="0">
                <a:solidFill>
                  <a:srgbClr val="FFFFFF"/>
                </a:solidFill>
              </a:rPr>
              <a:t>Reflection and discussion points</a:t>
            </a:r>
            <a:endParaRPr lang="en-US" dirty="0"/>
          </a:p>
        </p:txBody>
      </p:sp>
      <p:sp>
        <p:nvSpPr>
          <p:cNvPr id="5" name="Text Placeholder 4">
            <a:extLst>
              <a:ext uri="{FF2B5EF4-FFF2-40B4-BE49-F238E27FC236}">
                <a16:creationId xmlns:a16="http://schemas.microsoft.com/office/drawing/2014/main" id="{640E52C3-C80E-4F0A-E53F-5523170945A3}"/>
              </a:ext>
            </a:extLst>
          </p:cNvPr>
          <p:cNvSpPr>
            <a:spLocks noGrp="1"/>
          </p:cNvSpPr>
          <p:nvPr>
            <p:ph type="body" sz="quarter" idx="13"/>
          </p:nvPr>
        </p:nvSpPr>
        <p:spPr>
          <a:xfrm>
            <a:off x="521628" y="1812197"/>
            <a:ext cx="11445399" cy="4062651"/>
          </a:xfrm>
        </p:spPr>
        <p:txBody>
          <a:bodyPr vert="horz" wrap="square" lIns="0" tIns="0" rIns="0" bIns="0" rtlCol="0" anchor="t">
            <a:spAutoFit/>
          </a:bodyPr>
          <a:lstStyle/>
          <a:p>
            <a:pPr marL="285750" indent="-285750" algn="l" rtl="0" fontAlgn="base">
              <a:buFont typeface="Arial" panose="020B0604020202020204" pitchFamily="34" charset="0"/>
              <a:buChar char="•"/>
            </a:pPr>
            <a:r>
              <a:rPr lang="en-US" sz="2400" b="0" i="0" dirty="0">
                <a:solidFill>
                  <a:srgbClr val="000000"/>
                </a:solidFill>
                <a:effectLst/>
                <a:latin typeface="+mj-lt"/>
              </a:rPr>
              <a:t>Share what you learned and any challenges you faced. </a:t>
            </a:r>
          </a:p>
          <a:p>
            <a:pPr marL="285750" indent="-285750" algn="l" rtl="0" fontAlgn="base">
              <a:buFont typeface="Arial" panose="020B0604020202020204" pitchFamily="34" charset="0"/>
              <a:buChar char="•"/>
            </a:pPr>
            <a:r>
              <a:rPr lang="en-US" sz="2400" b="0" i="0" dirty="0">
                <a:solidFill>
                  <a:srgbClr val="000000"/>
                </a:solidFill>
                <a:effectLst/>
                <a:latin typeface="+mj-lt"/>
              </a:rPr>
              <a:t>What did you find valuable or interesting? </a:t>
            </a:r>
          </a:p>
          <a:p>
            <a:pPr marL="285750" indent="-285750" algn="l" rtl="0" fontAlgn="base">
              <a:buFont typeface="Arial" panose="020B0604020202020204" pitchFamily="34" charset="0"/>
              <a:buChar char="•"/>
            </a:pPr>
            <a:r>
              <a:rPr lang="en-US" sz="2400" b="0" i="0" dirty="0">
                <a:solidFill>
                  <a:srgbClr val="000000"/>
                </a:solidFill>
                <a:effectLst/>
                <a:latin typeface="+mj-lt"/>
              </a:rPr>
              <a:t>Share your insights, experiences, and any questions you might have. </a:t>
            </a:r>
          </a:p>
          <a:p>
            <a:pPr marL="285750" indent="-285750" algn="l" rtl="0" fontAlgn="base">
              <a:buFont typeface="Arial" panose="020B0604020202020204" pitchFamily="34" charset="0"/>
              <a:buChar char="•"/>
            </a:pPr>
            <a:r>
              <a:rPr lang="en-US" sz="2400" b="0" i="0" dirty="0">
                <a:solidFill>
                  <a:srgbClr val="000000"/>
                </a:solidFill>
                <a:effectLst/>
                <a:latin typeface="+mj-lt"/>
              </a:rPr>
              <a:t>Think about how the exercise content can be applied to real-world scenarios or your work. Share any relevant insights. </a:t>
            </a:r>
          </a:p>
          <a:p>
            <a:pPr marL="285750" indent="-285750" algn="l" rtl="0" fontAlgn="base">
              <a:buFont typeface="Arial" panose="020B0604020202020204" pitchFamily="34" charset="0"/>
              <a:buChar char="•"/>
            </a:pPr>
            <a:r>
              <a:rPr lang="en-US" sz="2400" b="0" i="0" dirty="0">
                <a:solidFill>
                  <a:srgbClr val="000000"/>
                </a:solidFill>
                <a:effectLst/>
                <a:latin typeface="+mj-lt"/>
              </a:rPr>
              <a:t>If there's something you didn't understand or if you're curious about a particular aspect of the exercise, feel free to ask questions. Debrief sessions are meant for clarification and learning. </a:t>
            </a:r>
          </a:p>
          <a:p>
            <a:pPr marL="285750" indent="-285750" algn="l" rtl="0" fontAlgn="base">
              <a:buFont typeface="Arial" panose="020B0604020202020204" pitchFamily="34" charset="0"/>
              <a:buChar char="•"/>
            </a:pPr>
            <a:r>
              <a:rPr lang="en-US" sz="2400" b="0" i="0" dirty="0">
                <a:solidFill>
                  <a:srgbClr val="000000"/>
                </a:solidFill>
                <a:effectLst/>
                <a:latin typeface="+mj-lt"/>
              </a:rPr>
              <a:t>If you have ideas for improving the exercise or applying the concepts differently, don't hesitate to share your suggestions. </a:t>
            </a:r>
            <a:endParaRPr lang="en-US" sz="3200" b="1" dirty="0">
              <a:latin typeface="+mj-lt"/>
            </a:endParaRPr>
          </a:p>
        </p:txBody>
      </p:sp>
      <p:sp>
        <p:nvSpPr>
          <p:cNvPr id="2" name="Footer Placeholder 1">
            <a:extLst>
              <a:ext uri="{FF2B5EF4-FFF2-40B4-BE49-F238E27FC236}">
                <a16:creationId xmlns:a16="http://schemas.microsoft.com/office/drawing/2014/main" id="{81EA2E95-72F8-94D8-8C72-CA21CE9F736A}"/>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2A2C1224-9923-A883-2CA5-08534806FFEF}"/>
              </a:ext>
            </a:extLst>
          </p:cNvPr>
          <p:cNvSpPr>
            <a:spLocks noGrp="1"/>
          </p:cNvSpPr>
          <p:nvPr>
            <p:ph type="sldNum" sz="quarter" idx="18"/>
          </p:nvPr>
        </p:nvSpPr>
        <p:spPr/>
        <p:txBody>
          <a:bodyPr/>
          <a:lstStyle/>
          <a:p>
            <a:fld id="{F126207E-29C7-4F9F-8309-C6BAAD6BC8C8}" type="slidenum">
              <a:rPr lang="en-US" smtClean="0"/>
              <a:pPr/>
              <a:t>38</a:t>
            </a:fld>
            <a:endParaRPr lang="en-US"/>
          </a:p>
        </p:txBody>
      </p:sp>
    </p:spTree>
    <p:custDataLst>
      <p:tags r:id="rId1"/>
    </p:custDataLst>
    <p:extLst>
      <p:ext uri="{BB962C8B-B14F-4D97-AF65-F5344CB8AC3E}">
        <p14:creationId xmlns:p14="http://schemas.microsoft.com/office/powerpoint/2010/main" val="253607529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ltLang="zh-CN" sz="4800" spc="0" dirty="0">
                <a:ln>
                  <a:noFill/>
                </a:ln>
                <a:solidFill>
                  <a:schemeClr val="bg1"/>
                </a:solidFill>
                <a:latin typeface="+mj-lt"/>
              </a:rPr>
              <a:t>Exercise three: improve and deploy your application</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39345367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Before creating an image</a:t>
            </a:r>
            <a:endParaRPr lang="en-US" dirty="0"/>
          </a:p>
        </p:txBody>
      </p:sp>
      <p:sp>
        <p:nvSpPr>
          <p:cNvPr id="5" name="Text Placeholder 4">
            <a:extLst>
              <a:ext uri="{FF2B5EF4-FFF2-40B4-BE49-F238E27FC236}">
                <a16:creationId xmlns:a16="http://schemas.microsoft.com/office/drawing/2014/main" id="{2A7BFAB2-E849-9CD4-0B05-39B37C196AE1}"/>
              </a:ext>
            </a:extLst>
          </p:cNvPr>
          <p:cNvSpPr>
            <a:spLocks noGrp="1"/>
          </p:cNvSpPr>
          <p:nvPr>
            <p:ph type="body" sz="quarter" idx="16"/>
          </p:nvPr>
        </p:nvSpPr>
        <p:spPr>
          <a:xfrm>
            <a:off x="431115" y="1231490"/>
            <a:ext cx="11310656" cy="984885"/>
          </a:xfrm>
        </p:spPr>
        <p:txBody>
          <a:bodyPr vert="horz" wrap="square" lIns="0" tIns="0" rIns="0" bIns="0" rtlCol="0" anchor="t">
            <a:spAutoFit/>
          </a:bodyPr>
          <a:lstStyle/>
          <a:p>
            <a:r>
              <a:rPr lang="en-US" sz="3200" dirty="0">
                <a:solidFill>
                  <a:schemeClr val="accent3">
                    <a:lumMod val="50000"/>
                  </a:schemeClr>
                </a:solidFill>
                <a:latin typeface="+mj-lt"/>
              </a:rPr>
              <a:t>Remove machine specific information by deprovisioning or generalizing a VM before creating an image.</a:t>
            </a:r>
          </a:p>
        </p:txBody>
      </p:sp>
      <p:sp>
        <p:nvSpPr>
          <p:cNvPr id="4" name="Text Placeholder 4">
            <a:extLst>
              <a:ext uri="{FF2B5EF4-FFF2-40B4-BE49-F238E27FC236}">
                <a16:creationId xmlns:a16="http://schemas.microsoft.com/office/drawing/2014/main" id="{8505A2A8-DDA2-5250-850A-12473E554A4E}"/>
              </a:ext>
            </a:extLst>
          </p:cNvPr>
          <p:cNvSpPr txBox="1">
            <a:spLocks/>
          </p:cNvSpPr>
          <p:nvPr/>
        </p:nvSpPr>
        <p:spPr>
          <a:xfrm>
            <a:off x="450228" y="2072864"/>
            <a:ext cx="11741771" cy="418268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1000"/>
              </a:spcBef>
            </a:pPr>
            <a:endParaRPr lang="en-US" sz="1800" dirty="0">
              <a:latin typeface="Segoe UI"/>
              <a:cs typeface="Arial"/>
            </a:endParaRPr>
          </a:p>
          <a:p>
            <a:pPr marL="0" indent="0" algn="l">
              <a:buNone/>
            </a:pPr>
            <a:r>
              <a:rPr lang="en-US" sz="2000" b="1" i="0" dirty="0">
                <a:solidFill>
                  <a:srgbClr val="161616"/>
                </a:solidFill>
                <a:effectLst/>
                <a:latin typeface="Segoe UI" panose="020B0502040204020203" pitchFamily="34" charset="0"/>
              </a:rPr>
              <a:t>Windows process:</a:t>
            </a:r>
          </a:p>
          <a:p>
            <a:pPr algn="l">
              <a:buFont typeface="+mj-lt"/>
              <a:buAutoNum type="arabicPeriod"/>
            </a:pPr>
            <a:r>
              <a:rPr lang="en-US" sz="1800" b="0" i="0" dirty="0">
                <a:solidFill>
                  <a:srgbClr val="161616"/>
                </a:solidFill>
                <a:effectLst/>
                <a:latin typeface="Segoe UI" panose="020B0502040204020203" pitchFamily="34" charset="0"/>
              </a:rPr>
              <a:t>Sign-in to your Windows VM.</a:t>
            </a:r>
          </a:p>
          <a:p>
            <a:pPr algn="l">
              <a:buFont typeface="+mj-lt"/>
              <a:buAutoNum type="arabicPeriod"/>
            </a:pPr>
            <a:r>
              <a:rPr lang="en-US" sz="1800" b="0" i="0" dirty="0">
                <a:solidFill>
                  <a:srgbClr val="161616"/>
                </a:solidFill>
                <a:effectLst/>
                <a:latin typeface="Segoe UI" panose="020B0502040204020203" pitchFamily="34" charset="0"/>
              </a:rPr>
              <a:t>Open a Command Prompt window as an administrator.</a:t>
            </a:r>
          </a:p>
          <a:p>
            <a:pPr algn="l">
              <a:buFont typeface="+mj-lt"/>
              <a:buAutoNum type="arabicPeriod"/>
            </a:pPr>
            <a:r>
              <a:rPr lang="en-US" sz="1800" b="0" i="0" dirty="0">
                <a:solidFill>
                  <a:srgbClr val="161616"/>
                </a:solidFill>
                <a:effectLst/>
                <a:latin typeface="Segoe UI" panose="020B0502040204020203" pitchFamily="34" charset="0"/>
              </a:rPr>
              <a:t>Delete the panther directory (C:\Windows\Panther).</a:t>
            </a:r>
          </a:p>
          <a:p>
            <a:pPr algn="l">
              <a:buFont typeface="+mj-lt"/>
              <a:buAutoNum type="arabicPeriod"/>
            </a:pPr>
            <a:r>
              <a:rPr lang="en-US" sz="1800" b="0" i="0" dirty="0">
                <a:solidFill>
                  <a:srgbClr val="161616"/>
                </a:solidFill>
                <a:effectLst/>
                <a:latin typeface="Segoe UI" panose="020B0502040204020203" pitchFamily="34" charset="0"/>
              </a:rPr>
              <a:t>Verify if CD/DVD-ROM is enabled. If it is disabled, the Windows VM will be stuck at out-of-box experience (OOBE).</a:t>
            </a:r>
          </a:p>
          <a:p>
            <a:pPr algn="l">
              <a:buFont typeface="+mj-lt"/>
              <a:buAutoNum type="arabicPeriod"/>
            </a:pPr>
            <a:r>
              <a:rPr lang="en-US" sz="1800" b="0" i="0" dirty="0">
                <a:solidFill>
                  <a:srgbClr val="161616"/>
                </a:solidFill>
                <a:effectLst/>
                <a:latin typeface="Segoe UI" panose="020B0502040204020203" pitchFamily="34" charset="0"/>
              </a:rPr>
              <a:t>Then change the directory to %</a:t>
            </a:r>
            <a:r>
              <a:rPr lang="en-US" sz="1800" b="0" i="0" dirty="0" err="1">
                <a:solidFill>
                  <a:srgbClr val="161616"/>
                </a:solidFill>
                <a:effectLst/>
                <a:latin typeface="Segoe UI" panose="020B0502040204020203" pitchFamily="34" charset="0"/>
              </a:rPr>
              <a:t>windir</a:t>
            </a:r>
            <a:r>
              <a:rPr lang="en-US" sz="1800" b="0" i="0" dirty="0">
                <a:solidFill>
                  <a:srgbClr val="161616"/>
                </a:solidFill>
                <a:effectLst/>
                <a:latin typeface="Segoe UI" panose="020B0502040204020203" pitchFamily="34" charset="0"/>
              </a:rPr>
              <a:t>%\system32\</a:t>
            </a:r>
            <a:r>
              <a:rPr lang="en-US" sz="1800" b="0" i="0" dirty="0" err="1">
                <a:solidFill>
                  <a:srgbClr val="161616"/>
                </a:solidFill>
                <a:effectLst/>
                <a:latin typeface="Segoe UI" panose="020B0502040204020203" pitchFamily="34" charset="0"/>
              </a:rPr>
              <a:t>sysprep</a:t>
            </a:r>
            <a:r>
              <a:rPr lang="en-US" sz="1800" b="0" i="0" dirty="0">
                <a:solidFill>
                  <a:srgbClr val="161616"/>
                </a:solidFill>
                <a:effectLst/>
                <a:latin typeface="Segoe UI" panose="020B0502040204020203" pitchFamily="34" charset="0"/>
              </a:rPr>
              <a:t>, and then run:</a:t>
            </a:r>
          </a:p>
          <a:p>
            <a:pPr algn="l">
              <a:buFont typeface="+mj-lt"/>
              <a:buAutoNum type="arabicPeriod"/>
            </a:pPr>
            <a:endParaRPr lang="en-US" sz="1800" dirty="0">
              <a:solidFill>
                <a:srgbClr val="161616"/>
              </a:solidFill>
              <a:latin typeface="Segoe UI" panose="020B0502040204020203" pitchFamily="34" charset="0"/>
            </a:endParaRPr>
          </a:p>
          <a:p>
            <a:pPr algn="l">
              <a:buFont typeface="+mj-lt"/>
              <a:buAutoNum type="arabicPeriod"/>
            </a:pPr>
            <a:endParaRPr lang="en-US" sz="1800" b="0" i="0" dirty="0">
              <a:solidFill>
                <a:srgbClr val="161616"/>
              </a:solidFill>
              <a:effectLst/>
              <a:latin typeface="Segoe UI" panose="020B0502040204020203" pitchFamily="34" charset="0"/>
            </a:endParaRPr>
          </a:p>
          <a:p>
            <a:pPr algn="l">
              <a:buFont typeface="+mj-lt"/>
              <a:buAutoNum type="arabicPeriod"/>
            </a:pPr>
            <a:endParaRPr lang="en-US" sz="1800" b="0" i="0" dirty="0">
              <a:solidFill>
                <a:srgbClr val="161616"/>
              </a:solidFill>
              <a:effectLst/>
              <a:latin typeface="Segoe UI" panose="020B0502040204020203" pitchFamily="34" charset="0"/>
            </a:endParaRPr>
          </a:p>
          <a:p>
            <a:pPr marL="342900" indent="-342900" algn="l">
              <a:buFont typeface="+mj-lt"/>
              <a:buAutoNum type="arabicPeriod" startAt="6"/>
            </a:pPr>
            <a:r>
              <a:rPr lang="en-US" sz="1800" b="0" i="0" dirty="0">
                <a:solidFill>
                  <a:srgbClr val="161616"/>
                </a:solidFill>
                <a:effectLst/>
                <a:latin typeface="Segoe UI" panose="020B0502040204020203" pitchFamily="34" charset="0"/>
              </a:rPr>
              <a:t>The VM will shut down when </a:t>
            </a:r>
            <a:r>
              <a:rPr lang="en-US" sz="1800" b="0" i="0" dirty="0" err="1">
                <a:solidFill>
                  <a:srgbClr val="161616"/>
                </a:solidFill>
                <a:effectLst/>
                <a:latin typeface="Segoe UI" panose="020B0502040204020203" pitchFamily="34" charset="0"/>
              </a:rPr>
              <a:t>Sysprep</a:t>
            </a:r>
            <a:r>
              <a:rPr lang="en-US" sz="1800" b="0" i="0" dirty="0">
                <a:solidFill>
                  <a:srgbClr val="161616"/>
                </a:solidFill>
                <a:effectLst/>
                <a:latin typeface="Segoe UI" panose="020B0502040204020203" pitchFamily="34" charset="0"/>
              </a:rPr>
              <a:t> is finished generalizing the VM. Do not restart the VM. Once </a:t>
            </a:r>
            <a:r>
              <a:rPr lang="en-US" sz="1800" b="0" i="0" dirty="0" err="1">
                <a:solidFill>
                  <a:srgbClr val="161616"/>
                </a:solidFill>
                <a:effectLst/>
                <a:latin typeface="Segoe UI" panose="020B0502040204020203" pitchFamily="34" charset="0"/>
              </a:rPr>
              <a:t>Sysprep</a:t>
            </a:r>
            <a:r>
              <a:rPr lang="en-US" sz="1800" b="0" i="0" dirty="0">
                <a:solidFill>
                  <a:srgbClr val="161616"/>
                </a:solidFill>
                <a:effectLst/>
                <a:latin typeface="Segoe UI" panose="020B0502040204020203" pitchFamily="34" charset="0"/>
              </a:rPr>
              <a:t> has finished, set the status of the virtual machine to </a:t>
            </a:r>
            <a:r>
              <a:rPr lang="en-US" sz="1800" b="1" i="0" dirty="0">
                <a:solidFill>
                  <a:srgbClr val="161616"/>
                </a:solidFill>
                <a:effectLst/>
                <a:latin typeface="Segoe UI" panose="020B0502040204020203" pitchFamily="34" charset="0"/>
              </a:rPr>
              <a:t>Generalized</a:t>
            </a:r>
            <a:r>
              <a:rPr lang="en-US" sz="1800" b="0" i="0" dirty="0">
                <a:solidFill>
                  <a:srgbClr val="161616"/>
                </a:solidFill>
                <a:effectLst/>
                <a:latin typeface="Segoe UI" panose="020B0502040204020203" pitchFamily="34" charset="0"/>
              </a:rPr>
              <a:t>.</a:t>
            </a:r>
          </a:p>
          <a:p>
            <a:pPr marL="0" indent="0">
              <a:buNone/>
            </a:pPr>
            <a:endParaRPr lang="en-US" sz="1800" b="1" dirty="0">
              <a:latin typeface="Segoe UI"/>
            </a:endParaRPr>
          </a:p>
        </p:txBody>
      </p:sp>
      <p:pic>
        <p:nvPicPr>
          <p:cNvPr id="7" name="Picture 6">
            <a:extLst>
              <a:ext uri="{FF2B5EF4-FFF2-40B4-BE49-F238E27FC236}">
                <a16:creationId xmlns:a16="http://schemas.microsoft.com/office/drawing/2014/main" id="{0E170869-405D-A64F-46E5-F73A6C8B59C9}"/>
              </a:ext>
            </a:extLst>
          </p:cNvPr>
          <p:cNvPicPr>
            <a:picLocks noChangeAspect="1"/>
          </p:cNvPicPr>
          <p:nvPr/>
        </p:nvPicPr>
        <p:blipFill>
          <a:blip r:embed="rId4"/>
          <a:stretch>
            <a:fillRect/>
          </a:stretch>
        </p:blipFill>
        <p:spPr>
          <a:xfrm>
            <a:off x="730504" y="4403882"/>
            <a:ext cx="7206638" cy="862766"/>
          </a:xfrm>
          <a:prstGeom prst="rect">
            <a:avLst/>
          </a:prstGeom>
        </p:spPr>
      </p:pic>
    </p:spTree>
    <p:custDataLst>
      <p:tags r:id="rId1"/>
    </p:custDataLst>
    <p:extLst>
      <p:ext uri="{BB962C8B-B14F-4D97-AF65-F5344CB8AC3E}">
        <p14:creationId xmlns:p14="http://schemas.microsoft.com/office/powerpoint/2010/main" val="310321750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rove and deploy your applica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deploy Azure resources and introduce CI/CD pipelines to your GitHub repo.</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exercise, you’ll be able to:</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2615081"/>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269732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ploy ARM and Bicep templates via GitHub Actions workflow.</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434759"/>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351700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GitHub Actions workflow for deploying .NET web application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336678"/>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Automatically build and deploy a Docker image as part of a workflow.</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254437"/>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15635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Update an Azure Web App whenever the GitHub Actions workflow deploys a new Docker image.</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074116"/>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2739597"/>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3586027"/>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402042"/>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205488"/>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54507442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three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9" y="1613949"/>
            <a:ext cx="5961552"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9963080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IN" dirty="0"/>
              <a:t>Follow the GitHub flow</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The GitHub Flow is a common process for managing code changes through GitHub.</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72354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tie issues, branches, and pull requests together, letting GitHub close issues and delete feature branches after code moves to the main branch.</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2" name="Group 1" descr="A diagram showing how Application Insights instrumentation in an app sends telemetry to an Application Insights resource.">
            <a:extLst>
              <a:ext uri="{FF2B5EF4-FFF2-40B4-BE49-F238E27FC236}">
                <a16:creationId xmlns:a16="http://schemas.microsoft.com/office/drawing/2014/main" id="{9DF2D11E-29FB-A588-3BA4-482E6F0BC0B7}"/>
              </a:ext>
            </a:extLst>
          </p:cNvPr>
          <p:cNvGrpSpPr/>
          <p:nvPr/>
        </p:nvGrpSpPr>
        <p:grpSpPr>
          <a:xfrm>
            <a:off x="5207216" y="1853624"/>
            <a:ext cx="2943009" cy="3844133"/>
            <a:chOff x="5207216" y="1853624"/>
            <a:chExt cx="2943009" cy="3844133"/>
          </a:xfrm>
        </p:grpSpPr>
        <p:sp>
          <p:nvSpPr>
            <p:cNvPr id="23" name="Rectangle: Rounded Corners 22">
              <a:extLst>
                <a:ext uri="{FF2B5EF4-FFF2-40B4-BE49-F238E27FC236}">
                  <a16:creationId xmlns:a16="http://schemas.microsoft.com/office/drawing/2014/main" id="{8962F124-346C-FDC1-E38E-C535B3D5CF78}"/>
                </a:ext>
              </a:extLst>
            </p:cNvPr>
            <p:cNvSpPr/>
            <p:nvPr/>
          </p:nvSpPr>
          <p:spPr bwMode="auto">
            <a:xfrm>
              <a:off x="5211596" y="1853624"/>
              <a:ext cx="962025" cy="42994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GitHub Issue</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74A965CA-B0B9-B454-ACF5-EA46E88E5902}"/>
                </a:ext>
              </a:extLst>
            </p:cNvPr>
            <p:cNvSpPr/>
            <p:nvPr/>
          </p:nvSpPr>
          <p:spPr bwMode="auto">
            <a:xfrm>
              <a:off x="5211596" y="2506497"/>
              <a:ext cx="962025" cy="44585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feature branch</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5" name="Rectangle: Rounded Corners 24">
              <a:extLst>
                <a:ext uri="{FF2B5EF4-FFF2-40B4-BE49-F238E27FC236}">
                  <a16:creationId xmlns:a16="http://schemas.microsoft.com/office/drawing/2014/main" id="{22044B72-7EC8-CA1E-8F23-AE0C63E7CDE2}"/>
                </a:ext>
              </a:extLst>
            </p:cNvPr>
            <p:cNvSpPr/>
            <p:nvPr/>
          </p:nvSpPr>
          <p:spPr bwMode="auto">
            <a:xfrm>
              <a:off x="5207216" y="3152778"/>
              <a:ext cx="962025" cy="421278"/>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Fetch repo changes locally</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6" name="Rectangle: Rounded Corners 25">
              <a:extLst>
                <a:ext uri="{FF2B5EF4-FFF2-40B4-BE49-F238E27FC236}">
                  <a16:creationId xmlns:a16="http://schemas.microsoft.com/office/drawing/2014/main" id="{8A0B54AA-2610-4984-BC31-F2B26ACD7BEC}"/>
                </a:ext>
              </a:extLst>
            </p:cNvPr>
            <p:cNvSpPr/>
            <p:nvPr/>
          </p:nvSpPr>
          <p:spPr bwMode="auto">
            <a:xfrm>
              <a:off x="5207218" y="3999946"/>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mit and push changes</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FD43A945-B82C-3785-8E01-8C1055E6059F}"/>
                </a:ext>
              </a:extLst>
            </p:cNvPr>
            <p:cNvSpPr/>
            <p:nvPr/>
          </p:nvSpPr>
          <p:spPr bwMode="auto">
            <a:xfrm>
              <a:off x="6763817" y="3618524"/>
              <a:ext cx="1386408" cy="438912"/>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FFFFFF"/>
                  </a:solidFill>
                  <a:effectLst/>
                  <a:uLnTx/>
                  <a:uFillTx/>
                  <a:latin typeface="Segoe UI "/>
                  <a:ea typeface="+mn-ea"/>
                  <a:cs typeface="+mn-cs"/>
                </a:rPr>
                <a:t>VS Code</a:t>
              </a:r>
              <a:endParaRPr kumimoji="0" lang="en-IN" sz="105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cxnSp>
          <p:nvCxnSpPr>
            <p:cNvPr id="56" name="Connector: Elbow 55">
              <a:extLst>
                <a:ext uri="{FF2B5EF4-FFF2-40B4-BE49-F238E27FC236}">
                  <a16:creationId xmlns:a16="http://schemas.microsoft.com/office/drawing/2014/main" id="{EE89B487-4397-E17C-7A32-8AA71703CE2A}"/>
                </a:ext>
              </a:extLst>
            </p:cNvPr>
            <p:cNvCxnSpPr>
              <a:cxnSpLocks/>
              <a:stCxn id="25" idx="3"/>
              <a:endCxn id="30" idx="1"/>
            </p:cNvCxnSpPr>
            <p:nvPr/>
          </p:nvCxnSpPr>
          <p:spPr>
            <a:xfrm>
              <a:off x="6169241" y="3363417"/>
              <a:ext cx="594576" cy="474563"/>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C1B2F63B-BA77-C7E1-00C1-6A6726D4184B}"/>
                </a:ext>
              </a:extLst>
            </p:cNvPr>
            <p:cNvCxnSpPr>
              <a:cxnSpLocks/>
              <a:stCxn id="85" idx="2"/>
              <a:endCxn id="90" idx="0"/>
            </p:cNvCxnSpPr>
            <p:nvPr/>
          </p:nvCxnSpPr>
          <p:spPr>
            <a:xfrm rot="5400000">
              <a:off x="5584598" y="5594124"/>
              <a:ext cx="207265"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C3B7570-43CD-573E-F014-0EF42B9E2B5A}"/>
                </a:ext>
              </a:extLst>
            </p:cNvPr>
            <p:cNvCxnSpPr>
              <a:cxnSpLocks/>
              <a:stCxn id="82" idx="2"/>
              <a:endCxn id="85" idx="0"/>
            </p:cNvCxnSpPr>
            <p:nvPr/>
          </p:nvCxnSpPr>
          <p:spPr>
            <a:xfrm>
              <a:off x="5688230" y="5012555"/>
              <a:ext cx="0" cy="204850"/>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CED43AA7-BC03-BDEB-1E02-72848C8A0458}"/>
                </a:ext>
              </a:extLst>
            </p:cNvPr>
            <p:cNvCxnSpPr>
              <a:cxnSpLocks/>
              <a:stCxn id="26" idx="2"/>
              <a:endCxn id="82" idx="0"/>
            </p:cNvCxnSpPr>
            <p:nvPr/>
          </p:nvCxnSpPr>
          <p:spPr>
            <a:xfrm rot="5400000">
              <a:off x="5585497" y="4541592"/>
              <a:ext cx="205468"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CF5A2386-6A34-360D-0150-EE1DB42DE8A1}"/>
                </a:ext>
              </a:extLst>
            </p:cNvPr>
            <p:cNvCxnSpPr>
              <a:cxnSpLocks/>
              <a:stCxn id="24" idx="2"/>
              <a:endCxn id="25" idx="0"/>
            </p:cNvCxnSpPr>
            <p:nvPr/>
          </p:nvCxnSpPr>
          <p:spPr>
            <a:xfrm flipH="1">
              <a:off x="5688229" y="2952352"/>
              <a:ext cx="4380" cy="200426"/>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B37E843F-10A3-853E-411C-3FCA9A40A39F}"/>
                </a:ext>
              </a:extLst>
            </p:cNvPr>
            <p:cNvCxnSpPr>
              <a:cxnSpLocks/>
              <a:stCxn id="23" idx="2"/>
              <a:endCxn id="24" idx="0"/>
            </p:cNvCxnSpPr>
            <p:nvPr/>
          </p:nvCxnSpPr>
          <p:spPr>
            <a:xfrm>
              <a:off x="5692609" y="2283569"/>
              <a:ext cx="0" cy="222928"/>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C1698F6E-77A5-1B5A-ABB4-69207DA02498}"/>
                </a:ext>
              </a:extLst>
            </p:cNvPr>
            <p:cNvCxnSpPr>
              <a:cxnSpLocks/>
              <a:stCxn id="30" idx="1"/>
              <a:endCxn id="26" idx="3"/>
            </p:cNvCxnSpPr>
            <p:nvPr/>
          </p:nvCxnSpPr>
          <p:spPr>
            <a:xfrm rot="10800000" flipV="1">
              <a:off x="6169243" y="3837980"/>
              <a:ext cx="594574" cy="381422"/>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9F89B5E1-6CF8-D624-9F4B-5D76B4E32D1F}"/>
                </a:ext>
              </a:extLst>
            </p:cNvPr>
            <p:cNvSpPr>
              <a:spLocks/>
            </p:cNvSpPr>
            <p:nvPr/>
          </p:nvSpPr>
          <p:spPr bwMode="auto">
            <a:xfrm>
              <a:off x="7721315" y="3649997"/>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pic>
        <p:nvPicPr>
          <p:cNvPr id="1026" name="Picture 2">
            <a:extLst>
              <a:ext uri="{FF2B5EF4-FFF2-40B4-BE49-F238E27FC236}">
                <a16:creationId xmlns:a16="http://schemas.microsoft.com/office/drawing/2014/main" id="{1259CEFA-F0FA-42EF-DCDF-26F8E5B5E8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5763" y="3674745"/>
            <a:ext cx="298883" cy="298883"/>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Rounded Corners 81">
            <a:extLst>
              <a:ext uri="{FF2B5EF4-FFF2-40B4-BE49-F238E27FC236}">
                <a16:creationId xmlns:a16="http://schemas.microsoft.com/office/drawing/2014/main" id="{DEAF0573-73BC-68E8-B38C-AB5463DEBE9A}"/>
              </a:ext>
            </a:extLst>
          </p:cNvPr>
          <p:cNvSpPr/>
          <p:nvPr/>
        </p:nvSpPr>
        <p:spPr bwMode="auto">
          <a:xfrm>
            <a:off x="5207217" y="4644326"/>
            <a:ext cx="962025" cy="368229"/>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Pull request to </a:t>
            </a:r>
            <a:r>
              <a:rPr kumimoji="0" lang="en-IN" sz="1000" b="1" i="0" u="none" strike="noStrike" kern="1200" cap="none" spc="0" normalizeH="0" baseline="0" noProof="0" dirty="0">
                <a:ln>
                  <a:noFill/>
                </a:ln>
                <a:solidFill>
                  <a:srgbClr val="000000"/>
                </a:solidFill>
                <a:effectLst/>
                <a:uLnTx/>
                <a:uFillTx/>
                <a:latin typeface="Segoe UI "/>
                <a:ea typeface="+mn-ea"/>
                <a:cs typeface="+mn-cs"/>
              </a:rPr>
              <a:t>main</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85" name="Rectangle: Rounded Corners 84">
            <a:extLst>
              <a:ext uri="{FF2B5EF4-FFF2-40B4-BE49-F238E27FC236}">
                <a16:creationId xmlns:a16="http://schemas.microsoft.com/office/drawing/2014/main" id="{4E417D77-8D6A-A69D-CE60-9109F08B3034}"/>
              </a:ext>
            </a:extLst>
          </p:cNvPr>
          <p:cNvSpPr/>
          <p:nvPr/>
        </p:nvSpPr>
        <p:spPr bwMode="auto">
          <a:xfrm>
            <a:off x="5207217" y="5217405"/>
            <a:ext cx="962025" cy="273087"/>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de review</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90" name="Rectangle: Rounded Corners 89">
            <a:extLst>
              <a:ext uri="{FF2B5EF4-FFF2-40B4-BE49-F238E27FC236}">
                <a16:creationId xmlns:a16="http://schemas.microsoft.com/office/drawing/2014/main" id="{B49744EC-78A1-CCB8-6E16-19EE076961B9}"/>
              </a:ext>
            </a:extLst>
          </p:cNvPr>
          <p:cNvSpPr/>
          <p:nvPr/>
        </p:nvSpPr>
        <p:spPr bwMode="auto">
          <a:xfrm>
            <a:off x="5207216" y="5697757"/>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plete pull request</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59134568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a:xfrm>
            <a:off x="563499" y="186252"/>
            <a:ext cx="11045888" cy="553998"/>
          </a:xfrm>
        </p:spPr>
        <p:txBody>
          <a:bodyPr vert="horz" wrap="square" lIns="0" tIns="0" rIns="0" bIns="0" rtlCol="0" anchor="t">
            <a:spAutoFit/>
          </a:bodyPr>
          <a:lstStyle/>
          <a:p>
            <a:r>
              <a:rPr lang="en-US" dirty="0">
                <a:cs typeface="Segoe UI"/>
              </a:rPr>
              <a:t>Organizational roles</a:t>
            </a:r>
            <a:endParaRPr lang="en-US" dirty="0"/>
          </a:p>
        </p:txBody>
      </p:sp>
      <p:pic>
        <p:nvPicPr>
          <p:cNvPr id="9" name="Picture 8">
            <a:extLst>
              <a:ext uri="{FF2B5EF4-FFF2-40B4-BE49-F238E27FC236}">
                <a16:creationId xmlns:a16="http://schemas.microsoft.com/office/drawing/2014/main" id="{DFACC95D-B53F-FB6A-88AA-F4453F02C003}"/>
              </a:ext>
            </a:extLst>
          </p:cNvPr>
          <p:cNvPicPr>
            <a:picLocks noChangeAspect="1"/>
          </p:cNvPicPr>
          <p:nvPr/>
        </p:nvPicPr>
        <p:blipFill>
          <a:blip r:embed="rId4"/>
          <a:stretch>
            <a:fillRect/>
          </a:stretch>
        </p:blipFill>
        <p:spPr>
          <a:xfrm>
            <a:off x="60204" y="2438397"/>
            <a:ext cx="12178688" cy="4079443"/>
          </a:xfrm>
          <a:prstGeom prst="rect">
            <a:avLst/>
          </a:prstGeom>
        </p:spPr>
      </p:pic>
      <p:sp>
        <p:nvSpPr>
          <p:cNvPr id="10" name="Text Placeholder 4">
            <a:extLst>
              <a:ext uri="{FF2B5EF4-FFF2-40B4-BE49-F238E27FC236}">
                <a16:creationId xmlns:a16="http://schemas.microsoft.com/office/drawing/2014/main" id="{AB3951A9-55B7-CD78-7369-571DBF8CFB6C}"/>
              </a:ext>
            </a:extLst>
          </p:cNvPr>
          <p:cNvSpPr txBox="1">
            <a:spLocks/>
          </p:cNvSpPr>
          <p:nvPr/>
        </p:nvSpPr>
        <p:spPr>
          <a:xfrm>
            <a:off x="266700" y="999166"/>
            <a:ext cx="11865096" cy="92333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000" dirty="0">
                <a:solidFill>
                  <a:schemeClr val="accent3">
                    <a:lumMod val="50000"/>
                  </a:schemeClr>
                </a:solidFill>
                <a:latin typeface="+mj-lt"/>
              </a:rPr>
              <a:t>The Dev Box service was designed with three organizational roles in mind: platform engineers, </a:t>
            </a:r>
            <a:r>
              <a:rPr lang="en-US" sz="3000">
                <a:solidFill>
                  <a:schemeClr val="accent3">
                    <a:lumMod val="50000"/>
                  </a:schemeClr>
                </a:solidFill>
                <a:latin typeface="+mj-lt"/>
              </a:rPr>
              <a:t>developer team </a:t>
            </a:r>
            <a:r>
              <a:rPr lang="en-US" sz="3000" dirty="0">
                <a:solidFill>
                  <a:schemeClr val="accent3">
                    <a:lumMod val="50000"/>
                  </a:schemeClr>
                </a:solidFill>
                <a:latin typeface="+mj-lt"/>
              </a:rPr>
              <a:t>l</a:t>
            </a:r>
            <a:r>
              <a:rPr lang="en-US" sz="3000">
                <a:solidFill>
                  <a:schemeClr val="accent3">
                    <a:lumMod val="50000"/>
                  </a:schemeClr>
                </a:solidFill>
                <a:latin typeface="+mj-lt"/>
              </a:rPr>
              <a:t>eads</a:t>
            </a:r>
            <a:r>
              <a:rPr lang="en-US" sz="3000" dirty="0">
                <a:solidFill>
                  <a:schemeClr val="accent3">
                    <a:lumMod val="50000"/>
                  </a:schemeClr>
                </a:solidFill>
                <a:latin typeface="+mj-lt"/>
              </a:rPr>
              <a:t>, and developers.</a:t>
            </a:r>
          </a:p>
        </p:txBody>
      </p:sp>
    </p:spTree>
    <p:custDataLst>
      <p:tags r:id="rId1"/>
    </p:custDataLst>
    <p:extLst>
      <p:ext uri="{BB962C8B-B14F-4D97-AF65-F5344CB8AC3E}">
        <p14:creationId xmlns:p14="http://schemas.microsoft.com/office/powerpoint/2010/main" val="29908317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a:xfrm>
            <a:off x="563499" y="186252"/>
            <a:ext cx="11045888" cy="553998"/>
          </a:xfrm>
        </p:spPr>
        <p:txBody>
          <a:bodyPr vert="horz" wrap="square" lIns="0" tIns="0" rIns="0" bIns="0" rtlCol="0" anchor="t">
            <a:spAutoFit/>
          </a:bodyPr>
          <a:lstStyle/>
          <a:p>
            <a:r>
              <a:rPr lang="en-US" dirty="0">
                <a:cs typeface="Segoe UI"/>
              </a:rPr>
              <a:t>Reasons for having a separate Dev Portal</a:t>
            </a:r>
            <a:endParaRPr lang="en-US" dirty="0"/>
          </a:p>
        </p:txBody>
      </p:sp>
      <p:pic>
        <p:nvPicPr>
          <p:cNvPr id="9" name="Picture 8">
            <a:extLst>
              <a:ext uri="{FF2B5EF4-FFF2-40B4-BE49-F238E27FC236}">
                <a16:creationId xmlns:a16="http://schemas.microsoft.com/office/drawing/2014/main" id="{5432DB33-69D5-3943-F5E0-460C96983193}"/>
              </a:ext>
            </a:extLst>
          </p:cNvPr>
          <p:cNvPicPr>
            <a:picLocks noChangeAspect="1"/>
          </p:cNvPicPr>
          <p:nvPr/>
        </p:nvPicPr>
        <p:blipFill>
          <a:blip r:embed="rId4"/>
          <a:stretch>
            <a:fillRect/>
          </a:stretch>
        </p:blipFill>
        <p:spPr>
          <a:xfrm>
            <a:off x="563499" y="1061056"/>
            <a:ext cx="10066020" cy="5610692"/>
          </a:xfrm>
          <a:prstGeom prst="rect">
            <a:avLst/>
          </a:prstGeom>
        </p:spPr>
      </p:pic>
    </p:spTree>
    <p:custDataLst>
      <p:tags r:id="rId1"/>
    </p:custDataLst>
    <p:extLst>
      <p:ext uri="{BB962C8B-B14F-4D97-AF65-F5344CB8AC3E}">
        <p14:creationId xmlns:p14="http://schemas.microsoft.com/office/powerpoint/2010/main" val="383136948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5170DF-9DDB-F21D-3D6A-F5E190D43C1A}"/>
              </a:ext>
            </a:extLst>
          </p:cNvPr>
          <p:cNvSpPr>
            <a:spLocks noGrp="1"/>
          </p:cNvSpPr>
          <p:nvPr>
            <p:ph type="ftr" sz="quarter" idx="17"/>
          </p:nvPr>
        </p:nvSpPr>
        <p:spPr/>
        <p:txBody>
          <a:bodyPr/>
          <a:lstStyle/>
          <a:p>
            <a:r>
              <a:rPr lang="en-US"/>
              <a:t>Microsoft Confidential</a:t>
            </a:r>
          </a:p>
        </p:txBody>
      </p:sp>
      <p:sp>
        <p:nvSpPr>
          <p:cNvPr id="3" name="Text Placeholder 2">
            <a:extLst>
              <a:ext uri="{FF2B5EF4-FFF2-40B4-BE49-F238E27FC236}">
                <a16:creationId xmlns:a16="http://schemas.microsoft.com/office/drawing/2014/main" id="{4961F89D-8735-D578-82F5-E7F97700642C}"/>
              </a:ext>
            </a:extLst>
          </p:cNvPr>
          <p:cNvSpPr>
            <a:spLocks noGrp="1"/>
          </p:cNvSpPr>
          <p:nvPr>
            <p:ph type="body" sz="quarter" idx="11"/>
          </p:nvPr>
        </p:nvSpPr>
        <p:spPr/>
        <p:txBody>
          <a:bodyPr vert="horz" wrap="square" lIns="0" tIns="0" rIns="0" bIns="0" rtlCol="0" anchor="t">
            <a:spAutoFit/>
          </a:bodyPr>
          <a:lstStyle/>
          <a:p>
            <a:r>
              <a:rPr lang="en-US" dirty="0">
                <a:cs typeface="Segoe UI"/>
              </a:rPr>
              <a:t>GitHub Copilot</a:t>
            </a:r>
            <a:endParaRPr lang="en-US" dirty="0"/>
          </a:p>
        </p:txBody>
      </p:sp>
      <p:pic>
        <p:nvPicPr>
          <p:cNvPr id="4" name="Picture 3">
            <a:extLst>
              <a:ext uri="{FF2B5EF4-FFF2-40B4-BE49-F238E27FC236}">
                <a16:creationId xmlns:a16="http://schemas.microsoft.com/office/drawing/2014/main" id="{466241A2-2AB5-8ADF-8E9D-6A882F6D15E7}"/>
              </a:ext>
            </a:extLst>
          </p:cNvPr>
          <p:cNvPicPr>
            <a:picLocks noChangeAspect="1"/>
          </p:cNvPicPr>
          <p:nvPr/>
        </p:nvPicPr>
        <p:blipFill rotWithShape="1">
          <a:blip r:embed="rId4"/>
          <a:srcRect l="56117" r="15915" b="19316"/>
          <a:stretch/>
        </p:blipFill>
        <p:spPr>
          <a:xfrm>
            <a:off x="8572500" y="3200400"/>
            <a:ext cx="3409950" cy="3276956"/>
          </a:xfrm>
          <a:prstGeom prst="rect">
            <a:avLst/>
          </a:prstGeom>
        </p:spPr>
      </p:pic>
      <p:sp>
        <p:nvSpPr>
          <p:cNvPr id="5" name="Text Placeholder 4">
            <a:extLst>
              <a:ext uri="{FF2B5EF4-FFF2-40B4-BE49-F238E27FC236}">
                <a16:creationId xmlns:a16="http://schemas.microsoft.com/office/drawing/2014/main" id="{2A7BFAB2-E849-9CD4-0B05-39B37C196AE1}"/>
              </a:ext>
            </a:extLst>
          </p:cNvPr>
          <p:cNvSpPr>
            <a:spLocks noGrp="1"/>
          </p:cNvSpPr>
          <p:nvPr>
            <p:ph type="body" sz="quarter" idx="16"/>
          </p:nvPr>
        </p:nvSpPr>
        <p:spPr>
          <a:xfrm>
            <a:off x="391543" y="1949947"/>
            <a:ext cx="8614914" cy="1846659"/>
          </a:xfrm>
        </p:spPr>
        <p:txBody>
          <a:bodyPr vert="horz" wrap="square" lIns="0" tIns="0" rIns="0" bIns="0" rtlCol="0" anchor="t">
            <a:spAutoFit/>
          </a:bodyPr>
          <a:lstStyle/>
          <a:p>
            <a:r>
              <a:rPr lang="en-US" sz="4000" b="0" i="0" dirty="0">
                <a:solidFill>
                  <a:schemeClr val="accent3">
                    <a:lumMod val="50000"/>
                  </a:schemeClr>
                </a:solidFill>
                <a:effectLst/>
                <a:latin typeface="+mj-lt"/>
              </a:rPr>
              <a:t>AI pair programmer built to help developers rediscover the joy and creativity of coding.</a:t>
            </a:r>
          </a:p>
        </p:txBody>
      </p:sp>
    </p:spTree>
    <p:custDataLst>
      <p:tags r:id="rId1"/>
    </p:custDataLst>
    <p:extLst>
      <p:ext uri="{BB962C8B-B14F-4D97-AF65-F5344CB8AC3E}">
        <p14:creationId xmlns:p14="http://schemas.microsoft.com/office/powerpoint/2010/main" val="6513497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962"/>
        <p:cNvGrpSpPr/>
        <p:nvPr/>
      </p:nvGrpSpPr>
      <p:grpSpPr>
        <a:xfrm>
          <a:off x="0" y="0"/>
          <a:ext cx="0" cy="0"/>
          <a:chOff x="0" y="0"/>
          <a:chExt cx="0" cy="0"/>
        </a:xfrm>
      </p:grpSpPr>
      <p:sp>
        <p:nvSpPr>
          <p:cNvPr id="2963" name="Google Shape;2963;p239"/>
          <p:cNvSpPr txBox="1">
            <a:spLocks noGrp="1"/>
          </p:cNvSpPr>
          <p:nvPr>
            <p:ph type="subTitle" idx="1"/>
          </p:nvPr>
        </p:nvSpPr>
        <p:spPr>
          <a:xfrm>
            <a:off x="6968952" y="1856176"/>
            <a:ext cx="4567771" cy="390000"/>
          </a:xfrm>
          <a:prstGeom prst="rect">
            <a:avLst/>
          </a:prstGeom>
          <a:noFill/>
          <a:ln>
            <a:noFill/>
          </a:ln>
        </p:spPr>
        <p:txBody>
          <a:bodyPr spcFirstLastPara="1" wrap="square" lIns="121787" tIns="121787" rIns="121787" bIns="121787" anchor="t" anchorCtr="0">
            <a:noAutofit/>
          </a:bodyPr>
          <a:lstStyle/>
          <a:p>
            <a:pPr marL="0" indent="0"/>
            <a:r>
              <a:rPr lang="en-US" b="1"/>
              <a:t>Increase developer productivity</a:t>
            </a:r>
            <a:endParaRPr/>
          </a:p>
          <a:p>
            <a:pPr marL="0" indent="0"/>
            <a:endParaRPr/>
          </a:p>
        </p:txBody>
      </p:sp>
      <p:sp>
        <p:nvSpPr>
          <p:cNvPr id="2964" name="Google Shape;2964;p239"/>
          <p:cNvSpPr txBox="1">
            <a:spLocks noGrp="1"/>
          </p:cNvSpPr>
          <p:nvPr>
            <p:ph type="subTitle" idx="2"/>
          </p:nvPr>
        </p:nvSpPr>
        <p:spPr>
          <a:xfrm>
            <a:off x="6968952" y="2270703"/>
            <a:ext cx="4567771" cy="670401"/>
          </a:xfrm>
          <a:prstGeom prst="rect">
            <a:avLst/>
          </a:prstGeom>
          <a:noFill/>
          <a:ln>
            <a:noFill/>
          </a:ln>
        </p:spPr>
        <p:txBody>
          <a:bodyPr spcFirstLastPara="1" wrap="square" lIns="121787" tIns="121787" rIns="121787" bIns="121787" anchor="t" anchorCtr="0">
            <a:noAutofit/>
          </a:bodyPr>
          <a:lstStyle/>
          <a:p>
            <a:pPr marL="0" indent="0"/>
            <a:r>
              <a:rPr lang="en-US"/>
              <a:t>And satisfaction by focusing on real problems</a:t>
            </a:r>
            <a:endParaRPr/>
          </a:p>
        </p:txBody>
      </p:sp>
      <p:sp>
        <p:nvSpPr>
          <p:cNvPr id="2965" name="Google Shape;2965;p239"/>
          <p:cNvSpPr txBox="1">
            <a:spLocks noGrp="1"/>
          </p:cNvSpPr>
          <p:nvPr>
            <p:ph type="subTitle" idx="3"/>
          </p:nvPr>
        </p:nvSpPr>
        <p:spPr>
          <a:xfrm>
            <a:off x="6968952" y="2929072"/>
            <a:ext cx="4567771" cy="390000"/>
          </a:xfrm>
          <a:prstGeom prst="rect">
            <a:avLst/>
          </a:prstGeom>
          <a:noFill/>
          <a:ln>
            <a:noFill/>
          </a:ln>
        </p:spPr>
        <p:txBody>
          <a:bodyPr spcFirstLastPara="1" wrap="square" lIns="121787" tIns="121787" rIns="121787" bIns="121787" anchor="t" anchorCtr="0">
            <a:noAutofit/>
          </a:bodyPr>
          <a:lstStyle/>
          <a:p>
            <a:pPr marL="0" indent="0"/>
            <a:r>
              <a:rPr lang="en-US" b="1"/>
              <a:t>Accelerate innovation</a:t>
            </a:r>
            <a:endParaRPr/>
          </a:p>
          <a:p>
            <a:pPr marL="0" indent="0"/>
            <a:endParaRPr/>
          </a:p>
        </p:txBody>
      </p:sp>
      <p:sp>
        <p:nvSpPr>
          <p:cNvPr id="2966" name="Google Shape;2966;p239"/>
          <p:cNvSpPr txBox="1">
            <a:spLocks noGrp="1"/>
          </p:cNvSpPr>
          <p:nvPr>
            <p:ph type="subTitle" idx="4"/>
          </p:nvPr>
        </p:nvSpPr>
        <p:spPr>
          <a:xfrm>
            <a:off x="6968952" y="3343599"/>
            <a:ext cx="4567771" cy="670401"/>
          </a:xfrm>
          <a:prstGeom prst="rect">
            <a:avLst/>
          </a:prstGeom>
          <a:noFill/>
          <a:ln>
            <a:noFill/>
          </a:ln>
        </p:spPr>
        <p:txBody>
          <a:bodyPr spcFirstLastPara="1" wrap="square" lIns="121787" tIns="121787" rIns="121787" bIns="121787" anchor="t" anchorCtr="0">
            <a:noAutofit/>
          </a:bodyPr>
          <a:lstStyle/>
          <a:p>
            <a:pPr marL="0" indent="0"/>
            <a:r>
              <a:rPr lang="en-US"/>
              <a:t>Prototype &amp; innovate more rapidly</a:t>
            </a:r>
            <a:endParaRPr/>
          </a:p>
        </p:txBody>
      </p:sp>
      <p:sp>
        <p:nvSpPr>
          <p:cNvPr id="2967" name="Google Shape;2967;p239"/>
          <p:cNvSpPr txBox="1">
            <a:spLocks noGrp="1"/>
          </p:cNvSpPr>
          <p:nvPr>
            <p:ph type="subTitle" idx="5"/>
          </p:nvPr>
        </p:nvSpPr>
        <p:spPr>
          <a:xfrm>
            <a:off x="6968952" y="3970976"/>
            <a:ext cx="4567771" cy="390000"/>
          </a:xfrm>
          <a:prstGeom prst="rect">
            <a:avLst/>
          </a:prstGeom>
          <a:noFill/>
          <a:ln>
            <a:noFill/>
          </a:ln>
        </p:spPr>
        <p:txBody>
          <a:bodyPr spcFirstLastPara="1" wrap="square" lIns="121787" tIns="121787" rIns="121787" bIns="121787" anchor="t" anchorCtr="0">
            <a:noAutofit/>
          </a:bodyPr>
          <a:lstStyle/>
          <a:p>
            <a:pPr marL="0" indent="0"/>
            <a:r>
              <a:rPr lang="en-US" b="1"/>
              <a:t>Bridge skill gaps</a:t>
            </a:r>
            <a:endParaRPr/>
          </a:p>
          <a:p>
            <a:pPr marL="0" indent="0"/>
            <a:endParaRPr/>
          </a:p>
        </p:txBody>
      </p:sp>
      <p:sp>
        <p:nvSpPr>
          <p:cNvPr id="2968" name="Google Shape;2968;p239"/>
          <p:cNvSpPr txBox="1">
            <a:spLocks noGrp="1"/>
          </p:cNvSpPr>
          <p:nvPr>
            <p:ph type="subTitle" idx="6"/>
          </p:nvPr>
        </p:nvSpPr>
        <p:spPr>
          <a:xfrm>
            <a:off x="6968952" y="4385503"/>
            <a:ext cx="4567771" cy="670401"/>
          </a:xfrm>
          <a:prstGeom prst="rect">
            <a:avLst/>
          </a:prstGeom>
          <a:noFill/>
          <a:ln>
            <a:noFill/>
          </a:ln>
        </p:spPr>
        <p:txBody>
          <a:bodyPr spcFirstLastPara="1" wrap="square" lIns="121787" tIns="121787" rIns="121787" bIns="121787" anchor="t" anchorCtr="0">
            <a:noAutofit/>
          </a:bodyPr>
          <a:lstStyle/>
          <a:p>
            <a:pPr marL="0" indent="0"/>
            <a:r>
              <a:rPr lang="en-US"/>
              <a:t>Learn new languages and techniques</a:t>
            </a:r>
            <a:endParaRPr/>
          </a:p>
        </p:txBody>
      </p:sp>
      <p:sp>
        <p:nvSpPr>
          <p:cNvPr id="2969" name="Google Shape;2969;p239"/>
          <p:cNvSpPr txBox="1">
            <a:spLocks noGrp="1"/>
          </p:cNvSpPr>
          <p:nvPr>
            <p:ph type="title"/>
          </p:nvPr>
        </p:nvSpPr>
        <p:spPr>
          <a:xfrm>
            <a:off x="613471" y="2266951"/>
            <a:ext cx="4773180" cy="2324000"/>
          </a:xfrm>
          <a:prstGeom prst="rect">
            <a:avLst/>
          </a:prstGeom>
          <a:noFill/>
          <a:ln>
            <a:noFill/>
          </a:ln>
        </p:spPr>
        <p:txBody>
          <a:bodyPr spcFirstLastPara="1" wrap="square" lIns="45658" tIns="22846" rIns="45658" bIns="22846" anchor="ctr" anchorCtr="0">
            <a:noAutofit/>
          </a:bodyPr>
          <a:lstStyle/>
          <a:p>
            <a:r>
              <a:rPr lang="en-US" b="0"/>
              <a:t>Give your developers a huge advantage</a:t>
            </a:r>
            <a:endParaRPr b="0"/>
          </a:p>
        </p:txBody>
      </p:sp>
      <p:pic>
        <p:nvPicPr>
          <p:cNvPr id="2970" name="Google Shape;2970;p239"/>
          <p:cNvPicPr preferRelativeResize="0">
            <a:picLocks noGrp="1"/>
          </p:cNvPicPr>
          <p:nvPr>
            <p:ph type="pic" idx="8"/>
          </p:nvPr>
        </p:nvPicPr>
        <p:blipFill rotWithShape="1">
          <a:blip r:embed="rId4">
            <a:alphaModFix/>
          </a:blip>
          <a:srcRect/>
          <a:stretch/>
        </p:blipFill>
        <p:spPr>
          <a:xfrm>
            <a:off x="6251229" y="3144573"/>
            <a:ext cx="417001" cy="427171"/>
          </a:xfrm>
          <a:prstGeom prst="rect">
            <a:avLst/>
          </a:prstGeom>
          <a:noFill/>
          <a:ln>
            <a:noFill/>
          </a:ln>
        </p:spPr>
      </p:pic>
      <p:pic>
        <p:nvPicPr>
          <p:cNvPr id="2971" name="Google Shape;2971;p239"/>
          <p:cNvPicPr preferRelativeResize="0">
            <a:picLocks noGrp="1"/>
          </p:cNvPicPr>
          <p:nvPr>
            <p:ph type="pic" idx="7"/>
          </p:nvPr>
        </p:nvPicPr>
        <p:blipFill rotWithShape="1">
          <a:blip r:embed="rId5">
            <a:alphaModFix/>
          </a:blip>
          <a:srcRect l="248" r="247"/>
          <a:stretch/>
        </p:blipFill>
        <p:spPr>
          <a:xfrm>
            <a:off x="6254604" y="2082990"/>
            <a:ext cx="425056" cy="427171"/>
          </a:xfrm>
          <a:prstGeom prst="rect">
            <a:avLst/>
          </a:prstGeom>
          <a:noFill/>
          <a:ln>
            <a:noFill/>
          </a:ln>
        </p:spPr>
      </p:pic>
      <p:pic>
        <p:nvPicPr>
          <p:cNvPr id="2972" name="Google Shape;2972;p239"/>
          <p:cNvPicPr preferRelativeResize="0">
            <a:picLocks noGrp="1"/>
          </p:cNvPicPr>
          <p:nvPr>
            <p:ph type="pic" idx="9"/>
          </p:nvPr>
        </p:nvPicPr>
        <p:blipFill rotWithShape="1">
          <a:blip r:embed="rId6">
            <a:alphaModFix/>
          </a:blip>
          <a:srcRect/>
          <a:stretch/>
        </p:blipFill>
        <p:spPr>
          <a:xfrm>
            <a:off x="6260948" y="4204042"/>
            <a:ext cx="427171" cy="427171"/>
          </a:xfrm>
          <a:prstGeom prst="rect">
            <a:avLst/>
          </a:prstGeom>
          <a:noFill/>
          <a:ln>
            <a:noFill/>
          </a:ln>
        </p:spPr>
      </p:pic>
      <p:pic>
        <p:nvPicPr>
          <p:cNvPr id="2973" name="Google Shape;2973;p239"/>
          <p:cNvPicPr preferRelativeResize="0"/>
          <p:nvPr/>
        </p:nvPicPr>
        <p:blipFill rotWithShape="1">
          <a:blip r:embed="rId7">
            <a:alphaModFix/>
          </a:blip>
          <a:srcRect/>
          <a:stretch/>
        </p:blipFill>
        <p:spPr>
          <a:xfrm>
            <a:off x="674120" y="690600"/>
            <a:ext cx="3011342" cy="376818"/>
          </a:xfrm>
          <a:prstGeom prst="rect">
            <a:avLst/>
          </a:prstGeom>
          <a:noFill/>
          <a:ln>
            <a:noFill/>
          </a:ln>
        </p:spPr>
      </p:pic>
    </p:spTree>
    <p:custDataLst>
      <p:tags r:id="rId1"/>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978"/>
        <p:cNvGrpSpPr/>
        <p:nvPr/>
      </p:nvGrpSpPr>
      <p:grpSpPr>
        <a:xfrm>
          <a:off x="0" y="0"/>
          <a:ext cx="0" cy="0"/>
          <a:chOff x="0" y="0"/>
          <a:chExt cx="0" cy="0"/>
        </a:xfrm>
      </p:grpSpPr>
      <p:pic>
        <p:nvPicPr>
          <p:cNvPr id="2979" name="Google Shape;2979;p240"/>
          <p:cNvPicPr preferRelativeResize="0"/>
          <p:nvPr/>
        </p:nvPicPr>
        <p:blipFill rotWithShape="1">
          <a:blip r:embed="rId4">
            <a:alphaModFix/>
          </a:blip>
          <a:srcRect/>
          <a:stretch/>
        </p:blipFill>
        <p:spPr>
          <a:xfrm>
            <a:off x="674120" y="690600"/>
            <a:ext cx="3011342" cy="376818"/>
          </a:xfrm>
          <a:prstGeom prst="rect">
            <a:avLst/>
          </a:prstGeom>
          <a:noFill/>
          <a:ln>
            <a:noFill/>
          </a:ln>
        </p:spPr>
      </p:pic>
      <p:pic>
        <p:nvPicPr>
          <p:cNvPr id="2980" name="Google Shape;2980;p240"/>
          <p:cNvPicPr preferRelativeResize="0"/>
          <p:nvPr/>
        </p:nvPicPr>
        <p:blipFill rotWithShape="1">
          <a:blip r:embed="rId5">
            <a:alphaModFix/>
          </a:blip>
          <a:srcRect t="19633"/>
          <a:stretch/>
        </p:blipFill>
        <p:spPr>
          <a:xfrm>
            <a:off x="4422087" y="-1"/>
            <a:ext cx="6851656" cy="5506619"/>
          </a:xfrm>
          <a:prstGeom prst="rect">
            <a:avLst/>
          </a:prstGeom>
          <a:noFill/>
          <a:ln>
            <a:noFill/>
          </a:ln>
        </p:spPr>
      </p:pic>
      <p:sp>
        <p:nvSpPr>
          <p:cNvPr id="2981" name="Google Shape;2981;p240"/>
          <p:cNvSpPr/>
          <p:nvPr/>
        </p:nvSpPr>
        <p:spPr>
          <a:xfrm>
            <a:off x="7222477" y="6030939"/>
            <a:ext cx="5124455" cy="664585"/>
          </a:xfrm>
          <a:prstGeom prst="roundRect">
            <a:avLst>
              <a:gd name="adj" fmla="val 16667"/>
            </a:avLst>
          </a:prstGeom>
          <a:solidFill>
            <a:srgbClr val="252B2E"/>
          </a:solidFill>
          <a:ln>
            <a:noFill/>
          </a:ln>
        </p:spPr>
        <p:txBody>
          <a:bodyPr spcFirstLastPara="1" wrap="square" lIns="121787" tIns="121787" rIns="121787" bIns="121787" anchor="ctr" anchorCtr="0">
            <a:noAutofit/>
          </a:bodyPr>
          <a:lstStyle/>
          <a:p>
            <a:pPr defTabSz="1218072">
              <a:buClr>
                <a:srgbClr val="000000"/>
              </a:buClr>
              <a:buSzPts val="1400"/>
            </a:pPr>
            <a:endParaRPr sz="1865" kern="0">
              <a:solidFill>
                <a:srgbClr val="000000"/>
              </a:solidFill>
              <a:latin typeface="Arial"/>
              <a:ea typeface="Arial"/>
              <a:cs typeface="Arial"/>
              <a:sym typeface="Arial"/>
            </a:endParaRPr>
          </a:p>
        </p:txBody>
      </p:sp>
      <p:pic>
        <p:nvPicPr>
          <p:cNvPr id="2982" name="Google Shape;2982;p240"/>
          <p:cNvPicPr preferRelativeResize="0"/>
          <p:nvPr/>
        </p:nvPicPr>
        <p:blipFill rotWithShape="1">
          <a:blip r:embed="rId6">
            <a:alphaModFix/>
          </a:blip>
          <a:srcRect l="3079" t="4631" r="54848" b="3100"/>
          <a:stretch/>
        </p:blipFill>
        <p:spPr>
          <a:xfrm>
            <a:off x="7222476" y="698976"/>
            <a:ext cx="5124455" cy="5787841"/>
          </a:xfrm>
          <a:prstGeom prst="roundRect">
            <a:avLst>
              <a:gd name="adj" fmla="val 2533"/>
            </a:avLst>
          </a:prstGeom>
          <a:noFill/>
          <a:ln>
            <a:noFill/>
          </a:ln>
        </p:spPr>
      </p:pic>
      <p:pic>
        <p:nvPicPr>
          <p:cNvPr id="2983" name="Google Shape;2983;p240"/>
          <p:cNvPicPr preferRelativeResize="0"/>
          <p:nvPr/>
        </p:nvPicPr>
        <p:blipFill rotWithShape="1">
          <a:blip r:embed="rId7">
            <a:alphaModFix/>
          </a:blip>
          <a:srcRect l="6760" t="43781" r="55620" b="7750"/>
          <a:stretch/>
        </p:blipFill>
        <p:spPr>
          <a:xfrm>
            <a:off x="7791358" y="3415616"/>
            <a:ext cx="4582398" cy="3292683"/>
          </a:xfrm>
          <a:prstGeom prst="rect">
            <a:avLst/>
          </a:prstGeom>
          <a:noFill/>
          <a:ln>
            <a:noFill/>
          </a:ln>
        </p:spPr>
      </p:pic>
      <p:sp>
        <p:nvSpPr>
          <p:cNvPr id="2984" name="Google Shape;2984;p240"/>
          <p:cNvSpPr txBox="1"/>
          <p:nvPr/>
        </p:nvSpPr>
        <p:spPr>
          <a:xfrm>
            <a:off x="487791" y="2108577"/>
            <a:ext cx="4872289" cy="2676591"/>
          </a:xfrm>
          <a:prstGeom prst="rect">
            <a:avLst/>
          </a:prstGeom>
          <a:noFill/>
          <a:ln>
            <a:noFill/>
          </a:ln>
        </p:spPr>
        <p:txBody>
          <a:bodyPr spcFirstLastPara="1" wrap="square" lIns="121787" tIns="60877" rIns="121787" bIns="60877" anchor="t" anchorCtr="0">
            <a:spAutoFit/>
          </a:bodyPr>
          <a:lstStyle/>
          <a:p>
            <a:pPr defTabSz="1218072">
              <a:buClr>
                <a:srgbClr val="FFFFFF"/>
              </a:buClr>
              <a:buSzPts val="1800"/>
            </a:pPr>
            <a:r>
              <a:rPr lang="en-US" sz="2398" kern="0">
                <a:solidFill>
                  <a:srgbClr val="FFFFFF"/>
                </a:solidFill>
                <a:latin typeface="Arial"/>
                <a:ea typeface="Arial"/>
                <a:cs typeface="Arial"/>
                <a:sym typeface="Arial"/>
              </a:rPr>
              <a:t>Offers code suggestions, contextualized to your project</a:t>
            </a:r>
            <a:br>
              <a:rPr lang="en-US" sz="3197" kern="0">
                <a:solidFill>
                  <a:srgbClr val="FFFFFF"/>
                </a:solidFill>
                <a:latin typeface="Arial"/>
                <a:ea typeface="Arial"/>
                <a:cs typeface="Arial"/>
                <a:sym typeface="Arial"/>
              </a:rPr>
            </a:br>
            <a:endParaRPr sz="3197" kern="0">
              <a:solidFill>
                <a:srgbClr val="FFFFFF"/>
              </a:solidFill>
              <a:latin typeface="Arial"/>
              <a:ea typeface="Arial"/>
              <a:cs typeface="Arial"/>
              <a:sym typeface="Arial"/>
            </a:endParaRPr>
          </a:p>
          <a:p>
            <a:pPr defTabSz="1218072">
              <a:lnSpc>
                <a:spcPct val="115000"/>
              </a:lnSpc>
              <a:spcBef>
                <a:spcPts val="533"/>
              </a:spcBef>
              <a:buClr>
                <a:srgbClr val="8A949D"/>
              </a:buClr>
              <a:buSzPts val="1600"/>
            </a:pPr>
            <a:r>
              <a:rPr lang="en-US" sz="2131" kern="0">
                <a:solidFill>
                  <a:srgbClr val="8A949D"/>
                </a:solidFill>
                <a:latin typeface="Arial"/>
                <a:ea typeface="Arial"/>
                <a:cs typeface="Arial"/>
                <a:sym typeface="Arial"/>
              </a:rPr>
              <a:t>Convert comments to code</a:t>
            </a:r>
            <a:endParaRPr sz="1865" kern="0">
              <a:solidFill>
                <a:srgbClr val="000000"/>
              </a:solidFill>
              <a:latin typeface="Arial"/>
              <a:cs typeface="Arial"/>
              <a:sym typeface="Arial"/>
            </a:endParaRPr>
          </a:p>
          <a:p>
            <a:pPr defTabSz="1218072">
              <a:lnSpc>
                <a:spcPct val="115000"/>
              </a:lnSpc>
              <a:spcBef>
                <a:spcPts val="533"/>
              </a:spcBef>
              <a:buClr>
                <a:srgbClr val="8A949D"/>
              </a:buClr>
              <a:buSzPts val="1600"/>
            </a:pPr>
            <a:r>
              <a:rPr lang="en-US" sz="2131" kern="0">
                <a:solidFill>
                  <a:srgbClr val="8A949D"/>
                </a:solidFill>
                <a:latin typeface="Arial"/>
                <a:ea typeface="Arial"/>
                <a:cs typeface="Arial"/>
                <a:sym typeface="Arial"/>
              </a:rPr>
              <a:t>Autofill for repetitive code</a:t>
            </a:r>
            <a:endParaRPr sz="1865" kern="0">
              <a:solidFill>
                <a:srgbClr val="000000"/>
              </a:solidFill>
              <a:latin typeface="Arial"/>
              <a:cs typeface="Arial"/>
              <a:sym typeface="Arial"/>
            </a:endParaRPr>
          </a:p>
          <a:p>
            <a:pPr defTabSz="1218072">
              <a:lnSpc>
                <a:spcPct val="115000"/>
              </a:lnSpc>
              <a:spcBef>
                <a:spcPts val="533"/>
              </a:spcBef>
              <a:buClr>
                <a:srgbClr val="8A949D"/>
              </a:buClr>
              <a:buSzPts val="1600"/>
            </a:pPr>
            <a:r>
              <a:rPr lang="en-US" sz="2131" kern="0">
                <a:solidFill>
                  <a:srgbClr val="8A949D"/>
                </a:solidFill>
                <a:latin typeface="Arial"/>
                <a:ea typeface="Arial"/>
                <a:cs typeface="Arial"/>
                <a:sym typeface="Arial"/>
              </a:rPr>
              <a:t>Show alternatives</a:t>
            </a:r>
            <a:endParaRPr sz="1865" kern="0">
              <a:solidFill>
                <a:srgbClr val="000000"/>
              </a:solidFill>
              <a:latin typeface="Arial"/>
              <a:cs typeface="Arial"/>
              <a:sym typeface="Arial"/>
            </a:endParaRPr>
          </a:p>
        </p:txBody>
      </p:sp>
      <p:sp>
        <p:nvSpPr>
          <p:cNvPr id="2985" name="Google Shape;2985;p240"/>
          <p:cNvSpPr/>
          <p:nvPr/>
        </p:nvSpPr>
        <p:spPr>
          <a:xfrm>
            <a:off x="8809287" y="6249114"/>
            <a:ext cx="3537525" cy="376851"/>
          </a:xfrm>
          <a:prstGeom prst="rect">
            <a:avLst/>
          </a:prstGeom>
          <a:solidFill>
            <a:srgbClr val="252B2E"/>
          </a:solidFill>
          <a:ln>
            <a:noFill/>
          </a:ln>
        </p:spPr>
        <p:txBody>
          <a:bodyPr spcFirstLastPara="1" wrap="square" lIns="121787" tIns="121787" rIns="121787" bIns="121787" anchor="ctr" anchorCtr="0">
            <a:noAutofit/>
          </a:bodyPr>
          <a:lstStyle/>
          <a:p>
            <a:pPr defTabSz="1218072">
              <a:buClr>
                <a:srgbClr val="000000"/>
              </a:buClr>
            </a:pPr>
            <a:endParaRPr sz="1865" kern="0">
              <a:solidFill>
                <a:srgbClr val="000000"/>
              </a:solidFill>
              <a:latin typeface="Arial"/>
              <a:cs typeface="Arial"/>
              <a:sym typeface="Arial"/>
            </a:endParaRPr>
          </a:p>
        </p:txBody>
      </p:sp>
    </p:spTree>
    <p:custDataLst>
      <p:tags r:id="rId1"/>
    </p:custData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DESIGN_ID_TEST" val="NpKiVEzG"/>
  <p:tag name="ARTICULATE_PROJECT_OPEN" val="0"/>
  <p:tag name="ARTICULATE_SLIDE_COUNT" val="89"/>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10.xml><?xml version="1.0" encoding="utf-8"?>
<a:theme xmlns:a="http://schemas.openxmlformats.org/drawingml/2006/main" name="2022 GitHub Presentation Template">
  <a:themeElements>
    <a:clrScheme name="GitHub Color Palette ">
      <a:dk1>
        <a:srgbClr val="FFFFFF"/>
      </a:dk1>
      <a:lt1>
        <a:srgbClr val="FFFFFF"/>
      </a:lt1>
      <a:dk2>
        <a:srgbClr val="8B939E"/>
      </a:dk2>
      <a:lt2>
        <a:srgbClr val="FFFFFF"/>
      </a:lt2>
      <a:accent1>
        <a:srgbClr val="A371F7"/>
      </a:accent1>
      <a:accent2>
        <a:srgbClr val="388BFD"/>
      </a:accent2>
      <a:accent3>
        <a:srgbClr val="56D364"/>
      </a:accent3>
      <a:accent4>
        <a:srgbClr val="DB61A2"/>
      </a:accent4>
      <a:accent5>
        <a:srgbClr val="797EF9"/>
      </a:accent5>
      <a:accent6>
        <a:srgbClr val="57CCC5"/>
      </a:accent6>
      <a:hlink>
        <a:srgbClr val="55D264"/>
      </a:hlink>
      <a:folHlink>
        <a:srgbClr val="A371F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5_Office Theme">
  <a:themeElements>
    <a:clrScheme name="2022 GitHub Presentation Template">
      <a:dk1>
        <a:srgbClr val="FEFFFE"/>
      </a:dk1>
      <a:lt1>
        <a:srgbClr val="0A0C10"/>
      </a:lt1>
      <a:dk2>
        <a:srgbClr val="8A949D"/>
      </a:dk2>
      <a:lt2>
        <a:srgbClr val="2F363C"/>
      </a:lt2>
      <a:accent1>
        <a:srgbClr val="A371F7"/>
      </a:accent1>
      <a:accent2>
        <a:srgbClr val="378AFC"/>
      </a:accent2>
      <a:accent3>
        <a:srgbClr val="55D264"/>
      </a:accent3>
      <a:accent4>
        <a:srgbClr val="787DF8"/>
      </a:accent4>
      <a:accent5>
        <a:srgbClr val="57CBC4"/>
      </a:accent5>
      <a:accent6>
        <a:srgbClr val="DB61A1"/>
      </a:accent6>
      <a:hlink>
        <a:srgbClr val="55D264"/>
      </a:hlink>
      <a:folHlink>
        <a:srgbClr val="A371F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3.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4.xml><?xml version="1.0" encoding="utf-8"?>
<a:theme xmlns:a="http://schemas.openxmlformats.org/drawingml/2006/main" name="3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5.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6.xml><?xml version="1.0" encoding="utf-8"?>
<a:theme xmlns:a="http://schemas.openxmlformats.org/drawingml/2006/main" name="2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7.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8.xml><?xml version="1.0" encoding="utf-8"?>
<a:theme xmlns:a="http://schemas.openxmlformats.org/drawingml/2006/main" name="2_Office Theme">
  <a:themeElements>
    <a:clrScheme name="GitHub">
      <a:dk1>
        <a:srgbClr val="000000"/>
      </a:dk1>
      <a:lt1>
        <a:srgbClr val="FFFFFF"/>
      </a:lt1>
      <a:dk2>
        <a:srgbClr val="2D3847"/>
      </a:dk2>
      <a:lt2>
        <a:srgbClr val="E7E6E6"/>
      </a:lt2>
      <a:accent1>
        <a:srgbClr val="D59DFF"/>
      </a:accent1>
      <a:accent2>
        <a:srgbClr val="BFE8F6"/>
      </a:accent2>
      <a:accent3>
        <a:srgbClr val="6A37C7"/>
      </a:accent3>
      <a:accent4>
        <a:srgbClr val="19C8EB"/>
      </a:accent4>
      <a:accent5>
        <a:srgbClr val="892293"/>
      </a:accent5>
      <a:accent6>
        <a:srgbClr val="CB0FB0"/>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Office Theme">
  <a:themeElements>
    <a:clrScheme name="#mg2">
      <a:dk1>
        <a:srgbClr val="000000"/>
      </a:dk1>
      <a:lt1>
        <a:srgbClr val="FFFFFF"/>
      </a:lt1>
      <a:dk2>
        <a:srgbClr val="2D3847"/>
      </a:dk2>
      <a:lt2>
        <a:srgbClr val="E7E6E6"/>
      </a:lt2>
      <a:accent1>
        <a:srgbClr val="EC2B8C"/>
      </a:accent1>
      <a:accent2>
        <a:srgbClr val="9477E2"/>
      </a:accent2>
      <a:accent3>
        <a:srgbClr val="6A37C7"/>
      </a:accent3>
      <a:accent4>
        <a:srgbClr val="19C8EB"/>
      </a:accent4>
      <a:accent5>
        <a:srgbClr val="892293"/>
      </a:accent5>
      <a:accent6>
        <a:srgbClr val="CB0FB0"/>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616b8aef-6455-4976-9c01-04c53f6130ff" xsi:nil="true"/>
    <lcf76f155ced4ddcb4097134ff3c332f xmlns="00f60db1-cfdd-448f-aa70-10369155ee8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C4BE5CC-0021-43FB-8809-4E301CCAB777}">
  <ds:schemaRefs>
    <ds:schemaRef ds:uri="http://schemas.microsoft.com/sharepoint/v3/contenttype/forms"/>
  </ds:schemaRefs>
</ds:datastoreItem>
</file>

<file path=customXml/itemProps2.xml><?xml version="1.0" encoding="utf-8"?>
<ds:datastoreItem xmlns:ds="http://schemas.openxmlformats.org/officeDocument/2006/customXml" ds:itemID="{F3748A04-8E46-41D8-9B10-369F592F6A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F0ECF42-C7EF-4573-859E-225507C8DB1E}">
  <ds:schemaRefs>
    <ds:schemaRef ds:uri="http://www.w3.org/XML/1998/namespace"/>
    <ds:schemaRef ds:uri="http://schemas.microsoft.com/office/infopath/2007/PartnerControls"/>
    <ds:schemaRef ds:uri="http://schemas.microsoft.com/office/2006/metadata/properties"/>
    <ds:schemaRef ds:uri="http://schemas.microsoft.com/office/2006/documentManagement/types"/>
    <ds:schemaRef ds:uri="http://purl.org/dc/terms/"/>
    <ds:schemaRef ds:uri="http://purl.org/dc/elements/1.1/"/>
    <ds:schemaRef ds:uri="616b8aef-6455-4976-9c01-04c53f6130ff"/>
    <ds:schemaRef ds:uri="http://schemas.openxmlformats.org/package/2006/metadata/core-properties"/>
    <ds:schemaRef ds:uri="00f60db1-cfdd-448f-aa70-10369155ee85"/>
    <ds:schemaRef ds:uri="http://schemas.microsoft.com/sharepoint/v3"/>
    <ds:schemaRef ds:uri="http://purl.org/dc/dcmityp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6272</Words>
  <Application>Microsoft Office PowerPoint</Application>
  <PresentationFormat>Widescreen</PresentationFormat>
  <Paragraphs>703</Paragraphs>
  <Slides>42</Slides>
  <Notes>42</Notes>
  <HiddenSlides>0</HiddenSlides>
  <MMClips>0</MMClips>
  <ScaleCrop>false</ScaleCrop>
  <HeadingPairs>
    <vt:vector size="8" baseType="variant">
      <vt:variant>
        <vt:lpstr>Fonts Used</vt:lpstr>
      </vt:variant>
      <vt:variant>
        <vt:i4>18</vt:i4>
      </vt:variant>
      <vt:variant>
        <vt:lpstr>Theme</vt:lpstr>
      </vt:variant>
      <vt:variant>
        <vt:i4>11</vt:i4>
      </vt:variant>
      <vt:variant>
        <vt:lpstr>Embedded OLE Servers</vt:lpstr>
      </vt:variant>
      <vt:variant>
        <vt:i4>1</vt:i4>
      </vt:variant>
      <vt:variant>
        <vt:lpstr>Slide Titles</vt:lpstr>
      </vt:variant>
      <vt:variant>
        <vt:i4>42</vt:i4>
      </vt:variant>
    </vt:vector>
  </HeadingPairs>
  <TitlesOfParts>
    <vt:vector size="72" baseType="lpstr">
      <vt:lpstr>-apple-system</vt:lpstr>
      <vt:lpstr>Arial</vt:lpstr>
      <vt:lpstr>Calibri</vt:lpstr>
      <vt:lpstr>Consolas</vt:lpstr>
      <vt:lpstr>Courier New</vt:lpstr>
      <vt:lpstr>Helvetica</vt:lpstr>
      <vt:lpstr>Helvetica Neue</vt:lpstr>
      <vt:lpstr>Helvetica Neue Light</vt:lpstr>
      <vt:lpstr>Lucida Console</vt:lpstr>
      <vt:lpstr>Menlo</vt:lpstr>
      <vt:lpstr>Roboto Mono</vt:lpstr>
      <vt:lpstr>Segoe UI</vt:lpstr>
      <vt:lpstr>Segoe UI </vt:lpstr>
      <vt:lpstr>Segoe UI Black</vt:lpstr>
      <vt:lpstr>Segoe UI Light</vt:lpstr>
      <vt:lpstr>Segoe UI Semibold</vt:lpstr>
      <vt:lpstr>Times New Roman</vt:lpstr>
      <vt:lpstr>Wingdings</vt:lpstr>
      <vt:lpstr>Test</vt:lpstr>
      <vt:lpstr>Black Template</vt:lpstr>
      <vt:lpstr>1_9-51052_Microsoft_Inspire_Template_Dark</vt:lpstr>
      <vt:lpstr>3_Black Template</vt:lpstr>
      <vt:lpstr>1_Test</vt:lpstr>
      <vt:lpstr>2_Test</vt:lpstr>
      <vt:lpstr>White Template</vt:lpstr>
      <vt:lpstr>2_Office Theme</vt:lpstr>
      <vt:lpstr>3_Office Theme</vt:lpstr>
      <vt:lpstr>2022 GitHub Presentation Template</vt:lpstr>
      <vt:lpstr>5_Office Theme</vt:lpstr>
      <vt:lpstr>think-cell Slide</vt:lpstr>
      <vt:lpstr>TechExcel: Implementing DevOps practices to accelerate developer productivity</vt:lpstr>
      <vt:lpstr>Exercise one</vt:lpstr>
      <vt:lpstr>PowerPoint Presentation</vt:lpstr>
      <vt:lpstr>PowerPoint Presentation</vt:lpstr>
      <vt:lpstr>PowerPoint Presentation</vt:lpstr>
      <vt:lpstr>PowerPoint Presentation</vt:lpstr>
      <vt:lpstr>PowerPoint Presentation</vt:lpstr>
      <vt:lpstr>Give your developers a huge advantage</vt:lpstr>
      <vt:lpstr>PowerPoint Presentation</vt:lpstr>
      <vt:lpstr>Keep flying with your favorite editor</vt:lpstr>
      <vt:lpstr>PowerPoint Presentation</vt:lpstr>
      <vt:lpstr>Exercise two</vt:lpstr>
      <vt:lpstr>GitHub Enterprise Single, integrated platform that empowers develop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ercise three</vt:lpstr>
      <vt:lpstr>PowerPoint Presentation</vt:lpstr>
      <vt:lpstr>Exercise one: set up development environment</vt:lpstr>
      <vt:lpstr>Introductions: set up development environment</vt:lpstr>
      <vt:lpstr>Exercise one architecture </vt:lpstr>
      <vt:lpstr>Create a Dev Box definition</vt:lpstr>
      <vt:lpstr>Exercise one summary Set up development environment</vt:lpstr>
      <vt:lpstr>Exercise two: start working in GitHub</vt:lpstr>
      <vt:lpstr>Introductions: start working in GitHub</vt:lpstr>
      <vt:lpstr>Exercise two architecture </vt:lpstr>
      <vt:lpstr>Create a GitHub project</vt:lpstr>
      <vt:lpstr>Navigate the project board</vt:lpstr>
      <vt:lpstr>Create a GitHub actions workflow</vt:lpstr>
      <vt:lpstr>Exercise two summary Start working in GitHub</vt:lpstr>
      <vt:lpstr>Debrief exercises one and two</vt:lpstr>
      <vt:lpstr>Exercise three: improve and deploy your application</vt:lpstr>
      <vt:lpstr>Introductions: improve and deploy your application</vt:lpstr>
      <vt:lpstr>Exercise three architecture </vt:lpstr>
      <vt:lpstr>Follow the GitHub flow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Excel: Deploying and running Java applications in Azure Kubernetes Services</dc:title>
  <dc:creator/>
  <cp:lastModifiedBy/>
  <cp:revision>57</cp:revision>
  <dcterms:created xsi:type="dcterms:W3CDTF">2023-09-07T16:12:50Z</dcterms:created>
  <dcterms:modified xsi:type="dcterms:W3CDTF">2024-03-06T01:2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Order">
    <vt:lpwstr>784600.000000000</vt:lpwstr>
  </property>
  <property fmtid="{D5CDD505-2E9C-101B-9397-08002B2CF9AE}" pid="4" name="_dlc_policyId">
    <vt:lpwstr>/sites/Microsoft/Shared Documents</vt:lpwstr>
  </property>
  <property fmtid="{D5CDD505-2E9C-101B-9397-08002B2CF9AE}" pid="5" name="MSIP_Label_eca2e069-023d-499f-8073-00cfd442a338_SiteId">
    <vt:lpwstr>e076b593-d7db-4a8e-9556-04bbe80df72d</vt:lpwstr>
  </property>
  <property fmtid="{D5CDD505-2E9C-101B-9397-08002B2CF9AE}" pid="6" name="xd_ProgID">
    <vt:lpwstr/>
  </property>
  <property fmtid="{D5CDD505-2E9C-101B-9397-08002B2CF9AE}" pid="7" name="MediaServiceImageTags">
    <vt:lpwstr/>
  </property>
  <property fmtid="{D5CDD505-2E9C-101B-9397-08002B2CF9AE}" pid="8" name="ContentTypeId">
    <vt:lpwstr>0x0101009633AF39C6599F40B2CC84C6158556CF</vt:lpwstr>
  </property>
  <property fmtid="{D5CDD505-2E9C-101B-9397-08002B2CF9AE}" pid="9" name="MSIP_Label_eca2e069-023d-499f-8073-00cfd442a338_Method">
    <vt:lpwstr>Standard</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MSIP_Label_eca2e069-023d-499f-8073-00cfd442a338_Enabled">
    <vt:lpwstr>true</vt:lpwstr>
  </property>
  <property fmtid="{D5CDD505-2E9C-101B-9397-08002B2CF9AE}" pid="15" name="xd_Signature">
    <vt:lpwstr/>
  </property>
  <property fmtid="{D5CDD505-2E9C-101B-9397-08002B2CF9AE}" pid="16" name="MSIP_Label_eca2e069-023d-499f-8073-00cfd442a338_ActionId">
    <vt:lpwstr>1a58dd78-4a99-4bf2-94ec-7613ee2e334c</vt:lpwstr>
  </property>
  <property fmtid="{D5CDD505-2E9C-101B-9397-08002B2CF9AE}" pid="17" name="ArticulateGUID">
    <vt:lpwstr>2F9C2C93-9A08-4E7B-9CD8-65B15EAEFE2F</vt:lpwstr>
  </property>
  <property fmtid="{D5CDD505-2E9C-101B-9397-08002B2CF9AE}" pid="18" name="ArticulatePath">
    <vt:lpwstr>https://microsoft.sharepoint.com/teams/TechnicalApplicationWorkshopDevelopment-AppInnovation/Shared Documents/App Innovation/App Innovation/TechExcel - Deploying and running Java applications in Azure Kubernetes Services/02 Alpha ready for review/WIP/Day_1_Gen_Welcome&amp;WorkshopOverview</vt:lpwstr>
  </property>
  <property fmtid="{D5CDD505-2E9C-101B-9397-08002B2CF9AE}" pid="19" name="MSIP_Label_eca2e069-023d-499f-8073-00cfd442a338_SetDate">
    <vt:lpwstr>2023-05-09T15:47:54Z</vt:lpwstr>
  </property>
  <property fmtid="{D5CDD505-2E9C-101B-9397-08002B2CF9AE}" pid="20"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y fmtid="{D5CDD505-2E9C-101B-9397-08002B2CF9AE}" pid="21" name="MSIP_Label_eca2e069-023d-499f-8073-00cfd442a338_Name">
    <vt:lpwstr>defa4170-0d19-0005-0004-bc88714345d2</vt:lpwstr>
  </property>
</Properties>
</file>